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5.xml" ContentType="application/vnd.openxmlformats-officedocument.presentationml.notesSlide+xml"/>
  <Override PartName="/ppt/tags/tag6.xml" ContentType="application/vnd.openxmlformats-officedocument.presentationml.tags+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4874" r:id="rId2"/>
    <p:sldMasterId id="2147485073" r:id="rId3"/>
    <p:sldMasterId id="2147485102" r:id="rId4"/>
  </p:sldMasterIdLst>
  <p:notesMasterIdLst>
    <p:notesMasterId r:id="rId35"/>
  </p:notesMasterIdLst>
  <p:sldIdLst>
    <p:sldId id="2103813174" r:id="rId5"/>
    <p:sldId id="2145705866" r:id="rId6"/>
    <p:sldId id="1612" r:id="rId7"/>
    <p:sldId id="2147478516" r:id="rId8"/>
    <p:sldId id="2147478507" r:id="rId9"/>
    <p:sldId id="2147478515" r:id="rId10"/>
    <p:sldId id="2147478522" r:id="rId11"/>
    <p:sldId id="2147478508" r:id="rId12"/>
    <p:sldId id="2147469765" r:id="rId13"/>
    <p:sldId id="2147478509" r:id="rId14"/>
    <p:sldId id="2147478514" r:id="rId15"/>
    <p:sldId id="2147478523" r:id="rId16"/>
    <p:sldId id="2147478511" r:id="rId17"/>
    <p:sldId id="2147478512" r:id="rId18"/>
    <p:sldId id="2147478519" r:id="rId19"/>
    <p:sldId id="2147478506" r:id="rId20"/>
    <p:sldId id="2076138370" r:id="rId21"/>
    <p:sldId id="2076138371" r:id="rId22"/>
    <p:sldId id="636" r:id="rId23"/>
    <p:sldId id="2147478524" r:id="rId24"/>
    <p:sldId id="2076136701" r:id="rId25"/>
    <p:sldId id="2076136700" r:id="rId26"/>
    <p:sldId id="2147478513" r:id="rId27"/>
    <p:sldId id="2147478525" r:id="rId28"/>
    <p:sldId id="604" r:id="rId29"/>
    <p:sldId id="606" r:id="rId30"/>
    <p:sldId id="2076136908" r:id="rId31"/>
    <p:sldId id="11113" r:id="rId32"/>
    <p:sldId id="530" r:id="rId33"/>
    <p:sldId id="2145705854"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1A3EEF68-2F3E-4231-99A4-7476283206D3}">
          <p14:sldIdLst>
            <p14:sldId id="2103813174"/>
            <p14:sldId id="2145705866"/>
            <p14:sldId id="1612"/>
          </p14:sldIdLst>
        </p14:section>
        <p14:section name="What is Business Continuity" id="{246A5269-0012-49D2-B1B7-611A58858D43}">
          <p14:sldIdLst>
            <p14:sldId id="2147478516"/>
            <p14:sldId id="2147478507"/>
            <p14:sldId id="2147478515"/>
          </p14:sldIdLst>
        </p14:section>
        <p14:section name="Backup and Restore" id="{657F12EC-0F62-48AD-98E3-1CFB9517F9E5}">
          <p14:sldIdLst>
            <p14:sldId id="2147478522"/>
            <p14:sldId id="2147478508"/>
            <p14:sldId id="2147469765"/>
            <p14:sldId id="2147478509"/>
            <p14:sldId id="2147478514"/>
          </p14:sldIdLst>
        </p14:section>
        <p14:section name="Service Tiers" id="{481E5BF0-83C4-4AD4-BA8F-542AB1682328}">
          <p14:sldIdLst>
            <p14:sldId id="2147478523"/>
            <p14:sldId id="2147478511"/>
            <p14:sldId id="2147478512"/>
          </p14:sldIdLst>
        </p14:section>
        <p14:section name="High Availablity" id="{F5A7B57D-1E31-41CA-8502-17A650596731}">
          <p14:sldIdLst>
            <p14:sldId id="2147478519"/>
            <p14:sldId id="2147478506"/>
            <p14:sldId id="2076138370"/>
            <p14:sldId id="2076138371"/>
            <p14:sldId id="636"/>
            <p14:sldId id="2147478524"/>
            <p14:sldId id="2076136701"/>
            <p14:sldId id="2076136700"/>
            <p14:sldId id="2147478513"/>
          </p14:sldIdLst>
        </p14:section>
        <p14:section name="Disaster Recovery" id="{35CB4F22-1C92-4735-8CBE-0E7874485986}">
          <p14:sldIdLst>
            <p14:sldId id="2147478525"/>
            <p14:sldId id="604"/>
            <p14:sldId id="606"/>
            <p14:sldId id="2076136908"/>
            <p14:sldId id="11113"/>
            <p14:sldId id="530"/>
            <p14:sldId id="214570585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99"/>
    <a:srgbClr val="000000"/>
    <a:srgbClr val="008000"/>
    <a:srgbClr val="75C3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2860D5-9351-49FE-9B15-ED183ADC1E70}" v="684" dt="2024-08-15T13:00:02.3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846" autoAdjust="0"/>
    <p:restoredTop sz="92866" autoAdjust="0"/>
  </p:normalViewPr>
  <p:slideViewPr>
    <p:cSldViewPr snapToGrid="0">
      <p:cViewPr varScale="1">
        <p:scale>
          <a:sx n="107" d="100"/>
          <a:sy n="107" d="100"/>
        </p:scale>
        <p:origin x="78" y="372"/>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5" d="100"/>
          <a:sy n="65" d="100"/>
        </p:scale>
        <p:origin x="315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0727030-A103-47B3-9948-2C3FB6249167}"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E1DD910-82B7-411B-86B9-779EC2DE4ABD}">
      <dgm:prSet custT="1"/>
      <dgm:spPr/>
      <dgm:t>
        <a:bodyPr/>
        <a:lstStyle/>
        <a:p>
          <a:r>
            <a:rPr lang="en-US" sz="3200" dirty="0"/>
            <a:t>What is Business Continuity?</a:t>
          </a:r>
        </a:p>
      </dgm:t>
    </dgm:pt>
    <dgm:pt modelId="{2A74FAF1-0C25-4177-A263-A3087463B3AC}" type="parTrans" cxnId="{1AF7F9CE-8F94-4D3F-BAF2-C3C12662D4E0}">
      <dgm:prSet/>
      <dgm:spPr/>
      <dgm:t>
        <a:bodyPr/>
        <a:lstStyle/>
        <a:p>
          <a:endParaRPr lang="en-US"/>
        </a:p>
      </dgm:t>
    </dgm:pt>
    <dgm:pt modelId="{B6272E9F-8C73-47FA-A097-213295CCE98A}" type="sibTrans" cxnId="{1AF7F9CE-8F94-4D3F-BAF2-C3C12662D4E0}">
      <dgm:prSet/>
      <dgm:spPr/>
      <dgm:t>
        <a:bodyPr/>
        <a:lstStyle/>
        <a:p>
          <a:endParaRPr lang="en-US"/>
        </a:p>
      </dgm:t>
    </dgm:pt>
    <dgm:pt modelId="{FA750519-63B5-4228-95EF-FD3B40EA2F0C}">
      <dgm:prSet custT="1"/>
      <dgm:spPr/>
      <dgm:t>
        <a:bodyPr/>
        <a:lstStyle/>
        <a:p>
          <a:r>
            <a:rPr lang="en-US" sz="3200" dirty="0"/>
            <a:t>High Availability</a:t>
          </a:r>
        </a:p>
      </dgm:t>
    </dgm:pt>
    <dgm:pt modelId="{3464FE06-0DD9-49B6-A794-E82A73D023EE}" type="parTrans" cxnId="{250D80B4-9D4F-4208-B58B-9FA388BBFB80}">
      <dgm:prSet/>
      <dgm:spPr/>
      <dgm:t>
        <a:bodyPr/>
        <a:lstStyle/>
        <a:p>
          <a:endParaRPr lang="en-US"/>
        </a:p>
      </dgm:t>
    </dgm:pt>
    <dgm:pt modelId="{6A2D7520-AACB-453F-B759-460A257A6368}" type="sibTrans" cxnId="{250D80B4-9D4F-4208-B58B-9FA388BBFB80}">
      <dgm:prSet/>
      <dgm:spPr/>
      <dgm:t>
        <a:bodyPr/>
        <a:lstStyle/>
        <a:p>
          <a:endParaRPr lang="en-US"/>
        </a:p>
      </dgm:t>
    </dgm:pt>
    <dgm:pt modelId="{ABE0A7D8-1CE6-4993-A3AB-A1DBCB30EBD6}">
      <dgm:prSet custT="1"/>
      <dgm:spPr/>
      <dgm:t>
        <a:bodyPr/>
        <a:lstStyle/>
        <a:p>
          <a:r>
            <a:rPr lang="en-US" sz="3200" dirty="0"/>
            <a:t>Automated Backups</a:t>
          </a:r>
        </a:p>
      </dgm:t>
    </dgm:pt>
    <dgm:pt modelId="{D9F3C5C1-4380-4ABA-8218-467D18E05E02}" type="parTrans" cxnId="{12923E2E-FA70-4EF0-AE70-ED68B30ADF0C}">
      <dgm:prSet/>
      <dgm:spPr/>
      <dgm:t>
        <a:bodyPr/>
        <a:lstStyle/>
        <a:p>
          <a:endParaRPr lang="en-US"/>
        </a:p>
      </dgm:t>
    </dgm:pt>
    <dgm:pt modelId="{2906928A-467B-4C48-867B-35ACE908770A}" type="sibTrans" cxnId="{12923E2E-FA70-4EF0-AE70-ED68B30ADF0C}">
      <dgm:prSet/>
      <dgm:spPr/>
      <dgm:t>
        <a:bodyPr/>
        <a:lstStyle/>
        <a:p>
          <a:endParaRPr lang="en-US"/>
        </a:p>
      </dgm:t>
    </dgm:pt>
    <dgm:pt modelId="{1904BB1F-11C5-4413-B987-8D8722B9013D}">
      <dgm:prSet custT="1"/>
      <dgm:spPr/>
      <dgm:t>
        <a:bodyPr/>
        <a:lstStyle/>
        <a:p>
          <a:r>
            <a:rPr lang="en-US" sz="3200" dirty="0"/>
            <a:t>Disaster Recovery</a:t>
          </a:r>
        </a:p>
      </dgm:t>
    </dgm:pt>
    <dgm:pt modelId="{727AA4EE-C342-4FA4-8527-72ECDB413714}" type="parTrans" cxnId="{C9DA87CC-A713-44AB-98A5-95088EA5CEFF}">
      <dgm:prSet/>
      <dgm:spPr/>
      <dgm:t>
        <a:bodyPr/>
        <a:lstStyle/>
        <a:p>
          <a:endParaRPr lang="en-US"/>
        </a:p>
      </dgm:t>
    </dgm:pt>
    <dgm:pt modelId="{A9F68742-44E1-4DF7-B2CB-36E0012FFC88}" type="sibTrans" cxnId="{C9DA87CC-A713-44AB-98A5-95088EA5CEFF}">
      <dgm:prSet/>
      <dgm:spPr/>
      <dgm:t>
        <a:bodyPr/>
        <a:lstStyle/>
        <a:p>
          <a:endParaRPr lang="en-US"/>
        </a:p>
      </dgm:t>
    </dgm:pt>
    <dgm:pt modelId="{ABFFDE8C-480D-4780-A492-DB79001FFD65}">
      <dgm:prSet custT="1"/>
      <dgm:spPr/>
      <dgm:t>
        <a:bodyPr/>
        <a:lstStyle/>
        <a:p>
          <a:r>
            <a:rPr lang="en-US" sz="3200" dirty="0"/>
            <a:t>Zone Redundancy</a:t>
          </a:r>
        </a:p>
      </dgm:t>
    </dgm:pt>
    <dgm:pt modelId="{D7536CB7-6428-4B6E-9B72-B528701875C7}" type="parTrans" cxnId="{EBEAD4D5-809D-4B7C-8F1E-CF95061B7F6D}">
      <dgm:prSet/>
      <dgm:spPr/>
      <dgm:t>
        <a:bodyPr/>
        <a:lstStyle/>
        <a:p>
          <a:endParaRPr lang="en-US"/>
        </a:p>
      </dgm:t>
    </dgm:pt>
    <dgm:pt modelId="{C569CE8E-1E06-42BC-B96F-D262A525BFAA}" type="sibTrans" cxnId="{EBEAD4D5-809D-4B7C-8F1E-CF95061B7F6D}">
      <dgm:prSet/>
      <dgm:spPr/>
      <dgm:t>
        <a:bodyPr/>
        <a:lstStyle/>
        <a:p>
          <a:endParaRPr lang="en-US"/>
        </a:p>
      </dgm:t>
    </dgm:pt>
    <dgm:pt modelId="{5DB73F5E-0E11-4C4B-998F-CAE5C66BFE4E}">
      <dgm:prSet custT="1"/>
      <dgm:spPr/>
      <dgm:t>
        <a:bodyPr/>
        <a:lstStyle/>
        <a:p>
          <a:r>
            <a:rPr lang="en-US" sz="3200" dirty="0"/>
            <a:t>Service Tiers</a:t>
          </a:r>
        </a:p>
      </dgm:t>
    </dgm:pt>
    <dgm:pt modelId="{A8442112-86E7-4EB2-BBDA-D12446086709}" type="parTrans" cxnId="{4A6CDB1C-9FA2-43C5-8A53-F44D04945A47}">
      <dgm:prSet/>
      <dgm:spPr/>
      <dgm:t>
        <a:bodyPr/>
        <a:lstStyle/>
        <a:p>
          <a:endParaRPr lang="en-US"/>
        </a:p>
      </dgm:t>
    </dgm:pt>
    <dgm:pt modelId="{37FF6368-0E44-4683-A1DF-7BED892BEE7C}" type="sibTrans" cxnId="{4A6CDB1C-9FA2-43C5-8A53-F44D04945A47}">
      <dgm:prSet/>
      <dgm:spPr/>
      <dgm:t>
        <a:bodyPr/>
        <a:lstStyle/>
        <a:p>
          <a:endParaRPr lang="en-US"/>
        </a:p>
      </dgm:t>
    </dgm:pt>
    <dgm:pt modelId="{94C6AD9B-C2BF-49F6-81C3-298BAF226FA4}" type="pres">
      <dgm:prSet presAssocID="{E0727030-A103-47B3-9948-2C3FB6249167}" presName="linear" presStyleCnt="0">
        <dgm:presLayoutVars>
          <dgm:animLvl val="lvl"/>
          <dgm:resizeHandles val="exact"/>
        </dgm:presLayoutVars>
      </dgm:prSet>
      <dgm:spPr/>
    </dgm:pt>
    <dgm:pt modelId="{A5082DE8-4CF6-4B77-9283-A875A7787CFC}" type="pres">
      <dgm:prSet presAssocID="{0E1DD910-82B7-411B-86B9-779EC2DE4ABD}" presName="parentText" presStyleLbl="node1" presStyleIdx="0" presStyleCnt="6">
        <dgm:presLayoutVars>
          <dgm:chMax val="0"/>
          <dgm:bulletEnabled val="1"/>
        </dgm:presLayoutVars>
      </dgm:prSet>
      <dgm:spPr/>
    </dgm:pt>
    <dgm:pt modelId="{37303BFC-B63A-4485-AC44-BE9D15769D6B}" type="pres">
      <dgm:prSet presAssocID="{B6272E9F-8C73-47FA-A097-213295CCE98A}" presName="spacer" presStyleCnt="0"/>
      <dgm:spPr/>
    </dgm:pt>
    <dgm:pt modelId="{52C6F130-7DE9-425D-A020-2B2C6F6D04BD}" type="pres">
      <dgm:prSet presAssocID="{ABE0A7D8-1CE6-4993-A3AB-A1DBCB30EBD6}" presName="parentText" presStyleLbl="node1" presStyleIdx="1" presStyleCnt="6">
        <dgm:presLayoutVars>
          <dgm:chMax val="0"/>
          <dgm:bulletEnabled val="1"/>
        </dgm:presLayoutVars>
      </dgm:prSet>
      <dgm:spPr/>
    </dgm:pt>
    <dgm:pt modelId="{02041ABD-6D64-44C7-AC94-94822AD3D181}" type="pres">
      <dgm:prSet presAssocID="{2906928A-467B-4C48-867B-35ACE908770A}" presName="spacer" presStyleCnt="0"/>
      <dgm:spPr/>
    </dgm:pt>
    <dgm:pt modelId="{0A8238F2-AA4D-4A2B-AF64-2DE3F2A479F9}" type="pres">
      <dgm:prSet presAssocID="{5DB73F5E-0E11-4C4B-998F-CAE5C66BFE4E}" presName="parentText" presStyleLbl="node1" presStyleIdx="2" presStyleCnt="6">
        <dgm:presLayoutVars>
          <dgm:chMax val="0"/>
          <dgm:bulletEnabled val="1"/>
        </dgm:presLayoutVars>
      </dgm:prSet>
      <dgm:spPr/>
    </dgm:pt>
    <dgm:pt modelId="{4907C21B-0BF8-4AED-BB05-9FDE3A01917C}" type="pres">
      <dgm:prSet presAssocID="{37FF6368-0E44-4683-A1DF-7BED892BEE7C}" presName="spacer" presStyleCnt="0"/>
      <dgm:spPr/>
    </dgm:pt>
    <dgm:pt modelId="{558E5841-9521-4A01-9267-C7BB05BC0027}" type="pres">
      <dgm:prSet presAssocID="{FA750519-63B5-4228-95EF-FD3B40EA2F0C}" presName="parentText" presStyleLbl="node1" presStyleIdx="3" presStyleCnt="6">
        <dgm:presLayoutVars>
          <dgm:chMax val="0"/>
          <dgm:bulletEnabled val="1"/>
        </dgm:presLayoutVars>
      </dgm:prSet>
      <dgm:spPr/>
    </dgm:pt>
    <dgm:pt modelId="{4A84876B-558A-4EDA-92A5-07CC7D7BD057}" type="pres">
      <dgm:prSet presAssocID="{6A2D7520-AACB-453F-B759-460A257A6368}" presName="spacer" presStyleCnt="0"/>
      <dgm:spPr/>
    </dgm:pt>
    <dgm:pt modelId="{BFB8A33C-98AA-42D2-803A-CCDDF3D14B3A}" type="pres">
      <dgm:prSet presAssocID="{ABFFDE8C-480D-4780-A492-DB79001FFD65}" presName="parentText" presStyleLbl="node1" presStyleIdx="4" presStyleCnt="6">
        <dgm:presLayoutVars>
          <dgm:chMax val="0"/>
          <dgm:bulletEnabled val="1"/>
        </dgm:presLayoutVars>
      </dgm:prSet>
      <dgm:spPr/>
    </dgm:pt>
    <dgm:pt modelId="{0359C953-B04E-441C-BD24-EBFA9A536ED2}" type="pres">
      <dgm:prSet presAssocID="{C569CE8E-1E06-42BC-B96F-D262A525BFAA}" presName="spacer" presStyleCnt="0"/>
      <dgm:spPr/>
    </dgm:pt>
    <dgm:pt modelId="{FBCD9FF1-5B9B-492E-8916-634568DBB30C}" type="pres">
      <dgm:prSet presAssocID="{1904BB1F-11C5-4413-B987-8D8722B9013D}" presName="parentText" presStyleLbl="node1" presStyleIdx="5" presStyleCnt="6">
        <dgm:presLayoutVars>
          <dgm:chMax val="0"/>
          <dgm:bulletEnabled val="1"/>
        </dgm:presLayoutVars>
      </dgm:prSet>
      <dgm:spPr/>
    </dgm:pt>
  </dgm:ptLst>
  <dgm:cxnLst>
    <dgm:cxn modelId="{DF792B14-CD0A-4D63-BC54-A21D36B01588}" type="presOf" srcId="{FA750519-63B5-4228-95EF-FD3B40EA2F0C}" destId="{558E5841-9521-4A01-9267-C7BB05BC0027}" srcOrd="0" destOrd="0" presId="urn:microsoft.com/office/officeart/2005/8/layout/vList2"/>
    <dgm:cxn modelId="{0C91191A-2EF0-40C8-861D-27E56C76A99A}" type="presOf" srcId="{ABE0A7D8-1CE6-4993-A3AB-A1DBCB30EBD6}" destId="{52C6F130-7DE9-425D-A020-2B2C6F6D04BD}" srcOrd="0" destOrd="0" presId="urn:microsoft.com/office/officeart/2005/8/layout/vList2"/>
    <dgm:cxn modelId="{4A6CDB1C-9FA2-43C5-8A53-F44D04945A47}" srcId="{E0727030-A103-47B3-9948-2C3FB6249167}" destId="{5DB73F5E-0E11-4C4B-998F-CAE5C66BFE4E}" srcOrd="2" destOrd="0" parTransId="{A8442112-86E7-4EB2-BBDA-D12446086709}" sibTransId="{37FF6368-0E44-4683-A1DF-7BED892BEE7C}"/>
    <dgm:cxn modelId="{12923E2E-FA70-4EF0-AE70-ED68B30ADF0C}" srcId="{E0727030-A103-47B3-9948-2C3FB6249167}" destId="{ABE0A7D8-1CE6-4993-A3AB-A1DBCB30EBD6}" srcOrd="1" destOrd="0" parTransId="{D9F3C5C1-4380-4ABA-8218-467D18E05E02}" sibTransId="{2906928A-467B-4C48-867B-35ACE908770A}"/>
    <dgm:cxn modelId="{8AD01E42-4105-46D2-9322-8E338F300B96}" type="presOf" srcId="{1904BB1F-11C5-4413-B987-8D8722B9013D}" destId="{FBCD9FF1-5B9B-492E-8916-634568DBB30C}" srcOrd="0" destOrd="0" presId="urn:microsoft.com/office/officeart/2005/8/layout/vList2"/>
    <dgm:cxn modelId="{F353BF65-17D0-405D-B4BA-AA146278740C}" type="presOf" srcId="{ABFFDE8C-480D-4780-A492-DB79001FFD65}" destId="{BFB8A33C-98AA-42D2-803A-CCDDF3D14B3A}" srcOrd="0" destOrd="0" presId="urn:microsoft.com/office/officeart/2005/8/layout/vList2"/>
    <dgm:cxn modelId="{C9101C68-0A57-4328-983C-882805889B6C}" type="presOf" srcId="{E0727030-A103-47B3-9948-2C3FB6249167}" destId="{94C6AD9B-C2BF-49F6-81C3-298BAF226FA4}" srcOrd="0" destOrd="0" presId="urn:microsoft.com/office/officeart/2005/8/layout/vList2"/>
    <dgm:cxn modelId="{081B156D-7349-4666-AA6E-E8F4E827228D}" type="presOf" srcId="{5DB73F5E-0E11-4C4B-998F-CAE5C66BFE4E}" destId="{0A8238F2-AA4D-4A2B-AF64-2DE3F2A479F9}" srcOrd="0" destOrd="0" presId="urn:microsoft.com/office/officeart/2005/8/layout/vList2"/>
    <dgm:cxn modelId="{250D80B4-9D4F-4208-B58B-9FA388BBFB80}" srcId="{E0727030-A103-47B3-9948-2C3FB6249167}" destId="{FA750519-63B5-4228-95EF-FD3B40EA2F0C}" srcOrd="3" destOrd="0" parTransId="{3464FE06-0DD9-49B6-A794-E82A73D023EE}" sibTransId="{6A2D7520-AACB-453F-B759-460A257A6368}"/>
    <dgm:cxn modelId="{C9DA87CC-A713-44AB-98A5-95088EA5CEFF}" srcId="{E0727030-A103-47B3-9948-2C3FB6249167}" destId="{1904BB1F-11C5-4413-B987-8D8722B9013D}" srcOrd="5" destOrd="0" parTransId="{727AA4EE-C342-4FA4-8527-72ECDB413714}" sibTransId="{A9F68742-44E1-4DF7-B2CB-36E0012FFC88}"/>
    <dgm:cxn modelId="{1AF7F9CE-8F94-4D3F-BAF2-C3C12662D4E0}" srcId="{E0727030-A103-47B3-9948-2C3FB6249167}" destId="{0E1DD910-82B7-411B-86B9-779EC2DE4ABD}" srcOrd="0" destOrd="0" parTransId="{2A74FAF1-0C25-4177-A263-A3087463B3AC}" sibTransId="{B6272E9F-8C73-47FA-A097-213295CCE98A}"/>
    <dgm:cxn modelId="{EBEAD4D5-809D-4B7C-8F1E-CF95061B7F6D}" srcId="{E0727030-A103-47B3-9948-2C3FB6249167}" destId="{ABFFDE8C-480D-4780-A492-DB79001FFD65}" srcOrd="4" destOrd="0" parTransId="{D7536CB7-6428-4B6E-9B72-B528701875C7}" sibTransId="{C569CE8E-1E06-42BC-B96F-D262A525BFAA}"/>
    <dgm:cxn modelId="{E73806D8-D300-4C6B-BC18-E71C0C4DC900}" type="presOf" srcId="{0E1DD910-82B7-411B-86B9-779EC2DE4ABD}" destId="{A5082DE8-4CF6-4B77-9283-A875A7787CFC}" srcOrd="0" destOrd="0" presId="urn:microsoft.com/office/officeart/2005/8/layout/vList2"/>
    <dgm:cxn modelId="{CCA3B9BF-2841-4241-AB00-C62B4BEDDBB3}" type="presParOf" srcId="{94C6AD9B-C2BF-49F6-81C3-298BAF226FA4}" destId="{A5082DE8-4CF6-4B77-9283-A875A7787CFC}" srcOrd="0" destOrd="0" presId="urn:microsoft.com/office/officeart/2005/8/layout/vList2"/>
    <dgm:cxn modelId="{36722EB1-F175-4A2A-AD84-D24359543238}" type="presParOf" srcId="{94C6AD9B-C2BF-49F6-81C3-298BAF226FA4}" destId="{37303BFC-B63A-4485-AC44-BE9D15769D6B}" srcOrd="1" destOrd="0" presId="urn:microsoft.com/office/officeart/2005/8/layout/vList2"/>
    <dgm:cxn modelId="{E06E0DF6-86BB-40B2-A4CE-40B10C9180BA}" type="presParOf" srcId="{94C6AD9B-C2BF-49F6-81C3-298BAF226FA4}" destId="{52C6F130-7DE9-425D-A020-2B2C6F6D04BD}" srcOrd="2" destOrd="0" presId="urn:microsoft.com/office/officeart/2005/8/layout/vList2"/>
    <dgm:cxn modelId="{1F890AB8-0A2F-431E-A38D-8F00FAD5C31B}" type="presParOf" srcId="{94C6AD9B-C2BF-49F6-81C3-298BAF226FA4}" destId="{02041ABD-6D64-44C7-AC94-94822AD3D181}" srcOrd="3" destOrd="0" presId="urn:microsoft.com/office/officeart/2005/8/layout/vList2"/>
    <dgm:cxn modelId="{EAE4E301-40B5-422A-BA0A-29A6E55B789D}" type="presParOf" srcId="{94C6AD9B-C2BF-49F6-81C3-298BAF226FA4}" destId="{0A8238F2-AA4D-4A2B-AF64-2DE3F2A479F9}" srcOrd="4" destOrd="0" presId="urn:microsoft.com/office/officeart/2005/8/layout/vList2"/>
    <dgm:cxn modelId="{B7EA5FD9-A566-4EFC-979D-C340611DFF9C}" type="presParOf" srcId="{94C6AD9B-C2BF-49F6-81C3-298BAF226FA4}" destId="{4907C21B-0BF8-4AED-BB05-9FDE3A01917C}" srcOrd="5" destOrd="0" presId="urn:microsoft.com/office/officeart/2005/8/layout/vList2"/>
    <dgm:cxn modelId="{A41235DA-3AE2-4958-A207-21BDA2848EED}" type="presParOf" srcId="{94C6AD9B-C2BF-49F6-81C3-298BAF226FA4}" destId="{558E5841-9521-4A01-9267-C7BB05BC0027}" srcOrd="6" destOrd="0" presId="urn:microsoft.com/office/officeart/2005/8/layout/vList2"/>
    <dgm:cxn modelId="{FAD7BC49-2F0B-4097-B3D4-38CA0DF1E823}" type="presParOf" srcId="{94C6AD9B-C2BF-49F6-81C3-298BAF226FA4}" destId="{4A84876B-558A-4EDA-92A5-07CC7D7BD057}" srcOrd="7" destOrd="0" presId="urn:microsoft.com/office/officeart/2005/8/layout/vList2"/>
    <dgm:cxn modelId="{A4B15834-0A6E-4533-9940-45CC6C1289A2}" type="presParOf" srcId="{94C6AD9B-C2BF-49F6-81C3-298BAF226FA4}" destId="{BFB8A33C-98AA-42D2-803A-CCDDF3D14B3A}" srcOrd="8" destOrd="0" presId="urn:microsoft.com/office/officeart/2005/8/layout/vList2"/>
    <dgm:cxn modelId="{B9CF81A5-6588-4850-A247-CC637EBC5AF2}" type="presParOf" srcId="{94C6AD9B-C2BF-49F6-81C3-298BAF226FA4}" destId="{0359C953-B04E-441C-BD24-EBFA9A536ED2}" srcOrd="9" destOrd="0" presId="urn:microsoft.com/office/officeart/2005/8/layout/vList2"/>
    <dgm:cxn modelId="{F7B53503-7D0A-4A9B-9999-AFDA95AA9DAD}" type="presParOf" srcId="{94C6AD9B-C2BF-49F6-81C3-298BAF226FA4}" destId="{FBCD9FF1-5B9B-492E-8916-634568DBB30C}"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726F8551-BBB2-4B53-8689-FCE8BA15D8FE}"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en-US"/>
        </a:p>
      </dgm:t>
    </dgm:pt>
    <dgm:pt modelId="{A38EF79F-9C21-4000-B914-B7AF27F9159C}">
      <dgm:prSet/>
      <dgm:spPr/>
      <dgm:t>
        <a:bodyPr/>
        <a:lstStyle/>
        <a:p>
          <a:r>
            <a:rPr lang="en-US" baseline="0" dirty="0"/>
            <a:t>Enables geo-replication for a group of databases within a server.</a:t>
          </a:r>
          <a:endParaRPr lang="en-US" dirty="0"/>
        </a:p>
      </dgm:t>
    </dgm:pt>
    <dgm:pt modelId="{9608DF3B-1A36-418B-950D-2FF66ECCB1E0}" type="parTrans" cxnId="{04DDDC41-E594-4205-8951-77052B35DCE6}">
      <dgm:prSet/>
      <dgm:spPr/>
      <dgm:t>
        <a:bodyPr/>
        <a:lstStyle/>
        <a:p>
          <a:endParaRPr lang="en-US"/>
        </a:p>
      </dgm:t>
    </dgm:pt>
    <dgm:pt modelId="{CE115458-3F91-4BC4-B304-4D06A0A2023B}" type="sibTrans" cxnId="{04DDDC41-E594-4205-8951-77052B35DCE6}">
      <dgm:prSet/>
      <dgm:spPr/>
      <dgm:t>
        <a:bodyPr/>
        <a:lstStyle/>
        <a:p>
          <a:endParaRPr lang="en-US"/>
        </a:p>
      </dgm:t>
    </dgm:pt>
    <dgm:pt modelId="{0A6B4C4F-AC70-41DB-864E-829E3DB63D4D}">
      <dgm:prSet/>
      <dgm:spPr/>
      <dgm:t>
        <a:bodyPr/>
        <a:lstStyle/>
        <a:p>
          <a:r>
            <a:rPr lang="en-US" baseline="0"/>
            <a:t>Automatically or manually failover a group of databases.</a:t>
          </a:r>
          <a:endParaRPr lang="en-US"/>
        </a:p>
      </dgm:t>
    </dgm:pt>
    <dgm:pt modelId="{23267E6C-AFC7-41BD-8F24-BCB63AB50446}" type="parTrans" cxnId="{BD2B6E7E-354B-4820-94DB-5D76BF97A94A}">
      <dgm:prSet/>
      <dgm:spPr/>
      <dgm:t>
        <a:bodyPr/>
        <a:lstStyle/>
        <a:p>
          <a:endParaRPr lang="en-US"/>
        </a:p>
      </dgm:t>
    </dgm:pt>
    <dgm:pt modelId="{EAC21C90-D2D3-4653-B61B-7F80D085B695}" type="sibTrans" cxnId="{BD2B6E7E-354B-4820-94DB-5D76BF97A94A}">
      <dgm:prSet/>
      <dgm:spPr/>
      <dgm:t>
        <a:bodyPr/>
        <a:lstStyle/>
        <a:p>
          <a:endParaRPr lang="en-US"/>
        </a:p>
      </dgm:t>
    </dgm:pt>
    <dgm:pt modelId="{F759F95B-F0C7-4CB5-A2E4-6A1BE68742EB}">
      <dgm:prSet/>
      <dgm:spPr/>
      <dgm:t>
        <a:bodyPr/>
        <a:lstStyle/>
        <a:p>
          <a:r>
            <a:rPr lang="en-US" baseline="0" dirty="0"/>
            <a:t>Available for all service tiers.</a:t>
          </a:r>
          <a:endParaRPr lang="en-US" dirty="0"/>
        </a:p>
      </dgm:t>
    </dgm:pt>
    <dgm:pt modelId="{F6860377-49AF-458A-B71C-C50E80BFD9F4}" type="parTrans" cxnId="{737704B0-0368-4046-BC05-84C90F374585}">
      <dgm:prSet/>
      <dgm:spPr/>
      <dgm:t>
        <a:bodyPr/>
        <a:lstStyle/>
        <a:p>
          <a:endParaRPr lang="en-US"/>
        </a:p>
      </dgm:t>
    </dgm:pt>
    <dgm:pt modelId="{222BE4B3-D96B-4FA9-9C41-2B4D93E2C5C0}" type="sibTrans" cxnId="{737704B0-0368-4046-BC05-84C90F374585}">
      <dgm:prSet/>
      <dgm:spPr/>
      <dgm:t>
        <a:bodyPr/>
        <a:lstStyle/>
        <a:p>
          <a:endParaRPr lang="en-US"/>
        </a:p>
      </dgm:t>
    </dgm:pt>
    <dgm:pt modelId="{0AA92178-B943-472D-B847-04A446594D6D}">
      <dgm:prSet/>
      <dgm:spPr/>
      <dgm:t>
        <a:bodyPr/>
        <a:lstStyle/>
        <a:p>
          <a:r>
            <a:rPr lang="en-US" baseline="0" dirty="0"/>
            <a:t>Configure the auto-failover policy that best meets your application needs.</a:t>
          </a:r>
          <a:endParaRPr lang="en-US" dirty="0"/>
        </a:p>
      </dgm:t>
    </dgm:pt>
    <dgm:pt modelId="{9F105EAA-F6D2-46AF-8A68-82DF291BDCF5}" type="parTrans" cxnId="{ED410E05-C5EB-43F8-923A-E525052D0BB7}">
      <dgm:prSet/>
      <dgm:spPr/>
      <dgm:t>
        <a:bodyPr/>
        <a:lstStyle/>
        <a:p>
          <a:endParaRPr lang="en-US"/>
        </a:p>
      </dgm:t>
    </dgm:pt>
    <dgm:pt modelId="{DEAB4FD0-B690-4311-80C2-1CDD2C211F7F}" type="sibTrans" cxnId="{ED410E05-C5EB-43F8-923A-E525052D0BB7}">
      <dgm:prSet/>
      <dgm:spPr/>
      <dgm:t>
        <a:bodyPr/>
        <a:lstStyle/>
        <a:p>
          <a:endParaRPr lang="en-US"/>
        </a:p>
      </dgm:t>
    </dgm:pt>
    <dgm:pt modelId="{4FDECC04-849E-4688-9727-53F86DE0203C}">
      <dgm:prSet/>
      <dgm:spPr/>
      <dgm:t>
        <a:bodyPr/>
        <a:lstStyle/>
        <a:p>
          <a:r>
            <a:rPr lang="en-US" baseline="0"/>
            <a:t>Usage of and listener end-points.</a:t>
          </a:r>
          <a:endParaRPr lang="en-US"/>
        </a:p>
      </dgm:t>
    </dgm:pt>
    <dgm:pt modelId="{23A7A82E-C624-4E10-860B-8E7B1107CE71}" type="parTrans" cxnId="{6B11ADA1-5961-4D20-931D-6023A7CA966E}">
      <dgm:prSet/>
      <dgm:spPr/>
      <dgm:t>
        <a:bodyPr/>
        <a:lstStyle/>
        <a:p>
          <a:endParaRPr lang="en-US"/>
        </a:p>
      </dgm:t>
    </dgm:pt>
    <dgm:pt modelId="{2BC39B67-CDC5-47E7-A39D-E4DF5996BA1B}" type="sibTrans" cxnId="{6B11ADA1-5961-4D20-931D-6023A7CA966E}">
      <dgm:prSet/>
      <dgm:spPr/>
      <dgm:t>
        <a:bodyPr/>
        <a:lstStyle/>
        <a:p>
          <a:endParaRPr lang="en-US"/>
        </a:p>
      </dgm:t>
    </dgm:pt>
    <dgm:pt modelId="{998AB7FB-949C-4312-934D-C6884872222B}">
      <dgm:prSet/>
      <dgm:spPr/>
      <dgm:t>
        <a:bodyPr/>
        <a:lstStyle/>
        <a:p>
          <a:r>
            <a:rPr lang="en-US" baseline="0"/>
            <a:t>DNS record is automatically updated. </a:t>
          </a:r>
          <a:endParaRPr lang="en-US"/>
        </a:p>
      </dgm:t>
    </dgm:pt>
    <dgm:pt modelId="{350ED429-0A4B-406C-8BFC-CF0DCC5D6DF4}" type="parTrans" cxnId="{FF8B8886-6687-42B1-90A3-6DEC8D1B9CB4}">
      <dgm:prSet/>
      <dgm:spPr/>
      <dgm:t>
        <a:bodyPr/>
        <a:lstStyle/>
        <a:p>
          <a:endParaRPr lang="en-US"/>
        </a:p>
      </dgm:t>
    </dgm:pt>
    <dgm:pt modelId="{B4CCDBD2-48E4-437C-A51A-D8DBB239B38B}" type="sibTrans" cxnId="{FF8B8886-6687-42B1-90A3-6DEC8D1B9CB4}">
      <dgm:prSet/>
      <dgm:spPr/>
      <dgm:t>
        <a:bodyPr/>
        <a:lstStyle/>
        <a:p>
          <a:endParaRPr lang="en-US"/>
        </a:p>
      </dgm:t>
    </dgm:pt>
    <dgm:pt modelId="{4F9ADC3E-6351-4F5C-B41D-3514FDA574F3}" type="pres">
      <dgm:prSet presAssocID="{726F8551-BBB2-4B53-8689-FCE8BA15D8FE}" presName="linear" presStyleCnt="0">
        <dgm:presLayoutVars>
          <dgm:animLvl val="lvl"/>
          <dgm:resizeHandles val="exact"/>
        </dgm:presLayoutVars>
      </dgm:prSet>
      <dgm:spPr/>
    </dgm:pt>
    <dgm:pt modelId="{2EFB0852-C8C0-41EF-A670-4631E19D4666}" type="pres">
      <dgm:prSet presAssocID="{A38EF79F-9C21-4000-B914-B7AF27F9159C}" presName="parentText" presStyleLbl="node1" presStyleIdx="0" presStyleCnt="6">
        <dgm:presLayoutVars>
          <dgm:chMax val="0"/>
          <dgm:bulletEnabled val="1"/>
        </dgm:presLayoutVars>
      </dgm:prSet>
      <dgm:spPr/>
    </dgm:pt>
    <dgm:pt modelId="{23CA2FF5-CF73-46E0-B400-9A0B00B4B860}" type="pres">
      <dgm:prSet presAssocID="{CE115458-3F91-4BC4-B304-4D06A0A2023B}" presName="spacer" presStyleCnt="0"/>
      <dgm:spPr/>
    </dgm:pt>
    <dgm:pt modelId="{8DCDF152-3662-49F3-979F-AC2B108F8F75}" type="pres">
      <dgm:prSet presAssocID="{0A6B4C4F-AC70-41DB-864E-829E3DB63D4D}" presName="parentText" presStyleLbl="node1" presStyleIdx="1" presStyleCnt="6">
        <dgm:presLayoutVars>
          <dgm:chMax val="0"/>
          <dgm:bulletEnabled val="1"/>
        </dgm:presLayoutVars>
      </dgm:prSet>
      <dgm:spPr/>
    </dgm:pt>
    <dgm:pt modelId="{5B558029-D43F-4521-BBC1-1006CCEB4823}" type="pres">
      <dgm:prSet presAssocID="{EAC21C90-D2D3-4653-B61B-7F80D085B695}" presName="spacer" presStyleCnt="0"/>
      <dgm:spPr/>
    </dgm:pt>
    <dgm:pt modelId="{4FF0E93A-EE92-4877-BDD5-2C9A329F8D4C}" type="pres">
      <dgm:prSet presAssocID="{F759F95B-F0C7-4CB5-A2E4-6A1BE68742EB}" presName="parentText" presStyleLbl="node1" presStyleIdx="2" presStyleCnt="6">
        <dgm:presLayoutVars>
          <dgm:chMax val="0"/>
          <dgm:bulletEnabled val="1"/>
        </dgm:presLayoutVars>
      </dgm:prSet>
      <dgm:spPr/>
    </dgm:pt>
    <dgm:pt modelId="{3C12E28C-219C-46F6-A5FA-9F22E5E53BFC}" type="pres">
      <dgm:prSet presAssocID="{222BE4B3-D96B-4FA9-9C41-2B4D93E2C5C0}" presName="spacer" presStyleCnt="0"/>
      <dgm:spPr/>
    </dgm:pt>
    <dgm:pt modelId="{45C8ECF9-B0D8-444C-AA2A-8938EBFE0562}" type="pres">
      <dgm:prSet presAssocID="{0AA92178-B943-472D-B847-04A446594D6D}" presName="parentText" presStyleLbl="node1" presStyleIdx="3" presStyleCnt="6">
        <dgm:presLayoutVars>
          <dgm:chMax val="0"/>
          <dgm:bulletEnabled val="1"/>
        </dgm:presLayoutVars>
      </dgm:prSet>
      <dgm:spPr/>
    </dgm:pt>
    <dgm:pt modelId="{773A205E-6E0D-45B6-9792-536FDD0F3406}" type="pres">
      <dgm:prSet presAssocID="{DEAB4FD0-B690-4311-80C2-1CDD2C211F7F}" presName="spacer" presStyleCnt="0"/>
      <dgm:spPr/>
    </dgm:pt>
    <dgm:pt modelId="{249B9357-27B7-48FA-9693-A4E8A251272B}" type="pres">
      <dgm:prSet presAssocID="{4FDECC04-849E-4688-9727-53F86DE0203C}" presName="parentText" presStyleLbl="node1" presStyleIdx="4" presStyleCnt="6">
        <dgm:presLayoutVars>
          <dgm:chMax val="0"/>
          <dgm:bulletEnabled val="1"/>
        </dgm:presLayoutVars>
      </dgm:prSet>
      <dgm:spPr/>
    </dgm:pt>
    <dgm:pt modelId="{B8A29393-44B0-407A-8921-892EC428E40D}" type="pres">
      <dgm:prSet presAssocID="{2BC39B67-CDC5-47E7-A39D-E4DF5996BA1B}" presName="spacer" presStyleCnt="0"/>
      <dgm:spPr/>
    </dgm:pt>
    <dgm:pt modelId="{DF3F32AA-A900-43D6-B269-510E87493361}" type="pres">
      <dgm:prSet presAssocID="{998AB7FB-949C-4312-934D-C6884872222B}" presName="parentText" presStyleLbl="node1" presStyleIdx="5" presStyleCnt="6">
        <dgm:presLayoutVars>
          <dgm:chMax val="0"/>
          <dgm:bulletEnabled val="1"/>
        </dgm:presLayoutVars>
      </dgm:prSet>
      <dgm:spPr/>
    </dgm:pt>
  </dgm:ptLst>
  <dgm:cxnLst>
    <dgm:cxn modelId="{6F611003-E09D-4D7B-9C86-858683CFC437}" type="presOf" srcId="{F759F95B-F0C7-4CB5-A2E4-6A1BE68742EB}" destId="{4FF0E93A-EE92-4877-BDD5-2C9A329F8D4C}" srcOrd="0" destOrd="0" presId="urn:microsoft.com/office/officeart/2005/8/layout/vList2"/>
    <dgm:cxn modelId="{ED410E05-C5EB-43F8-923A-E525052D0BB7}" srcId="{726F8551-BBB2-4B53-8689-FCE8BA15D8FE}" destId="{0AA92178-B943-472D-B847-04A446594D6D}" srcOrd="3" destOrd="0" parTransId="{9F105EAA-F6D2-46AF-8A68-82DF291BDCF5}" sibTransId="{DEAB4FD0-B690-4311-80C2-1CDD2C211F7F}"/>
    <dgm:cxn modelId="{ABD1921E-8B8E-45FD-8ED7-8C9AB74164AB}" type="presOf" srcId="{A38EF79F-9C21-4000-B914-B7AF27F9159C}" destId="{2EFB0852-C8C0-41EF-A670-4631E19D4666}" srcOrd="0" destOrd="0" presId="urn:microsoft.com/office/officeart/2005/8/layout/vList2"/>
    <dgm:cxn modelId="{04DDDC41-E594-4205-8951-77052B35DCE6}" srcId="{726F8551-BBB2-4B53-8689-FCE8BA15D8FE}" destId="{A38EF79F-9C21-4000-B914-B7AF27F9159C}" srcOrd="0" destOrd="0" parTransId="{9608DF3B-1A36-418B-950D-2FF66ECCB1E0}" sibTransId="{CE115458-3F91-4BC4-B304-4D06A0A2023B}"/>
    <dgm:cxn modelId="{4054886E-7E7B-4469-965C-34F8F9D53AE7}" type="presOf" srcId="{998AB7FB-949C-4312-934D-C6884872222B}" destId="{DF3F32AA-A900-43D6-B269-510E87493361}" srcOrd="0" destOrd="0" presId="urn:microsoft.com/office/officeart/2005/8/layout/vList2"/>
    <dgm:cxn modelId="{BD2B6E7E-354B-4820-94DB-5D76BF97A94A}" srcId="{726F8551-BBB2-4B53-8689-FCE8BA15D8FE}" destId="{0A6B4C4F-AC70-41DB-864E-829E3DB63D4D}" srcOrd="1" destOrd="0" parTransId="{23267E6C-AFC7-41BD-8F24-BCB63AB50446}" sibTransId="{EAC21C90-D2D3-4653-B61B-7F80D085B695}"/>
    <dgm:cxn modelId="{FF8B8886-6687-42B1-90A3-6DEC8D1B9CB4}" srcId="{726F8551-BBB2-4B53-8689-FCE8BA15D8FE}" destId="{998AB7FB-949C-4312-934D-C6884872222B}" srcOrd="5" destOrd="0" parTransId="{350ED429-0A4B-406C-8BFC-CF0DCC5D6DF4}" sibTransId="{B4CCDBD2-48E4-437C-A51A-D8DBB239B38B}"/>
    <dgm:cxn modelId="{D6D1BF88-6C4E-43BF-8834-3130A0668233}" type="presOf" srcId="{0AA92178-B943-472D-B847-04A446594D6D}" destId="{45C8ECF9-B0D8-444C-AA2A-8938EBFE0562}" srcOrd="0" destOrd="0" presId="urn:microsoft.com/office/officeart/2005/8/layout/vList2"/>
    <dgm:cxn modelId="{6B11ADA1-5961-4D20-931D-6023A7CA966E}" srcId="{726F8551-BBB2-4B53-8689-FCE8BA15D8FE}" destId="{4FDECC04-849E-4688-9727-53F86DE0203C}" srcOrd="4" destOrd="0" parTransId="{23A7A82E-C624-4E10-860B-8E7B1107CE71}" sibTransId="{2BC39B67-CDC5-47E7-A39D-E4DF5996BA1B}"/>
    <dgm:cxn modelId="{CD66F2AE-3BDD-4078-851E-85B382DC5ED7}" type="presOf" srcId="{4FDECC04-849E-4688-9727-53F86DE0203C}" destId="{249B9357-27B7-48FA-9693-A4E8A251272B}" srcOrd="0" destOrd="0" presId="urn:microsoft.com/office/officeart/2005/8/layout/vList2"/>
    <dgm:cxn modelId="{737704B0-0368-4046-BC05-84C90F374585}" srcId="{726F8551-BBB2-4B53-8689-FCE8BA15D8FE}" destId="{F759F95B-F0C7-4CB5-A2E4-6A1BE68742EB}" srcOrd="2" destOrd="0" parTransId="{F6860377-49AF-458A-B71C-C50E80BFD9F4}" sibTransId="{222BE4B3-D96B-4FA9-9C41-2B4D93E2C5C0}"/>
    <dgm:cxn modelId="{264F5ED0-D027-4D72-B52E-008C968F79CA}" type="presOf" srcId="{0A6B4C4F-AC70-41DB-864E-829E3DB63D4D}" destId="{8DCDF152-3662-49F3-979F-AC2B108F8F75}" srcOrd="0" destOrd="0" presId="urn:microsoft.com/office/officeart/2005/8/layout/vList2"/>
    <dgm:cxn modelId="{5C4F78FD-739D-4369-860D-2C6241774966}" type="presOf" srcId="{726F8551-BBB2-4B53-8689-FCE8BA15D8FE}" destId="{4F9ADC3E-6351-4F5C-B41D-3514FDA574F3}" srcOrd="0" destOrd="0" presId="urn:microsoft.com/office/officeart/2005/8/layout/vList2"/>
    <dgm:cxn modelId="{89A3244C-B2FD-4563-9CED-6715E7E7A767}" type="presParOf" srcId="{4F9ADC3E-6351-4F5C-B41D-3514FDA574F3}" destId="{2EFB0852-C8C0-41EF-A670-4631E19D4666}" srcOrd="0" destOrd="0" presId="urn:microsoft.com/office/officeart/2005/8/layout/vList2"/>
    <dgm:cxn modelId="{6401BAFB-E1E1-42CF-BDEC-FA21ACBF9CF5}" type="presParOf" srcId="{4F9ADC3E-6351-4F5C-B41D-3514FDA574F3}" destId="{23CA2FF5-CF73-46E0-B400-9A0B00B4B860}" srcOrd="1" destOrd="0" presId="urn:microsoft.com/office/officeart/2005/8/layout/vList2"/>
    <dgm:cxn modelId="{256A35D2-141C-4D89-879A-DC5811255D18}" type="presParOf" srcId="{4F9ADC3E-6351-4F5C-B41D-3514FDA574F3}" destId="{8DCDF152-3662-49F3-979F-AC2B108F8F75}" srcOrd="2" destOrd="0" presId="urn:microsoft.com/office/officeart/2005/8/layout/vList2"/>
    <dgm:cxn modelId="{0F6A7630-477B-4A83-ACFB-061BA07E872C}" type="presParOf" srcId="{4F9ADC3E-6351-4F5C-B41D-3514FDA574F3}" destId="{5B558029-D43F-4521-BBC1-1006CCEB4823}" srcOrd="3" destOrd="0" presId="urn:microsoft.com/office/officeart/2005/8/layout/vList2"/>
    <dgm:cxn modelId="{3212F8C5-FC53-4A74-9B4C-0E605EC8EFE1}" type="presParOf" srcId="{4F9ADC3E-6351-4F5C-B41D-3514FDA574F3}" destId="{4FF0E93A-EE92-4877-BDD5-2C9A329F8D4C}" srcOrd="4" destOrd="0" presId="urn:microsoft.com/office/officeart/2005/8/layout/vList2"/>
    <dgm:cxn modelId="{346A9BAA-B412-4784-A381-A29B3165E488}" type="presParOf" srcId="{4F9ADC3E-6351-4F5C-B41D-3514FDA574F3}" destId="{3C12E28C-219C-46F6-A5FA-9F22E5E53BFC}" srcOrd="5" destOrd="0" presId="urn:microsoft.com/office/officeart/2005/8/layout/vList2"/>
    <dgm:cxn modelId="{BC59105E-D07F-4FE3-82CB-3F67A296385B}" type="presParOf" srcId="{4F9ADC3E-6351-4F5C-B41D-3514FDA574F3}" destId="{45C8ECF9-B0D8-444C-AA2A-8938EBFE0562}" srcOrd="6" destOrd="0" presId="urn:microsoft.com/office/officeart/2005/8/layout/vList2"/>
    <dgm:cxn modelId="{06F0EB04-A4B9-47A9-AB95-6214FE809187}" type="presParOf" srcId="{4F9ADC3E-6351-4F5C-B41D-3514FDA574F3}" destId="{773A205E-6E0D-45B6-9792-536FDD0F3406}" srcOrd="7" destOrd="0" presId="urn:microsoft.com/office/officeart/2005/8/layout/vList2"/>
    <dgm:cxn modelId="{C6DD162A-AEEB-4001-8F58-24FA5F7C5E4D}" type="presParOf" srcId="{4F9ADC3E-6351-4F5C-B41D-3514FDA574F3}" destId="{249B9357-27B7-48FA-9693-A4E8A251272B}" srcOrd="8" destOrd="0" presId="urn:microsoft.com/office/officeart/2005/8/layout/vList2"/>
    <dgm:cxn modelId="{317C08D5-B774-4E50-AF8B-57DE86527698}" type="presParOf" srcId="{4F9ADC3E-6351-4F5C-B41D-3514FDA574F3}" destId="{B8A29393-44B0-407A-8921-892EC428E40D}" srcOrd="9" destOrd="0" presId="urn:microsoft.com/office/officeart/2005/8/layout/vList2"/>
    <dgm:cxn modelId="{740BD7DE-854A-4F85-A69B-95F57EA6ECE7}" type="presParOf" srcId="{4F9ADC3E-6351-4F5C-B41D-3514FDA574F3}" destId="{DF3F32AA-A900-43D6-B269-510E87493361}"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DA6E466-6F77-4C37-A7BD-0CCB723D2C1E}"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248BD975-2C07-418C-822A-C570424294ED}">
      <dgm:prSet custT="1"/>
      <dgm:spPr/>
      <dgm:t>
        <a:bodyPr/>
        <a:lstStyle/>
        <a:p>
          <a:r>
            <a:rPr lang="en-US" sz="2000" dirty="0">
              <a:solidFill>
                <a:schemeClr val="bg1"/>
              </a:solidFill>
              <a:latin typeface="+mj-lt"/>
            </a:rPr>
            <a:t>Availability</a:t>
          </a:r>
        </a:p>
      </dgm:t>
    </dgm:pt>
    <dgm:pt modelId="{0DCCA9FD-D864-4A6B-8A24-C8BBAB74C4BB}" type="parTrans" cxnId="{F50280CC-2555-46E5-BF70-4C2B65F74485}">
      <dgm:prSet/>
      <dgm:spPr/>
      <dgm:t>
        <a:bodyPr/>
        <a:lstStyle/>
        <a:p>
          <a:endParaRPr lang="en-US"/>
        </a:p>
      </dgm:t>
    </dgm:pt>
    <dgm:pt modelId="{C4D4A921-AC2A-4BB1-9CDC-03C281FA1C47}" type="sibTrans" cxnId="{F50280CC-2555-46E5-BF70-4C2B65F74485}">
      <dgm:prSet/>
      <dgm:spPr/>
      <dgm:t>
        <a:bodyPr/>
        <a:lstStyle/>
        <a:p>
          <a:endParaRPr lang="en-US"/>
        </a:p>
      </dgm:t>
    </dgm:pt>
    <dgm:pt modelId="{B901EA49-1FBE-4E54-B608-190D8C97A8C5}">
      <dgm:prSet custT="1"/>
      <dgm:spPr/>
      <dgm:t>
        <a:bodyPr/>
        <a:lstStyle/>
        <a:p>
          <a:r>
            <a:rPr lang="en-US" sz="2000" dirty="0">
              <a:solidFill>
                <a:schemeClr val="tx1"/>
              </a:solidFill>
              <a:latin typeface="+mn-lt"/>
            </a:rPr>
            <a:t>Every database comes with core resiliency and availability, that protects it against software or hardware failures.</a:t>
          </a:r>
        </a:p>
      </dgm:t>
    </dgm:pt>
    <dgm:pt modelId="{634F7F8A-98F1-4232-81C1-3FEE4CB23DC7}" type="parTrans" cxnId="{1DCBE1F9-3612-4C1C-A2E2-DBAEE61EA3A1}">
      <dgm:prSet/>
      <dgm:spPr/>
      <dgm:t>
        <a:bodyPr/>
        <a:lstStyle/>
        <a:p>
          <a:endParaRPr lang="en-US"/>
        </a:p>
      </dgm:t>
    </dgm:pt>
    <dgm:pt modelId="{59123448-0830-4BF5-871B-4217008848E4}" type="sibTrans" cxnId="{1DCBE1F9-3612-4C1C-A2E2-DBAEE61EA3A1}">
      <dgm:prSet/>
      <dgm:spPr/>
      <dgm:t>
        <a:bodyPr/>
        <a:lstStyle/>
        <a:p>
          <a:endParaRPr lang="en-US"/>
        </a:p>
      </dgm:t>
    </dgm:pt>
    <dgm:pt modelId="{C9E65DAE-77A1-48DF-8C33-4F2157653293}">
      <dgm:prSet custT="1"/>
      <dgm:spPr/>
      <dgm:t>
        <a:bodyPr/>
        <a:lstStyle/>
        <a:p>
          <a:r>
            <a:rPr lang="en-US" sz="2000" dirty="0">
              <a:solidFill>
                <a:schemeClr val="tx1"/>
              </a:solidFill>
              <a:latin typeface="+mn-lt"/>
            </a:rPr>
            <a:t>Industry leading financially backed SLA of 99.99% availability.</a:t>
          </a:r>
        </a:p>
      </dgm:t>
    </dgm:pt>
    <dgm:pt modelId="{54C63257-B0E0-4460-9ADB-D10532640933}" type="parTrans" cxnId="{B75BB2E7-BDA1-495A-A470-5C8FC8C02613}">
      <dgm:prSet/>
      <dgm:spPr/>
      <dgm:t>
        <a:bodyPr/>
        <a:lstStyle/>
        <a:p>
          <a:endParaRPr lang="en-US"/>
        </a:p>
      </dgm:t>
    </dgm:pt>
    <dgm:pt modelId="{D9EF23A9-2D7D-4B4A-BFAC-F221641C037A}" type="sibTrans" cxnId="{B75BB2E7-BDA1-495A-A470-5C8FC8C02613}">
      <dgm:prSet/>
      <dgm:spPr/>
      <dgm:t>
        <a:bodyPr/>
        <a:lstStyle/>
        <a:p>
          <a:endParaRPr lang="en-US"/>
        </a:p>
      </dgm:t>
    </dgm:pt>
    <dgm:pt modelId="{965115BF-1450-47FF-9047-146037C1A1D3}">
      <dgm:prSet custT="1"/>
      <dgm:spPr/>
      <dgm:t>
        <a:bodyPr/>
        <a:lstStyle/>
        <a:p>
          <a:r>
            <a:rPr lang="en-US" sz="2000" b="1" dirty="0">
              <a:solidFill>
                <a:schemeClr val="bg1"/>
              </a:solidFill>
              <a:latin typeface="+mn-lt"/>
              <a:cs typeface="Segoe UI Semibold" panose="020B0502040204020203" pitchFamily="34" charset="0"/>
            </a:rPr>
            <a:t>High Availability</a:t>
          </a:r>
          <a:endParaRPr lang="en-US" sz="2000" dirty="0">
            <a:solidFill>
              <a:schemeClr val="bg1"/>
            </a:solidFill>
            <a:latin typeface="+mn-lt"/>
          </a:endParaRPr>
        </a:p>
      </dgm:t>
    </dgm:pt>
    <dgm:pt modelId="{D6AC35A0-15B3-4DA7-8DDE-2D626EFA0FCC}" type="parTrans" cxnId="{C4F78ED7-928C-4592-8D8A-14AE4D81A53E}">
      <dgm:prSet/>
      <dgm:spPr/>
      <dgm:t>
        <a:bodyPr/>
        <a:lstStyle/>
        <a:p>
          <a:endParaRPr lang="en-US"/>
        </a:p>
      </dgm:t>
    </dgm:pt>
    <dgm:pt modelId="{98C7F02E-6B09-4B4A-9D57-6403EF7249A9}" type="sibTrans" cxnId="{C4F78ED7-928C-4592-8D8A-14AE4D81A53E}">
      <dgm:prSet/>
      <dgm:spPr/>
      <dgm:t>
        <a:bodyPr/>
        <a:lstStyle/>
        <a:p>
          <a:endParaRPr lang="en-US"/>
        </a:p>
      </dgm:t>
    </dgm:pt>
    <dgm:pt modelId="{02BCC509-9017-4B52-99C0-A09A6FFD8757}">
      <dgm:prSet custT="1"/>
      <dgm:spPr/>
      <dgm:t>
        <a:bodyPr/>
        <a:lstStyle/>
        <a:p>
          <a:r>
            <a:rPr lang="en-US" sz="2000" dirty="0">
              <a:solidFill>
                <a:schemeClr val="tx1"/>
              </a:solidFill>
              <a:latin typeface="+mn-lt"/>
            </a:rPr>
            <a:t>Continuous availability of the database provided through Zone Redundancy.</a:t>
          </a:r>
          <a:endParaRPr lang="en-US" sz="2000" b="0" dirty="0">
            <a:solidFill>
              <a:schemeClr val="tx1"/>
            </a:solidFill>
            <a:latin typeface="+mn-lt"/>
            <a:cs typeface="Segoe UI Semibold" panose="020B0502040204020203" pitchFamily="34" charset="0"/>
          </a:endParaRPr>
        </a:p>
      </dgm:t>
    </dgm:pt>
    <dgm:pt modelId="{3EA92B44-070A-4627-99BB-C27F4838D8BB}" type="parTrans" cxnId="{81F5A069-664C-422A-AD2C-DEF7BABE537D}">
      <dgm:prSet/>
      <dgm:spPr/>
      <dgm:t>
        <a:bodyPr/>
        <a:lstStyle/>
        <a:p>
          <a:endParaRPr lang="en-US"/>
        </a:p>
      </dgm:t>
    </dgm:pt>
    <dgm:pt modelId="{28E6B4AC-2BE2-419B-BFF9-89F53D62A8B7}" type="sibTrans" cxnId="{81F5A069-664C-422A-AD2C-DEF7BABE537D}">
      <dgm:prSet/>
      <dgm:spPr/>
      <dgm:t>
        <a:bodyPr/>
        <a:lstStyle/>
        <a:p>
          <a:endParaRPr lang="en-US"/>
        </a:p>
      </dgm:t>
    </dgm:pt>
    <dgm:pt modelId="{44FEE0B8-06B7-47C6-9C0A-3938922BB454}">
      <dgm:prSet custT="1"/>
      <dgm:spPr/>
      <dgm:t>
        <a:bodyPr/>
        <a:lstStyle/>
        <a:p>
          <a:r>
            <a:rPr lang="en-US" sz="2000" dirty="0">
              <a:solidFill>
                <a:schemeClr val="tx1"/>
              </a:solidFill>
              <a:latin typeface="+mn-lt"/>
            </a:rPr>
            <a:t>Automatic in region recovery from zonal hardware and software failures that’s transparent to applications.</a:t>
          </a:r>
          <a:endParaRPr lang="en-US" sz="2000" dirty="0">
            <a:solidFill>
              <a:schemeClr val="tx1"/>
            </a:solidFill>
            <a:latin typeface="+mn-lt"/>
            <a:cs typeface="Segoe UI"/>
          </a:endParaRPr>
        </a:p>
      </dgm:t>
    </dgm:pt>
    <dgm:pt modelId="{E94D292E-9F28-437A-BBAB-25568FA9EA8C}" type="parTrans" cxnId="{8B508F6F-C7C2-4802-8836-0B31CC25531E}">
      <dgm:prSet/>
      <dgm:spPr/>
      <dgm:t>
        <a:bodyPr/>
        <a:lstStyle/>
        <a:p>
          <a:endParaRPr lang="en-US"/>
        </a:p>
      </dgm:t>
    </dgm:pt>
    <dgm:pt modelId="{D42E47F8-5F7A-42B0-8EA7-D3F5F51DF180}" type="sibTrans" cxnId="{8B508F6F-C7C2-4802-8836-0B31CC25531E}">
      <dgm:prSet/>
      <dgm:spPr/>
      <dgm:t>
        <a:bodyPr/>
        <a:lstStyle/>
        <a:p>
          <a:endParaRPr lang="en-US"/>
        </a:p>
      </dgm:t>
    </dgm:pt>
    <dgm:pt modelId="{DA2786AA-BB00-43BA-817B-ADCA95DC934A}">
      <dgm:prSet custT="1"/>
      <dgm:spPr/>
      <dgm:t>
        <a:bodyPr/>
        <a:lstStyle/>
        <a:p>
          <a:r>
            <a:rPr lang="en-US" sz="2000" dirty="0">
              <a:solidFill>
                <a:schemeClr val="tx1"/>
              </a:solidFill>
              <a:latin typeface="+mn-lt"/>
            </a:rPr>
            <a:t>Higher SLA of 99.995% availability. </a:t>
          </a:r>
        </a:p>
      </dgm:t>
    </dgm:pt>
    <dgm:pt modelId="{6F129A19-E91E-4AA5-9668-FAEB04AFB60B}" type="parTrans" cxnId="{FE9D849C-5FF2-425D-83D6-74EDD3FE329C}">
      <dgm:prSet/>
      <dgm:spPr/>
      <dgm:t>
        <a:bodyPr/>
        <a:lstStyle/>
        <a:p>
          <a:endParaRPr lang="en-US"/>
        </a:p>
      </dgm:t>
    </dgm:pt>
    <dgm:pt modelId="{24FA4DF9-78B5-46C2-BDCD-F485C6795A89}" type="sibTrans" cxnId="{FE9D849C-5FF2-425D-83D6-74EDD3FE329C}">
      <dgm:prSet/>
      <dgm:spPr/>
      <dgm:t>
        <a:bodyPr/>
        <a:lstStyle/>
        <a:p>
          <a:endParaRPr lang="en-US"/>
        </a:p>
      </dgm:t>
    </dgm:pt>
    <dgm:pt modelId="{BCD7AEDD-66E8-428F-A015-E04C6F462268}">
      <dgm:prSet custT="1"/>
      <dgm:spPr/>
      <dgm:t>
        <a:bodyPr/>
        <a:lstStyle/>
        <a:p>
          <a:r>
            <a:rPr lang="en-US" sz="2000" b="1" dirty="0">
              <a:solidFill>
                <a:schemeClr val="bg1"/>
              </a:solidFill>
              <a:latin typeface="+mn-lt"/>
              <a:cs typeface="Segoe UI Semibold" panose="020B0502040204020203" pitchFamily="34" charset="0"/>
            </a:rPr>
            <a:t>Disaster Recovery</a:t>
          </a:r>
          <a:endParaRPr lang="en-US" sz="2000" dirty="0">
            <a:solidFill>
              <a:schemeClr val="bg1"/>
            </a:solidFill>
            <a:latin typeface="+mn-lt"/>
          </a:endParaRPr>
        </a:p>
      </dgm:t>
    </dgm:pt>
    <dgm:pt modelId="{BC6017ED-6325-4982-A704-A6EBDE97BEE4}" type="parTrans" cxnId="{F0FCA5FD-6658-4230-BB3D-40171A9B0BF7}">
      <dgm:prSet/>
      <dgm:spPr/>
      <dgm:t>
        <a:bodyPr/>
        <a:lstStyle/>
        <a:p>
          <a:endParaRPr lang="en-US"/>
        </a:p>
      </dgm:t>
    </dgm:pt>
    <dgm:pt modelId="{C17AB46B-15A9-474D-8C3B-CAF35081F3E3}" type="sibTrans" cxnId="{F0FCA5FD-6658-4230-BB3D-40171A9B0BF7}">
      <dgm:prSet/>
      <dgm:spPr/>
      <dgm:t>
        <a:bodyPr/>
        <a:lstStyle/>
        <a:p>
          <a:endParaRPr lang="en-US"/>
        </a:p>
      </dgm:t>
    </dgm:pt>
    <dgm:pt modelId="{A68DDD24-1FD8-4603-A3D2-F6DE0694EF94}">
      <dgm:prSet custT="1"/>
      <dgm:spPr/>
      <dgm:t>
        <a:bodyPr/>
        <a:lstStyle/>
        <a:p>
          <a:pPr>
            <a:buFont typeface="Arial" panose="020B0604020202020204" pitchFamily="34" charset="0"/>
            <a:buChar char="•"/>
          </a:pPr>
          <a:r>
            <a:rPr lang="en-US" sz="2000" dirty="0">
              <a:solidFill>
                <a:schemeClr val="tx1"/>
              </a:solidFill>
              <a:latin typeface="+mn-lt"/>
            </a:rPr>
            <a:t>Ability to quickly recover the database from a catastrophic regional failure to provide business continuity. </a:t>
          </a:r>
        </a:p>
      </dgm:t>
    </dgm:pt>
    <dgm:pt modelId="{3D9FF687-5AEC-411A-9A27-2445003C96C6}" type="parTrans" cxnId="{1D0FFA6A-BD6B-4DD6-BBE7-8FE986BEA917}">
      <dgm:prSet/>
      <dgm:spPr/>
      <dgm:t>
        <a:bodyPr/>
        <a:lstStyle/>
        <a:p>
          <a:endParaRPr lang="en-US"/>
        </a:p>
      </dgm:t>
    </dgm:pt>
    <dgm:pt modelId="{FE1ED01C-4335-482E-9FB1-0CD60189EEE3}" type="sibTrans" cxnId="{1D0FFA6A-BD6B-4DD6-BBE7-8FE986BEA917}">
      <dgm:prSet/>
      <dgm:spPr/>
      <dgm:t>
        <a:bodyPr/>
        <a:lstStyle/>
        <a:p>
          <a:endParaRPr lang="en-US"/>
        </a:p>
      </dgm:t>
    </dgm:pt>
    <dgm:pt modelId="{8FA3B52E-A050-4213-9776-5788D99F3004}">
      <dgm:prSet custT="1"/>
      <dgm:spPr/>
      <dgm:t>
        <a:bodyPr/>
        <a:lstStyle/>
        <a:p>
          <a:r>
            <a:rPr lang="en-US" sz="2000" dirty="0">
              <a:solidFill>
                <a:schemeClr val="tx1"/>
              </a:solidFill>
              <a:latin typeface="+mn-lt"/>
            </a:rPr>
            <a:t>Protect your business by maximizing application availability. </a:t>
          </a:r>
        </a:p>
      </dgm:t>
    </dgm:pt>
    <dgm:pt modelId="{8C35C4A9-53C6-466E-8E24-72861D3E4E54}" type="parTrans" cxnId="{51245CD5-7542-4916-B008-9598B30D1A52}">
      <dgm:prSet/>
      <dgm:spPr/>
      <dgm:t>
        <a:bodyPr/>
        <a:lstStyle/>
        <a:p>
          <a:endParaRPr lang="en-US"/>
        </a:p>
      </dgm:t>
    </dgm:pt>
    <dgm:pt modelId="{88A16ABF-928B-4E38-9718-FF9AB13BF70A}" type="sibTrans" cxnId="{51245CD5-7542-4916-B008-9598B30D1A52}">
      <dgm:prSet/>
      <dgm:spPr/>
      <dgm:t>
        <a:bodyPr/>
        <a:lstStyle/>
        <a:p>
          <a:endParaRPr lang="en-US"/>
        </a:p>
      </dgm:t>
    </dgm:pt>
    <dgm:pt modelId="{E08A1656-FC4C-4D5C-BE24-27E5A3BB3660}">
      <dgm:prSet custT="1"/>
      <dgm:spPr/>
      <dgm:t>
        <a:bodyPr/>
        <a:lstStyle/>
        <a:p>
          <a:r>
            <a:rPr lang="en-US" sz="2000" dirty="0">
              <a:solidFill>
                <a:schemeClr val="tx1"/>
              </a:solidFill>
              <a:latin typeface="+mn-lt"/>
            </a:rPr>
            <a:t>Customer configured database replicas or failover groups</a:t>
          </a:r>
        </a:p>
      </dgm:t>
    </dgm:pt>
    <dgm:pt modelId="{6DD2E983-D09A-4EFE-BFFA-E7D413C8721F}" type="parTrans" cxnId="{F1E545CB-0F45-4699-954D-46A3ADB9F051}">
      <dgm:prSet/>
      <dgm:spPr/>
      <dgm:t>
        <a:bodyPr/>
        <a:lstStyle/>
        <a:p>
          <a:endParaRPr lang="en-US"/>
        </a:p>
      </dgm:t>
    </dgm:pt>
    <dgm:pt modelId="{03C89CC1-3661-4DF9-AA30-1FFD5DAB8FBF}" type="sibTrans" cxnId="{F1E545CB-0F45-4699-954D-46A3ADB9F051}">
      <dgm:prSet/>
      <dgm:spPr/>
      <dgm:t>
        <a:bodyPr/>
        <a:lstStyle/>
        <a:p>
          <a:endParaRPr lang="en-US"/>
        </a:p>
      </dgm:t>
    </dgm:pt>
    <dgm:pt modelId="{55B3C1DA-5D42-41CC-A2C6-4065925277F2}" type="pres">
      <dgm:prSet presAssocID="{0DA6E466-6F77-4C37-A7BD-0CCB723D2C1E}" presName="Name0" presStyleCnt="0">
        <dgm:presLayoutVars>
          <dgm:dir/>
          <dgm:animLvl val="lvl"/>
          <dgm:resizeHandles val="exact"/>
        </dgm:presLayoutVars>
      </dgm:prSet>
      <dgm:spPr/>
    </dgm:pt>
    <dgm:pt modelId="{DE0CDC36-E79D-4241-BDFD-698F088609DC}" type="pres">
      <dgm:prSet presAssocID="{248BD975-2C07-418C-822A-C570424294ED}" presName="composite" presStyleCnt="0"/>
      <dgm:spPr/>
    </dgm:pt>
    <dgm:pt modelId="{9D40D280-8D87-4993-91D0-BEDDE3205B37}" type="pres">
      <dgm:prSet presAssocID="{248BD975-2C07-418C-822A-C570424294ED}" presName="parTx" presStyleLbl="alignNode1" presStyleIdx="0" presStyleCnt="3">
        <dgm:presLayoutVars>
          <dgm:chMax val="0"/>
          <dgm:chPref val="0"/>
          <dgm:bulletEnabled val="1"/>
        </dgm:presLayoutVars>
      </dgm:prSet>
      <dgm:spPr/>
    </dgm:pt>
    <dgm:pt modelId="{5F128C9F-38AC-4D41-8C60-7D3AA04E3899}" type="pres">
      <dgm:prSet presAssocID="{248BD975-2C07-418C-822A-C570424294ED}" presName="desTx" presStyleLbl="alignAccFollowNode1" presStyleIdx="0" presStyleCnt="3">
        <dgm:presLayoutVars>
          <dgm:bulletEnabled val="1"/>
        </dgm:presLayoutVars>
      </dgm:prSet>
      <dgm:spPr/>
    </dgm:pt>
    <dgm:pt modelId="{3839C94B-C9CB-489C-8197-DFE2EEDF852F}" type="pres">
      <dgm:prSet presAssocID="{C4D4A921-AC2A-4BB1-9CDC-03C281FA1C47}" presName="space" presStyleCnt="0"/>
      <dgm:spPr/>
    </dgm:pt>
    <dgm:pt modelId="{619AE098-331E-490B-8456-0172FABF7226}" type="pres">
      <dgm:prSet presAssocID="{965115BF-1450-47FF-9047-146037C1A1D3}" presName="composite" presStyleCnt="0"/>
      <dgm:spPr/>
    </dgm:pt>
    <dgm:pt modelId="{5B697352-8F63-4028-B4EA-5A11F38B5D08}" type="pres">
      <dgm:prSet presAssocID="{965115BF-1450-47FF-9047-146037C1A1D3}" presName="parTx" presStyleLbl="alignNode1" presStyleIdx="1" presStyleCnt="3">
        <dgm:presLayoutVars>
          <dgm:chMax val="0"/>
          <dgm:chPref val="0"/>
          <dgm:bulletEnabled val="1"/>
        </dgm:presLayoutVars>
      </dgm:prSet>
      <dgm:spPr/>
    </dgm:pt>
    <dgm:pt modelId="{18EFF64C-B330-4757-8CEE-B2609217B0FB}" type="pres">
      <dgm:prSet presAssocID="{965115BF-1450-47FF-9047-146037C1A1D3}" presName="desTx" presStyleLbl="alignAccFollowNode1" presStyleIdx="1" presStyleCnt="3">
        <dgm:presLayoutVars>
          <dgm:bulletEnabled val="1"/>
        </dgm:presLayoutVars>
      </dgm:prSet>
      <dgm:spPr/>
    </dgm:pt>
    <dgm:pt modelId="{93933205-10DF-4CB5-A47E-270CE411EDC1}" type="pres">
      <dgm:prSet presAssocID="{98C7F02E-6B09-4B4A-9D57-6403EF7249A9}" presName="space" presStyleCnt="0"/>
      <dgm:spPr/>
    </dgm:pt>
    <dgm:pt modelId="{DD5988E0-884E-44B1-8CCE-F2D78AF010A5}" type="pres">
      <dgm:prSet presAssocID="{BCD7AEDD-66E8-428F-A015-E04C6F462268}" presName="composite" presStyleCnt="0"/>
      <dgm:spPr/>
    </dgm:pt>
    <dgm:pt modelId="{82E610BC-D56C-42C0-895D-0ACC3E3FD861}" type="pres">
      <dgm:prSet presAssocID="{BCD7AEDD-66E8-428F-A015-E04C6F462268}" presName="parTx" presStyleLbl="alignNode1" presStyleIdx="2" presStyleCnt="3">
        <dgm:presLayoutVars>
          <dgm:chMax val="0"/>
          <dgm:chPref val="0"/>
          <dgm:bulletEnabled val="1"/>
        </dgm:presLayoutVars>
      </dgm:prSet>
      <dgm:spPr/>
    </dgm:pt>
    <dgm:pt modelId="{A54848EF-EEAE-44F6-990D-16EB9C3CA531}" type="pres">
      <dgm:prSet presAssocID="{BCD7AEDD-66E8-428F-A015-E04C6F462268}" presName="desTx" presStyleLbl="alignAccFollowNode1" presStyleIdx="2" presStyleCnt="3">
        <dgm:presLayoutVars>
          <dgm:bulletEnabled val="1"/>
        </dgm:presLayoutVars>
      </dgm:prSet>
      <dgm:spPr/>
    </dgm:pt>
  </dgm:ptLst>
  <dgm:cxnLst>
    <dgm:cxn modelId="{FAC8BD0F-1C71-4603-B63F-F68C7A2B8F3A}" type="presOf" srcId="{8FA3B52E-A050-4213-9776-5788D99F3004}" destId="{A54848EF-EEAE-44F6-990D-16EB9C3CA531}" srcOrd="0" destOrd="2" presId="urn:microsoft.com/office/officeart/2005/8/layout/hList1"/>
    <dgm:cxn modelId="{5F90261E-865C-410F-BF72-B78A82036883}" type="presOf" srcId="{44FEE0B8-06B7-47C6-9C0A-3938922BB454}" destId="{18EFF64C-B330-4757-8CEE-B2609217B0FB}" srcOrd="0" destOrd="1" presId="urn:microsoft.com/office/officeart/2005/8/layout/hList1"/>
    <dgm:cxn modelId="{4B50F739-FF9F-40FB-BA81-28C2F2923DEF}" type="presOf" srcId="{248BD975-2C07-418C-822A-C570424294ED}" destId="{9D40D280-8D87-4993-91D0-BEDDE3205B37}" srcOrd="0" destOrd="0" presId="urn:microsoft.com/office/officeart/2005/8/layout/hList1"/>
    <dgm:cxn modelId="{6E6EFF5C-9242-4A6C-8082-5C4F886C9062}" type="presOf" srcId="{0DA6E466-6F77-4C37-A7BD-0CCB723D2C1E}" destId="{55B3C1DA-5D42-41CC-A2C6-4065925277F2}" srcOrd="0" destOrd="0" presId="urn:microsoft.com/office/officeart/2005/8/layout/hList1"/>
    <dgm:cxn modelId="{FD0DBE5E-93EC-4942-BA8D-A7DAA52EB825}" type="presOf" srcId="{02BCC509-9017-4B52-99C0-A09A6FFD8757}" destId="{18EFF64C-B330-4757-8CEE-B2609217B0FB}" srcOrd="0" destOrd="0" presId="urn:microsoft.com/office/officeart/2005/8/layout/hList1"/>
    <dgm:cxn modelId="{E0AA1342-63BB-4F3E-B747-1D2424863512}" type="presOf" srcId="{965115BF-1450-47FF-9047-146037C1A1D3}" destId="{5B697352-8F63-4028-B4EA-5A11F38B5D08}" srcOrd="0" destOrd="0" presId="urn:microsoft.com/office/officeart/2005/8/layout/hList1"/>
    <dgm:cxn modelId="{7B1D8045-5218-4062-8E1A-63F74A628A64}" type="presOf" srcId="{B901EA49-1FBE-4E54-B608-190D8C97A8C5}" destId="{5F128C9F-38AC-4D41-8C60-7D3AA04E3899}" srcOrd="0" destOrd="0" presId="urn:microsoft.com/office/officeart/2005/8/layout/hList1"/>
    <dgm:cxn modelId="{81F5A069-664C-422A-AD2C-DEF7BABE537D}" srcId="{965115BF-1450-47FF-9047-146037C1A1D3}" destId="{02BCC509-9017-4B52-99C0-A09A6FFD8757}" srcOrd="0" destOrd="0" parTransId="{3EA92B44-070A-4627-99BB-C27F4838D8BB}" sibTransId="{28E6B4AC-2BE2-419B-BFF9-89F53D62A8B7}"/>
    <dgm:cxn modelId="{1D0FFA6A-BD6B-4DD6-BBE7-8FE986BEA917}" srcId="{BCD7AEDD-66E8-428F-A015-E04C6F462268}" destId="{A68DDD24-1FD8-4603-A3D2-F6DE0694EF94}" srcOrd="1" destOrd="0" parTransId="{3D9FF687-5AEC-411A-9A27-2445003C96C6}" sibTransId="{FE1ED01C-4335-482E-9FB1-0CD60189EEE3}"/>
    <dgm:cxn modelId="{8B508F6F-C7C2-4802-8836-0B31CC25531E}" srcId="{965115BF-1450-47FF-9047-146037C1A1D3}" destId="{44FEE0B8-06B7-47C6-9C0A-3938922BB454}" srcOrd="1" destOrd="0" parTransId="{E94D292E-9F28-437A-BBAB-25568FA9EA8C}" sibTransId="{D42E47F8-5F7A-42B0-8EA7-D3F5F51DF180}"/>
    <dgm:cxn modelId="{B900E479-F545-433A-AB8C-2B6FCD33E4EA}" type="presOf" srcId="{BCD7AEDD-66E8-428F-A015-E04C6F462268}" destId="{82E610BC-D56C-42C0-895D-0ACC3E3FD861}" srcOrd="0" destOrd="0" presId="urn:microsoft.com/office/officeart/2005/8/layout/hList1"/>
    <dgm:cxn modelId="{A5798F97-5210-42C2-884B-17319BF0BF3C}" type="presOf" srcId="{E08A1656-FC4C-4D5C-BE24-27E5A3BB3660}" destId="{A54848EF-EEAE-44F6-990D-16EB9C3CA531}" srcOrd="0" destOrd="0" presId="urn:microsoft.com/office/officeart/2005/8/layout/hList1"/>
    <dgm:cxn modelId="{FE9D849C-5FF2-425D-83D6-74EDD3FE329C}" srcId="{965115BF-1450-47FF-9047-146037C1A1D3}" destId="{DA2786AA-BB00-43BA-817B-ADCA95DC934A}" srcOrd="2" destOrd="0" parTransId="{6F129A19-E91E-4AA5-9668-FAEB04AFB60B}" sibTransId="{24FA4DF9-78B5-46C2-BDCD-F485C6795A89}"/>
    <dgm:cxn modelId="{E49DF49D-3A50-42DF-8DD3-4EA37B830E19}" type="presOf" srcId="{A68DDD24-1FD8-4603-A3D2-F6DE0694EF94}" destId="{A54848EF-EEAE-44F6-990D-16EB9C3CA531}" srcOrd="0" destOrd="1" presId="urn:microsoft.com/office/officeart/2005/8/layout/hList1"/>
    <dgm:cxn modelId="{6EC32DB8-53D2-4259-A614-228EDA3B4E24}" type="presOf" srcId="{C9E65DAE-77A1-48DF-8C33-4F2157653293}" destId="{5F128C9F-38AC-4D41-8C60-7D3AA04E3899}" srcOrd="0" destOrd="1" presId="urn:microsoft.com/office/officeart/2005/8/layout/hList1"/>
    <dgm:cxn modelId="{F1E545CB-0F45-4699-954D-46A3ADB9F051}" srcId="{BCD7AEDD-66E8-428F-A015-E04C6F462268}" destId="{E08A1656-FC4C-4D5C-BE24-27E5A3BB3660}" srcOrd="0" destOrd="0" parTransId="{6DD2E983-D09A-4EFE-BFFA-E7D413C8721F}" sibTransId="{03C89CC1-3661-4DF9-AA30-1FFD5DAB8FBF}"/>
    <dgm:cxn modelId="{F50280CC-2555-46E5-BF70-4C2B65F74485}" srcId="{0DA6E466-6F77-4C37-A7BD-0CCB723D2C1E}" destId="{248BD975-2C07-418C-822A-C570424294ED}" srcOrd="0" destOrd="0" parTransId="{0DCCA9FD-D864-4A6B-8A24-C8BBAB74C4BB}" sibTransId="{C4D4A921-AC2A-4BB1-9CDC-03C281FA1C47}"/>
    <dgm:cxn modelId="{51245CD5-7542-4916-B008-9598B30D1A52}" srcId="{BCD7AEDD-66E8-428F-A015-E04C6F462268}" destId="{8FA3B52E-A050-4213-9776-5788D99F3004}" srcOrd="2" destOrd="0" parTransId="{8C35C4A9-53C6-466E-8E24-72861D3E4E54}" sibTransId="{88A16ABF-928B-4E38-9718-FF9AB13BF70A}"/>
    <dgm:cxn modelId="{C4F78ED7-928C-4592-8D8A-14AE4D81A53E}" srcId="{0DA6E466-6F77-4C37-A7BD-0CCB723D2C1E}" destId="{965115BF-1450-47FF-9047-146037C1A1D3}" srcOrd="1" destOrd="0" parTransId="{D6AC35A0-15B3-4DA7-8DDE-2D626EFA0FCC}" sibTransId="{98C7F02E-6B09-4B4A-9D57-6403EF7249A9}"/>
    <dgm:cxn modelId="{B75BB2E7-BDA1-495A-A470-5C8FC8C02613}" srcId="{248BD975-2C07-418C-822A-C570424294ED}" destId="{C9E65DAE-77A1-48DF-8C33-4F2157653293}" srcOrd="1" destOrd="0" parTransId="{54C63257-B0E0-4460-9ADB-D10532640933}" sibTransId="{D9EF23A9-2D7D-4B4A-BFAC-F221641C037A}"/>
    <dgm:cxn modelId="{1DCBE1F9-3612-4C1C-A2E2-DBAEE61EA3A1}" srcId="{248BD975-2C07-418C-822A-C570424294ED}" destId="{B901EA49-1FBE-4E54-B608-190D8C97A8C5}" srcOrd="0" destOrd="0" parTransId="{634F7F8A-98F1-4232-81C1-3FEE4CB23DC7}" sibTransId="{59123448-0830-4BF5-871B-4217008848E4}"/>
    <dgm:cxn modelId="{1D59DEFB-832E-456B-9CDB-FDB9E6A4079C}" type="presOf" srcId="{DA2786AA-BB00-43BA-817B-ADCA95DC934A}" destId="{18EFF64C-B330-4757-8CEE-B2609217B0FB}" srcOrd="0" destOrd="2" presId="urn:microsoft.com/office/officeart/2005/8/layout/hList1"/>
    <dgm:cxn modelId="{F0FCA5FD-6658-4230-BB3D-40171A9B0BF7}" srcId="{0DA6E466-6F77-4C37-A7BD-0CCB723D2C1E}" destId="{BCD7AEDD-66E8-428F-A015-E04C6F462268}" srcOrd="2" destOrd="0" parTransId="{BC6017ED-6325-4982-A704-A6EBDE97BEE4}" sibTransId="{C17AB46B-15A9-474D-8C3B-CAF35081F3E3}"/>
    <dgm:cxn modelId="{D262ECF6-1584-4C25-975B-94C390A75939}" type="presParOf" srcId="{55B3C1DA-5D42-41CC-A2C6-4065925277F2}" destId="{DE0CDC36-E79D-4241-BDFD-698F088609DC}" srcOrd="0" destOrd="0" presId="urn:microsoft.com/office/officeart/2005/8/layout/hList1"/>
    <dgm:cxn modelId="{EBA5C873-5040-447D-A7A9-6018A8370C6B}" type="presParOf" srcId="{DE0CDC36-E79D-4241-BDFD-698F088609DC}" destId="{9D40D280-8D87-4993-91D0-BEDDE3205B37}" srcOrd="0" destOrd="0" presId="urn:microsoft.com/office/officeart/2005/8/layout/hList1"/>
    <dgm:cxn modelId="{2AA8FB4B-DB71-4B8E-888B-CA37A15B51C0}" type="presParOf" srcId="{DE0CDC36-E79D-4241-BDFD-698F088609DC}" destId="{5F128C9F-38AC-4D41-8C60-7D3AA04E3899}" srcOrd="1" destOrd="0" presId="urn:microsoft.com/office/officeart/2005/8/layout/hList1"/>
    <dgm:cxn modelId="{E1E3B710-B568-42ED-833C-E6A87520763D}" type="presParOf" srcId="{55B3C1DA-5D42-41CC-A2C6-4065925277F2}" destId="{3839C94B-C9CB-489C-8197-DFE2EEDF852F}" srcOrd="1" destOrd="0" presId="urn:microsoft.com/office/officeart/2005/8/layout/hList1"/>
    <dgm:cxn modelId="{FCBBC80E-0FA3-4C07-94C1-1499CB3A0466}" type="presParOf" srcId="{55B3C1DA-5D42-41CC-A2C6-4065925277F2}" destId="{619AE098-331E-490B-8456-0172FABF7226}" srcOrd="2" destOrd="0" presId="urn:microsoft.com/office/officeart/2005/8/layout/hList1"/>
    <dgm:cxn modelId="{C00E003E-8DE3-4C7D-8AC6-6A54E0B2ED48}" type="presParOf" srcId="{619AE098-331E-490B-8456-0172FABF7226}" destId="{5B697352-8F63-4028-B4EA-5A11F38B5D08}" srcOrd="0" destOrd="0" presId="urn:microsoft.com/office/officeart/2005/8/layout/hList1"/>
    <dgm:cxn modelId="{266AAE05-F24A-4A24-89D4-3ACED67B2F33}" type="presParOf" srcId="{619AE098-331E-490B-8456-0172FABF7226}" destId="{18EFF64C-B330-4757-8CEE-B2609217B0FB}" srcOrd="1" destOrd="0" presId="urn:microsoft.com/office/officeart/2005/8/layout/hList1"/>
    <dgm:cxn modelId="{FE36B031-C2F7-4346-AAB7-17071B962957}" type="presParOf" srcId="{55B3C1DA-5D42-41CC-A2C6-4065925277F2}" destId="{93933205-10DF-4CB5-A47E-270CE411EDC1}" srcOrd="3" destOrd="0" presId="urn:microsoft.com/office/officeart/2005/8/layout/hList1"/>
    <dgm:cxn modelId="{265DB38F-9559-4708-9EC1-E779EA6345C4}" type="presParOf" srcId="{55B3C1DA-5D42-41CC-A2C6-4065925277F2}" destId="{DD5988E0-884E-44B1-8CCE-F2D78AF010A5}" srcOrd="4" destOrd="0" presId="urn:microsoft.com/office/officeart/2005/8/layout/hList1"/>
    <dgm:cxn modelId="{D1E30E3D-A920-40A7-8F56-3F944CDB3A5C}" type="presParOf" srcId="{DD5988E0-884E-44B1-8CCE-F2D78AF010A5}" destId="{82E610BC-D56C-42C0-895D-0ACC3E3FD861}" srcOrd="0" destOrd="0" presId="urn:microsoft.com/office/officeart/2005/8/layout/hList1"/>
    <dgm:cxn modelId="{3DC10D7A-A1CC-4BEC-A468-AA7C05011EDD}" type="presParOf" srcId="{DD5988E0-884E-44B1-8CCE-F2D78AF010A5}" destId="{A54848EF-EEAE-44F6-990D-16EB9C3CA531}"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E7B879-2C09-4D7A-B5E8-5DD54093F39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68BDD94-34A8-4E67-AF91-BAB501FB57AE}">
      <dgm:prSet/>
      <dgm:spPr/>
      <dgm:t>
        <a:bodyPr/>
        <a:lstStyle/>
        <a:p>
          <a:r>
            <a:rPr lang="en-US" baseline="0"/>
            <a:t>Auto backups and Point in Time Restore (PITR)</a:t>
          </a:r>
          <a:endParaRPr lang="en-US"/>
        </a:p>
      </dgm:t>
    </dgm:pt>
    <dgm:pt modelId="{B3ED074E-E7E2-45AE-8059-0FFE87B0C12D}" type="parTrans" cxnId="{0C516D44-409C-48C9-9D9E-32D1C541B8CB}">
      <dgm:prSet/>
      <dgm:spPr/>
      <dgm:t>
        <a:bodyPr/>
        <a:lstStyle/>
        <a:p>
          <a:endParaRPr lang="en-US"/>
        </a:p>
      </dgm:t>
    </dgm:pt>
    <dgm:pt modelId="{D7B24679-F298-499A-91B2-0D9606061784}" type="sibTrans" cxnId="{0C516D44-409C-48C9-9D9E-32D1C541B8CB}">
      <dgm:prSet/>
      <dgm:spPr/>
      <dgm:t>
        <a:bodyPr/>
        <a:lstStyle/>
        <a:p>
          <a:endParaRPr lang="en-US"/>
        </a:p>
      </dgm:t>
    </dgm:pt>
    <dgm:pt modelId="{6544A354-3326-4AAC-9A34-EFF2201440A5}">
      <dgm:prSet/>
      <dgm:spPr/>
      <dgm:t>
        <a:bodyPr/>
        <a:lstStyle/>
        <a:p>
          <a:r>
            <a:rPr lang="en-US" baseline="0" dirty="0"/>
            <a:t>Full Database backup once a week</a:t>
          </a:r>
          <a:endParaRPr lang="en-US" dirty="0"/>
        </a:p>
      </dgm:t>
    </dgm:pt>
    <dgm:pt modelId="{0FB59FDD-E20B-4044-B057-42FF60014629}" type="parTrans" cxnId="{58B1C284-FC3B-43F5-9AD6-0A13D31F6407}">
      <dgm:prSet/>
      <dgm:spPr/>
      <dgm:t>
        <a:bodyPr/>
        <a:lstStyle/>
        <a:p>
          <a:endParaRPr lang="en-US"/>
        </a:p>
      </dgm:t>
    </dgm:pt>
    <dgm:pt modelId="{B5C3496D-FD32-4C72-A4F1-544B881E5455}" type="sibTrans" cxnId="{58B1C284-FC3B-43F5-9AD6-0A13D31F6407}">
      <dgm:prSet/>
      <dgm:spPr/>
      <dgm:t>
        <a:bodyPr/>
        <a:lstStyle/>
        <a:p>
          <a:endParaRPr lang="en-US"/>
        </a:p>
      </dgm:t>
    </dgm:pt>
    <dgm:pt modelId="{D69878B7-42EB-421F-8D82-9D0B6B43BDC4}">
      <dgm:prSet/>
      <dgm:spPr/>
      <dgm:t>
        <a:bodyPr/>
        <a:lstStyle/>
        <a:p>
          <a:r>
            <a:rPr lang="en-US" baseline="0" dirty="0"/>
            <a:t>Log Backups every 5-10 minutes</a:t>
          </a:r>
          <a:endParaRPr lang="en-US" dirty="0"/>
        </a:p>
      </dgm:t>
    </dgm:pt>
    <dgm:pt modelId="{9BECC805-C7FF-430A-ADDE-3D3C027B24F4}" type="parTrans" cxnId="{52B7FCE5-8AAC-42C3-AF77-B7DF035688AA}">
      <dgm:prSet/>
      <dgm:spPr/>
      <dgm:t>
        <a:bodyPr/>
        <a:lstStyle/>
        <a:p>
          <a:endParaRPr lang="en-US"/>
        </a:p>
      </dgm:t>
    </dgm:pt>
    <dgm:pt modelId="{37756F80-EB1B-4B33-B2CB-92FF060CB821}" type="sibTrans" cxnId="{52B7FCE5-8AAC-42C3-AF77-B7DF035688AA}">
      <dgm:prSet/>
      <dgm:spPr/>
      <dgm:t>
        <a:bodyPr/>
        <a:lstStyle/>
        <a:p>
          <a:endParaRPr lang="en-US"/>
        </a:p>
      </dgm:t>
    </dgm:pt>
    <dgm:pt modelId="{3A953A82-826A-4D4A-815F-5F79B7D89869}">
      <dgm:prSet/>
      <dgm:spPr/>
      <dgm:t>
        <a:bodyPr/>
        <a:lstStyle/>
        <a:p>
          <a:r>
            <a:rPr lang="en-US" baseline="0" dirty="0"/>
            <a:t>Backup files on Azure storage</a:t>
          </a:r>
          <a:endParaRPr lang="en-US" dirty="0"/>
        </a:p>
      </dgm:t>
    </dgm:pt>
    <dgm:pt modelId="{27E6E67B-77CF-4885-8574-499DFC885D01}" type="parTrans" cxnId="{72CD52F2-748E-4814-89F4-1E9472D5E679}">
      <dgm:prSet/>
      <dgm:spPr/>
      <dgm:t>
        <a:bodyPr/>
        <a:lstStyle/>
        <a:p>
          <a:endParaRPr lang="en-US"/>
        </a:p>
      </dgm:t>
    </dgm:pt>
    <dgm:pt modelId="{1315E9EF-73B5-4B16-9FEE-0541C69D58D0}" type="sibTrans" cxnId="{72CD52F2-748E-4814-89F4-1E9472D5E679}">
      <dgm:prSet/>
      <dgm:spPr/>
      <dgm:t>
        <a:bodyPr/>
        <a:lstStyle/>
        <a:p>
          <a:endParaRPr lang="en-US"/>
        </a:p>
      </dgm:t>
    </dgm:pt>
    <dgm:pt modelId="{56F2267E-A109-4DEF-9785-4AFDB93DDB09}">
      <dgm:prSet/>
      <dgm:spPr/>
      <dgm:t>
        <a:bodyPr/>
        <a:lstStyle/>
        <a:p>
          <a:r>
            <a:rPr lang="en-US" baseline="0" dirty="0"/>
            <a:t>Can be LRS, GRS, or ZRS</a:t>
          </a:r>
          <a:endParaRPr lang="en-US" dirty="0"/>
        </a:p>
      </dgm:t>
    </dgm:pt>
    <dgm:pt modelId="{39C60BA4-082E-416B-946C-B14E95398C4E}" type="parTrans" cxnId="{40771574-A8A2-4662-9F1C-9C054809278A}">
      <dgm:prSet/>
      <dgm:spPr/>
      <dgm:t>
        <a:bodyPr/>
        <a:lstStyle/>
        <a:p>
          <a:endParaRPr lang="en-US"/>
        </a:p>
      </dgm:t>
    </dgm:pt>
    <dgm:pt modelId="{3AB9B62D-EC49-474A-9F1B-74CAA485C56F}" type="sibTrans" cxnId="{40771574-A8A2-4662-9F1C-9C054809278A}">
      <dgm:prSet/>
      <dgm:spPr/>
      <dgm:t>
        <a:bodyPr/>
        <a:lstStyle/>
        <a:p>
          <a:endParaRPr lang="en-US"/>
        </a:p>
      </dgm:t>
    </dgm:pt>
    <dgm:pt modelId="{CA68AF99-D8FB-44DD-8C68-923200C0AAD7}">
      <dgm:prSet/>
      <dgm:spPr/>
      <dgm:t>
        <a:bodyPr/>
        <a:lstStyle/>
        <a:p>
          <a:r>
            <a:rPr lang="en-US" baseline="0"/>
            <a:t>Backup Integrity checks</a:t>
          </a:r>
          <a:endParaRPr lang="en-US"/>
        </a:p>
      </dgm:t>
    </dgm:pt>
    <dgm:pt modelId="{1B663949-E1D3-48EF-B4FE-7FF6F0E1F4C7}" type="parTrans" cxnId="{B36AB842-AC71-4BFD-A311-7464DE202C64}">
      <dgm:prSet/>
      <dgm:spPr/>
      <dgm:t>
        <a:bodyPr/>
        <a:lstStyle/>
        <a:p>
          <a:endParaRPr lang="en-US"/>
        </a:p>
      </dgm:t>
    </dgm:pt>
    <dgm:pt modelId="{426DF9BC-6CB3-4FF4-9AE3-01F841AA3DCA}" type="sibTrans" cxnId="{B36AB842-AC71-4BFD-A311-7464DE202C64}">
      <dgm:prSet/>
      <dgm:spPr/>
      <dgm:t>
        <a:bodyPr/>
        <a:lstStyle/>
        <a:p>
          <a:endParaRPr lang="en-US"/>
        </a:p>
      </dgm:t>
    </dgm:pt>
    <dgm:pt modelId="{CD2E9541-BD6E-4036-8099-AFABB9F92B8C}">
      <dgm:prSet/>
      <dgm:spPr/>
      <dgm:t>
        <a:bodyPr/>
        <a:lstStyle/>
        <a:p>
          <a:r>
            <a:rPr lang="en-US" baseline="0"/>
            <a:t>Restore to new database</a:t>
          </a:r>
          <a:endParaRPr lang="en-US"/>
        </a:p>
      </dgm:t>
    </dgm:pt>
    <dgm:pt modelId="{5C3576A5-FF33-4DAB-8D91-9394B8ABF7A2}" type="parTrans" cxnId="{44105249-B488-4F57-ACB1-E8E6B65E67A8}">
      <dgm:prSet/>
      <dgm:spPr/>
      <dgm:t>
        <a:bodyPr/>
        <a:lstStyle/>
        <a:p>
          <a:endParaRPr lang="en-US"/>
        </a:p>
      </dgm:t>
    </dgm:pt>
    <dgm:pt modelId="{5D27F4BA-56B9-404E-9449-FCBACC42CC8E}" type="sibTrans" cxnId="{44105249-B488-4F57-ACB1-E8E6B65E67A8}">
      <dgm:prSet/>
      <dgm:spPr/>
      <dgm:t>
        <a:bodyPr/>
        <a:lstStyle/>
        <a:p>
          <a:endParaRPr lang="en-US"/>
        </a:p>
      </dgm:t>
    </dgm:pt>
    <dgm:pt modelId="{9A214D08-C572-4593-B2BE-3BB0ACD1FB98}">
      <dgm:prSet/>
      <dgm:spPr/>
      <dgm:t>
        <a:bodyPr/>
        <a:lstStyle/>
        <a:p>
          <a:r>
            <a:rPr lang="en-US" baseline="0"/>
            <a:t>Geo-restore of databases if primary region down</a:t>
          </a:r>
          <a:endParaRPr lang="en-US"/>
        </a:p>
      </dgm:t>
    </dgm:pt>
    <dgm:pt modelId="{CEE6C873-0B11-4C3A-85C7-0647AEBE96D5}" type="parTrans" cxnId="{79AF8A4D-465E-41ED-AC6F-9311F2061233}">
      <dgm:prSet/>
      <dgm:spPr/>
      <dgm:t>
        <a:bodyPr/>
        <a:lstStyle/>
        <a:p>
          <a:endParaRPr lang="en-US"/>
        </a:p>
      </dgm:t>
    </dgm:pt>
    <dgm:pt modelId="{CB768AAC-FE18-44FE-9EB6-AF30859B2273}" type="sibTrans" cxnId="{79AF8A4D-465E-41ED-AC6F-9311F2061233}">
      <dgm:prSet/>
      <dgm:spPr/>
      <dgm:t>
        <a:bodyPr/>
        <a:lstStyle/>
        <a:p>
          <a:endParaRPr lang="en-US"/>
        </a:p>
      </dgm:t>
    </dgm:pt>
    <dgm:pt modelId="{FF85B83E-8345-4FA7-812C-D9A4A188FB6D}">
      <dgm:prSet/>
      <dgm:spPr/>
      <dgm:t>
        <a:bodyPr/>
        <a:lstStyle/>
        <a:p>
          <a:r>
            <a:rPr lang="en-US" baseline="0" dirty="0"/>
            <a:t>Restore backups of deleted databases</a:t>
          </a:r>
          <a:endParaRPr lang="en-US" dirty="0"/>
        </a:p>
      </dgm:t>
    </dgm:pt>
    <dgm:pt modelId="{E24A54F2-2626-4CEF-A73D-AA31D70BDBDA}" type="parTrans" cxnId="{A1EDA7EB-4532-432C-B56C-5ABD6B79E77D}">
      <dgm:prSet/>
      <dgm:spPr/>
      <dgm:t>
        <a:bodyPr/>
        <a:lstStyle/>
        <a:p>
          <a:endParaRPr lang="en-US"/>
        </a:p>
      </dgm:t>
    </dgm:pt>
    <dgm:pt modelId="{99FF89C4-884A-4DF7-866D-90AACF3ADEE5}" type="sibTrans" cxnId="{A1EDA7EB-4532-432C-B56C-5ABD6B79E77D}">
      <dgm:prSet/>
      <dgm:spPr/>
      <dgm:t>
        <a:bodyPr/>
        <a:lstStyle/>
        <a:p>
          <a:endParaRPr lang="en-US"/>
        </a:p>
      </dgm:t>
    </dgm:pt>
    <dgm:pt modelId="{A6E92EED-C35F-4CB3-A999-2C4803F6F08E}">
      <dgm:prSet/>
      <dgm:spPr/>
      <dgm:t>
        <a:bodyPr/>
        <a:lstStyle/>
        <a:p>
          <a:r>
            <a:rPr lang="en-US" baseline="0" dirty="0"/>
            <a:t>Differential Backups every 12-24 hours</a:t>
          </a:r>
          <a:endParaRPr lang="en-US" dirty="0"/>
        </a:p>
      </dgm:t>
    </dgm:pt>
    <dgm:pt modelId="{20E4582B-5B3A-4E77-ADCA-E56D54D860DD}" type="parTrans" cxnId="{A2DA2D7F-C472-4FC9-8D46-CB995A98E4B6}">
      <dgm:prSet/>
      <dgm:spPr/>
      <dgm:t>
        <a:bodyPr/>
        <a:lstStyle/>
        <a:p>
          <a:endParaRPr lang="en-US"/>
        </a:p>
      </dgm:t>
    </dgm:pt>
    <dgm:pt modelId="{10C59132-30F4-4BB3-A0C8-E47AE2AE520C}" type="sibTrans" cxnId="{A2DA2D7F-C472-4FC9-8D46-CB995A98E4B6}">
      <dgm:prSet/>
      <dgm:spPr/>
      <dgm:t>
        <a:bodyPr/>
        <a:lstStyle/>
        <a:p>
          <a:endParaRPr lang="en-US"/>
        </a:p>
      </dgm:t>
    </dgm:pt>
    <dgm:pt modelId="{11914FBD-BE2C-4539-8103-D438C1402ADF}">
      <dgm:prSet/>
      <dgm:spPr/>
      <dgm:t>
        <a:bodyPr/>
        <a:lstStyle/>
        <a:p>
          <a:r>
            <a:rPr lang="en-US" baseline="0" dirty="0"/>
            <a:t>Long-term retention (up to 10 years) of backups</a:t>
          </a:r>
          <a:endParaRPr lang="en-US" dirty="0"/>
        </a:p>
      </dgm:t>
    </dgm:pt>
    <dgm:pt modelId="{6416BCDF-388B-4DCA-B145-654012044F41}" type="parTrans" cxnId="{FA0F0651-66D5-4458-9E9F-C0CFC6DD2AD3}">
      <dgm:prSet/>
      <dgm:spPr/>
      <dgm:t>
        <a:bodyPr/>
        <a:lstStyle/>
        <a:p>
          <a:endParaRPr lang="en-US"/>
        </a:p>
      </dgm:t>
    </dgm:pt>
    <dgm:pt modelId="{E4FE16A6-85CA-4025-B126-E819060881F2}" type="sibTrans" cxnId="{FA0F0651-66D5-4458-9E9F-C0CFC6DD2AD3}">
      <dgm:prSet/>
      <dgm:spPr/>
      <dgm:t>
        <a:bodyPr/>
        <a:lstStyle/>
        <a:p>
          <a:endParaRPr lang="en-US"/>
        </a:p>
      </dgm:t>
    </dgm:pt>
    <dgm:pt modelId="{727D67B5-F278-42C1-AD84-66E6C69E011B}">
      <dgm:prSet/>
      <dgm:spPr/>
      <dgm:t>
        <a:bodyPr/>
        <a:lstStyle/>
        <a:p>
          <a:r>
            <a:rPr lang="en-US" dirty="0"/>
            <a:t>Retention of a Full Database backup</a:t>
          </a:r>
        </a:p>
      </dgm:t>
    </dgm:pt>
    <dgm:pt modelId="{821E2056-5ED3-41A5-B6E5-A4899C2F7122}" type="parTrans" cxnId="{1447E787-0FD1-4EDF-90C0-AED817CEC059}">
      <dgm:prSet/>
      <dgm:spPr/>
      <dgm:t>
        <a:bodyPr/>
        <a:lstStyle/>
        <a:p>
          <a:endParaRPr lang="en-US"/>
        </a:p>
      </dgm:t>
    </dgm:pt>
    <dgm:pt modelId="{D2A802DD-910B-400F-AF08-1AECA26A9CFE}" type="sibTrans" cxnId="{1447E787-0FD1-4EDF-90C0-AED817CEC059}">
      <dgm:prSet/>
      <dgm:spPr/>
      <dgm:t>
        <a:bodyPr/>
        <a:lstStyle/>
        <a:p>
          <a:endParaRPr lang="en-US"/>
        </a:p>
      </dgm:t>
    </dgm:pt>
    <dgm:pt modelId="{454E3DB9-E352-481F-B010-C1128FEB06EE}">
      <dgm:prSet/>
      <dgm:spPr/>
      <dgm:t>
        <a:bodyPr/>
        <a:lstStyle/>
        <a:p>
          <a:r>
            <a:rPr lang="en-US" dirty="0"/>
            <a:t>Configurable for every week, month, or year</a:t>
          </a:r>
        </a:p>
      </dgm:t>
    </dgm:pt>
    <dgm:pt modelId="{945EEBC8-C77E-436C-9FE2-8256EA21C927}" type="parTrans" cxnId="{0FFEE628-7895-416A-92AF-E6B546B46F46}">
      <dgm:prSet/>
      <dgm:spPr/>
      <dgm:t>
        <a:bodyPr/>
        <a:lstStyle/>
        <a:p>
          <a:endParaRPr lang="en-US"/>
        </a:p>
      </dgm:t>
    </dgm:pt>
    <dgm:pt modelId="{01568FD6-90E4-4362-8E3D-7DAA41A76131}" type="sibTrans" cxnId="{0FFEE628-7895-416A-92AF-E6B546B46F46}">
      <dgm:prSet/>
      <dgm:spPr/>
      <dgm:t>
        <a:bodyPr/>
        <a:lstStyle/>
        <a:p>
          <a:endParaRPr lang="en-US"/>
        </a:p>
      </dgm:t>
    </dgm:pt>
    <dgm:pt modelId="{D2517B86-E843-4D85-B07F-936CF89E57A1}" type="pres">
      <dgm:prSet presAssocID="{CCE7B879-2C09-4D7A-B5E8-5DD54093F394}" presName="linear" presStyleCnt="0">
        <dgm:presLayoutVars>
          <dgm:animLvl val="lvl"/>
          <dgm:resizeHandles val="exact"/>
        </dgm:presLayoutVars>
      </dgm:prSet>
      <dgm:spPr/>
    </dgm:pt>
    <dgm:pt modelId="{CB6BC0CF-B86F-4C65-AEAC-3C74CE6B39A5}" type="pres">
      <dgm:prSet presAssocID="{668BDD94-34A8-4E67-AF91-BAB501FB57AE}" presName="parentText" presStyleLbl="node1" presStyleIdx="0" presStyleCnt="2">
        <dgm:presLayoutVars>
          <dgm:chMax val="0"/>
          <dgm:bulletEnabled val="1"/>
        </dgm:presLayoutVars>
      </dgm:prSet>
      <dgm:spPr/>
    </dgm:pt>
    <dgm:pt modelId="{5054E99B-1A0D-4466-9881-8BB22EF95C74}" type="pres">
      <dgm:prSet presAssocID="{668BDD94-34A8-4E67-AF91-BAB501FB57AE}" presName="childText" presStyleLbl="revTx" presStyleIdx="0" presStyleCnt="2">
        <dgm:presLayoutVars>
          <dgm:bulletEnabled val="1"/>
        </dgm:presLayoutVars>
      </dgm:prSet>
      <dgm:spPr/>
    </dgm:pt>
    <dgm:pt modelId="{6516F36E-D582-4558-B74F-42E9089ACAEB}" type="pres">
      <dgm:prSet presAssocID="{11914FBD-BE2C-4539-8103-D438C1402ADF}" presName="parentText" presStyleLbl="node1" presStyleIdx="1" presStyleCnt="2">
        <dgm:presLayoutVars>
          <dgm:chMax val="0"/>
          <dgm:bulletEnabled val="1"/>
        </dgm:presLayoutVars>
      </dgm:prSet>
      <dgm:spPr/>
    </dgm:pt>
    <dgm:pt modelId="{393A21C5-D9F3-499E-95E8-7DB87553C2F1}" type="pres">
      <dgm:prSet presAssocID="{11914FBD-BE2C-4539-8103-D438C1402ADF}" presName="childText" presStyleLbl="revTx" presStyleIdx="1" presStyleCnt="2">
        <dgm:presLayoutVars>
          <dgm:bulletEnabled val="1"/>
        </dgm:presLayoutVars>
      </dgm:prSet>
      <dgm:spPr/>
    </dgm:pt>
  </dgm:ptLst>
  <dgm:cxnLst>
    <dgm:cxn modelId="{45498F05-FC17-4168-B00D-7FD73D33D49C}" type="presOf" srcId="{3A953A82-826A-4D4A-815F-5F79B7D89869}" destId="{5054E99B-1A0D-4466-9881-8BB22EF95C74}" srcOrd="0" destOrd="3" presId="urn:microsoft.com/office/officeart/2005/8/layout/vList2"/>
    <dgm:cxn modelId="{09E1D615-F7D2-457D-B438-1719D6A34A3A}" type="presOf" srcId="{454E3DB9-E352-481F-B010-C1128FEB06EE}" destId="{393A21C5-D9F3-499E-95E8-7DB87553C2F1}" srcOrd="0" destOrd="1" presId="urn:microsoft.com/office/officeart/2005/8/layout/vList2"/>
    <dgm:cxn modelId="{0FFEE628-7895-416A-92AF-E6B546B46F46}" srcId="{11914FBD-BE2C-4539-8103-D438C1402ADF}" destId="{454E3DB9-E352-481F-B010-C1128FEB06EE}" srcOrd="1" destOrd="0" parTransId="{945EEBC8-C77E-436C-9FE2-8256EA21C927}" sibTransId="{01568FD6-90E4-4362-8E3D-7DAA41A76131}"/>
    <dgm:cxn modelId="{8CCDA52F-0876-470A-9F37-57F6544C925B}" type="presOf" srcId="{727D67B5-F278-42C1-AD84-66E6C69E011B}" destId="{393A21C5-D9F3-499E-95E8-7DB87553C2F1}" srcOrd="0" destOrd="0" presId="urn:microsoft.com/office/officeart/2005/8/layout/vList2"/>
    <dgm:cxn modelId="{2BD96F35-2F17-4F9E-ACD3-2671E7F783E6}" type="presOf" srcId="{CA68AF99-D8FB-44DD-8C68-923200C0AAD7}" destId="{5054E99B-1A0D-4466-9881-8BB22EF95C74}" srcOrd="0" destOrd="5" presId="urn:microsoft.com/office/officeart/2005/8/layout/vList2"/>
    <dgm:cxn modelId="{B36AB842-AC71-4BFD-A311-7464DE202C64}" srcId="{668BDD94-34A8-4E67-AF91-BAB501FB57AE}" destId="{CA68AF99-D8FB-44DD-8C68-923200C0AAD7}" srcOrd="4" destOrd="0" parTransId="{1B663949-E1D3-48EF-B4FE-7FF6F0E1F4C7}" sibTransId="{426DF9BC-6CB3-4FF4-9AE3-01F841AA3DCA}"/>
    <dgm:cxn modelId="{0C516D44-409C-48C9-9D9E-32D1C541B8CB}" srcId="{CCE7B879-2C09-4D7A-B5E8-5DD54093F394}" destId="{668BDD94-34A8-4E67-AF91-BAB501FB57AE}" srcOrd="0" destOrd="0" parTransId="{B3ED074E-E7E2-45AE-8059-0FFE87B0C12D}" sibTransId="{D7B24679-F298-499A-91B2-0D9606061784}"/>
    <dgm:cxn modelId="{44105249-B488-4F57-ACB1-E8E6B65E67A8}" srcId="{668BDD94-34A8-4E67-AF91-BAB501FB57AE}" destId="{CD2E9541-BD6E-4036-8099-AFABB9F92B8C}" srcOrd="5" destOrd="0" parTransId="{5C3576A5-FF33-4DAB-8D91-9394B8ABF7A2}" sibTransId="{5D27F4BA-56B9-404E-9449-FCBACC42CC8E}"/>
    <dgm:cxn modelId="{79AF8A4D-465E-41ED-AC6F-9311F2061233}" srcId="{668BDD94-34A8-4E67-AF91-BAB501FB57AE}" destId="{9A214D08-C572-4593-B2BE-3BB0ACD1FB98}" srcOrd="6" destOrd="0" parTransId="{CEE6C873-0B11-4C3A-85C7-0647AEBE96D5}" sibTransId="{CB768AAC-FE18-44FE-9EB6-AF30859B2273}"/>
    <dgm:cxn modelId="{FA0F0651-66D5-4458-9E9F-C0CFC6DD2AD3}" srcId="{CCE7B879-2C09-4D7A-B5E8-5DD54093F394}" destId="{11914FBD-BE2C-4539-8103-D438C1402ADF}" srcOrd="1" destOrd="0" parTransId="{6416BCDF-388B-4DCA-B145-654012044F41}" sibTransId="{E4FE16A6-85CA-4025-B126-E819060881F2}"/>
    <dgm:cxn modelId="{40771574-A8A2-4662-9F1C-9C054809278A}" srcId="{3A953A82-826A-4D4A-815F-5F79B7D89869}" destId="{56F2267E-A109-4DEF-9785-4AFDB93DDB09}" srcOrd="0" destOrd="0" parTransId="{39C60BA4-082E-416B-946C-B14E95398C4E}" sibTransId="{3AB9B62D-EC49-474A-9F1B-74CAA485C56F}"/>
    <dgm:cxn modelId="{A5C61D57-F53E-40ED-999B-115AEB93325B}" type="presOf" srcId="{56F2267E-A109-4DEF-9785-4AFDB93DDB09}" destId="{5054E99B-1A0D-4466-9881-8BB22EF95C74}" srcOrd="0" destOrd="4" presId="urn:microsoft.com/office/officeart/2005/8/layout/vList2"/>
    <dgm:cxn modelId="{2FB3917E-4F10-49B7-9BCF-EE083DB7CFC9}" type="presOf" srcId="{11914FBD-BE2C-4539-8103-D438C1402ADF}" destId="{6516F36E-D582-4558-B74F-42E9089ACAEB}" srcOrd="0" destOrd="0" presId="urn:microsoft.com/office/officeart/2005/8/layout/vList2"/>
    <dgm:cxn modelId="{A2DA2D7F-C472-4FC9-8D46-CB995A98E4B6}" srcId="{668BDD94-34A8-4E67-AF91-BAB501FB57AE}" destId="{A6E92EED-C35F-4CB3-A999-2C4803F6F08E}" srcOrd="1" destOrd="0" parTransId="{20E4582B-5B3A-4E77-ADCA-E56D54D860DD}" sibTransId="{10C59132-30F4-4BB3-A0C8-E47AE2AE520C}"/>
    <dgm:cxn modelId="{58B1C284-FC3B-43F5-9AD6-0A13D31F6407}" srcId="{668BDD94-34A8-4E67-AF91-BAB501FB57AE}" destId="{6544A354-3326-4AAC-9A34-EFF2201440A5}" srcOrd="0" destOrd="0" parTransId="{0FB59FDD-E20B-4044-B057-42FF60014629}" sibTransId="{B5C3496D-FD32-4C72-A4F1-544B881E5455}"/>
    <dgm:cxn modelId="{1447E787-0FD1-4EDF-90C0-AED817CEC059}" srcId="{11914FBD-BE2C-4539-8103-D438C1402ADF}" destId="{727D67B5-F278-42C1-AD84-66E6C69E011B}" srcOrd="0" destOrd="0" parTransId="{821E2056-5ED3-41A5-B6E5-A4899C2F7122}" sibTransId="{D2A802DD-910B-400F-AF08-1AECA26A9CFE}"/>
    <dgm:cxn modelId="{D7FFFE92-72B0-4AE6-B219-ED6CCCCC7014}" type="presOf" srcId="{6544A354-3326-4AAC-9A34-EFF2201440A5}" destId="{5054E99B-1A0D-4466-9881-8BB22EF95C74}" srcOrd="0" destOrd="0" presId="urn:microsoft.com/office/officeart/2005/8/layout/vList2"/>
    <dgm:cxn modelId="{940AE29C-76B4-4844-A836-E2489017A0B7}" type="presOf" srcId="{668BDD94-34A8-4E67-AF91-BAB501FB57AE}" destId="{CB6BC0CF-B86F-4C65-AEAC-3C74CE6B39A5}" srcOrd="0" destOrd="0" presId="urn:microsoft.com/office/officeart/2005/8/layout/vList2"/>
    <dgm:cxn modelId="{F81E44A7-F28B-4279-81B1-F384C0F9BB3E}" type="presOf" srcId="{FF85B83E-8345-4FA7-812C-D9A4A188FB6D}" destId="{5054E99B-1A0D-4466-9881-8BB22EF95C74}" srcOrd="0" destOrd="8" presId="urn:microsoft.com/office/officeart/2005/8/layout/vList2"/>
    <dgm:cxn modelId="{FC14BFB4-B429-47BF-8BBE-71BB3B2E44AA}" type="presOf" srcId="{9A214D08-C572-4593-B2BE-3BB0ACD1FB98}" destId="{5054E99B-1A0D-4466-9881-8BB22EF95C74}" srcOrd="0" destOrd="7" presId="urn:microsoft.com/office/officeart/2005/8/layout/vList2"/>
    <dgm:cxn modelId="{D56924BB-8E66-47F5-A545-FA69A537B316}" type="presOf" srcId="{D69878B7-42EB-421F-8D82-9D0B6B43BDC4}" destId="{5054E99B-1A0D-4466-9881-8BB22EF95C74}" srcOrd="0" destOrd="2" presId="urn:microsoft.com/office/officeart/2005/8/layout/vList2"/>
    <dgm:cxn modelId="{B8279CD2-209B-4054-8057-3B3C45F17CDC}" type="presOf" srcId="{A6E92EED-C35F-4CB3-A999-2C4803F6F08E}" destId="{5054E99B-1A0D-4466-9881-8BB22EF95C74}" srcOrd="0" destOrd="1" presId="urn:microsoft.com/office/officeart/2005/8/layout/vList2"/>
    <dgm:cxn modelId="{52B7FCE5-8AAC-42C3-AF77-B7DF035688AA}" srcId="{668BDD94-34A8-4E67-AF91-BAB501FB57AE}" destId="{D69878B7-42EB-421F-8D82-9D0B6B43BDC4}" srcOrd="2" destOrd="0" parTransId="{9BECC805-C7FF-430A-ADDE-3D3C027B24F4}" sibTransId="{37756F80-EB1B-4B33-B2CB-92FF060CB821}"/>
    <dgm:cxn modelId="{A1EDA7EB-4532-432C-B56C-5ABD6B79E77D}" srcId="{668BDD94-34A8-4E67-AF91-BAB501FB57AE}" destId="{FF85B83E-8345-4FA7-812C-D9A4A188FB6D}" srcOrd="7" destOrd="0" parTransId="{E24A54F2-2626-4CEF-A73D-AA31D70BDBDA}" sibTransId="{99FF89C4-884A-4DF7-866D-90AACF3ADEE5}"/>
    <dgm:cxn modelId="{2F0F60EC-DA5E-45F7-957E-995E850EB95F}" type="presOf" srcId="{CD2E9541-BD6E-4036-8099-AFABB9F92B8C}" destId="{5054E99B-1A0D-4466-9881-8BB22EF95C74}" srcOrd="0" destOrd="6" presId="urn:microsoft.com/office/officeart/2005/8/layout/vList2"/>
    <dgm:cxn modelId="{72CD52F2-748E-4814-89F4-1E9472D5E679}" srcId="{668BDD94-34A8-4E67-AF91-BAB501FB57AE}" destId="{3A953A82-826A-4D4A-815F-5F79B7D89869}" srcOrd="3" destOrd="0" parTransId="{27E6E67B-77CF-4885-8574-499DFC885D01}" sibTransId="{1315E9EF-73B5-4B16-9FEE-0541C69D58D0}"/>
    <dgm:cxn modelId="{AE3901F8-4B0C-427F-8F29-6F35CC0EB318}" type="presOf" srcId="{CCE7B879-2C09-4D7A-B5E8-5DD54093F394}" destId="{D2517B86-E843-4D85-B07F-936CF89E57A1}" srcOrd="0" destOrd="0" presId="urn:microsoft.com/office/officeart/2005/8/layout/vList2"/>
    <dgm:cxn modelId="{F382205A-BD30-4710-9692-D549C2986A55}" type="presParOf" srcId="{D2517B86-E843-4D85-B07F-936CF89E57A1}" destId="{CB6BC0CF-B86F-4C65-AEAC-3C74CE6B39A5}" srcOrd="0" destOrd="0" presId="urn:microsoft.com/office/officeart/2005/8/layout/vList2"/>
    <dgm:cxn modelId="{35D5EDD0-BAF4-4298-9D16-44867680001D}" type="presParOf" srcId="{D2517B86-E843-4D85-B07F-936CF89E57A1}" destId="{5054E99B-1A0D-4466-9881-8BB22EF95C74}" srcOrd="1" destOrd="0" presId="urn:microsoft.com/office/officeart/2005/8/layout/vList2"/>
    <dgm:cxn modelId="{1ADD6BAB-31F6-4711-929F-37B6D4ECA529}" type="presParOf" srcId="{D2517B86-E843-4D85-B07F-936CF89E57A1}" destId="{6516F36E-D582-4558-B74F-42E9089ACAEB}" srcOrd="2" destOrd="0" presId="urn:microsoft.com/office/officeart/2005/8/layout/vList2"/>
    <dgm:cxn modelId="{8E3E771F-086B-4A16-A008-10999CA7C177}" type="presParOf" srcId="{D2517B86-E843-4D85-B07F-936CF89E57A1}" destId="{393A21C5-D9F3-499E-95E8-7DB87553C2F1}"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AE4C6A8-3F90-4D07-9801-5C92A36774EC}" type="doc">
      <dgm:prSet loTypeId="urn:microsoft.com/office/officeart/2005/8/layout/lProcess3" loCatId="process" qsTypeId="urn:microsoft.com/office/officeart/2005/8/quickstyle/simple4" qsCatId="simple" csTypeId="urn:microsoft.com/office/officeart/2005/8/colors/accent0_3" csCatId="mainScheme" phldr="1"/>
      <dgm:spPr/>
      <dgm:t>
        <a:bodyPr/>
        <a:lstStyle/>
        <a:p>
          <a:endParaRPr lang="en-US"/>
        </a:p>
      </dgm:t>
    </dgm:pt>
    <dgm:pt modelId="{51758E5C-751B-4A57-9FE0-395C30450753}">
      <dgm:prSet custT="1"/>
      <dgm:spPr>
        <a:solidFill>
          <a:schemeClr val="accent1">
            <a:lumMod val="75000"/>
          </a:schemeClr>
        </a:solidFill>
      </dgm:spPr>
      <dgm:t>
        <a:bodyPr/>
        <a:lstStyle/>
        <a:p>
          <a:r>
            <a:rPr lang="en-US" sz="2800" baseline="0" dirty="0"/>
            <a:t>DTU based </a:t>
          </a:r>
          <a:endParaRPr lang="en-US" sz="2800" dirty="0"/>
        </a:p>
      </dgm:t>
    </dgm:pt>
    <dgm:pt modelId="{D33D65B3-A818-4E34-9DE8-6C21E28F9B9B}" type="parTrans" cxnId="{9C2E7681-28FD-439C-8F80-CFEB8ACE6AC4}">
      <dgm:prSet/>
      <dgm:spPr/>
      <dgm:t>
        <a:bodyPr/>
        <a:lstStyle/>
        <a:p>
          <a:endParaRPr lang="en-US"/>
        </a:p>
      </dgm:t>
    </dgm:pt>
    <dgm:pt modelId="{45B3366C-4E07-4172-9880-1E00C256126C}" type="sibTrans" cxnId="{9C2E7681-28FD-439C-8F80-CFEB8ACE6AC4}">
      <dgm:prSet/>
      <dgm:spPr/>
      <dgm:t>
        <a:bodyPr/>
        <a:lstStyle/>
        <a:p>
          <a:endParaRPr lang="en-US"/>
        </a:p>
      </dgm:t>
    </dgm:pt>
    <dgm:pt modelId="{823F805F-FC65-42A0-B7BC-9DCE0AF69AA6}">
      <dgm:prSet custT="1"/>
      <dgm:spPr/>
      <dgm:t>
        <a:bodyPr/>
        <a:lstStyle/>
        <a:p>
          <a:r>
            <a:rPr lang="en-US" sz="2000" b="1" baseline="0" dirty="0"/>
            <a:t>Basic</a:t>
          </a:r>
          <a:endParaRPr lang="en-US" sz="2000" dirty="0"/>
        </a:p>
      </dgm:t>
    </dgm:pt>
    <dgm:pt modelId="{BC1AEAB2-5CCB-452B-819F-594545ED1B35}" type="parTrans" cxnId="{9F8E82D1-420A-451E-ACD5-C275640AE161}">
      <dgm:prSet/>
      <dgm:spPr/>
      <dgm:t>
        <a:bodyPr/>
        <a:lstStyle/>
        <a:p>
          <a:endParaRPr lang="en-US"/>
        </a:p>
      </dgm:t>
    </dgm:pt>
    <dgm:pt modelId="{097F88CC-8A42-4326-8203-386A1E6A30D2}" type="sibTrans" cxnId="{9F8E82D1-420A-451E-ACD5-C275640AE161}">
      <dgm:prSet/>
      <dgm:spPr/>
      <dgm:t>
        <a:bodyPr/>
        <a:lstStyle/>
        <a:p>
          <a:endParaRPr lang="en-US"/>
        </a:p>
      </dgm:t>
    </dgm:pt>
    <dgm:pt modelId="{15E010B6-1A3C-4C25-917C-C0B6D50A38F4}">
      <dgm:prSet custT="1"/>
      <dgm:spPr/>
      <dgm:t>
        <a:bodyPr/>
        <a:lstStyle/>
        <a:p>
          <a:r>
            <a:rPr lang="en-US" sz="2000" b="1" baseline="0" dirty="0"/>
            <a:t>Standard</a:t>
          </a:r>
          <a:endParaRPr lang="en-US" sz="2000" dirty="0"/>
        </a:p>
      </dgm:t>
    </dgm:pt>
    <dgm:pt modelId="{B123135C-3D1A-4EAB-B7CA-196C738454F6}" type="parTrans" cxnId="{C39A5C37-26CE-4EEC-9E45-732ED006824E}">
      <dgm:prSet/>
      <dgm:spPr/>
      <dgm:t>
        <a:bodyPr/>
        <a:lstStyle/>
        <a:p>
          <a:endParaRPr lang="en-US"/>
        </a:p>
      </dgm:t>
    </dgm:pt>
    <dgm:pt modelId="{AE8E94A1-C489-4993-BE8B-FCA2C555AA7F}" type="sibTrans" cxnId="{C39A5C37-26CE-4EEC-9E45-732ED006824E}">
      <dgm:prSet/>
      <dgm:spPr/>
      <dgm:t>
        <a:bodyPr/>
        <a:lstStyle/>
        <a:p>
          <a:endParaRPr lang="en-US"/>
        </a:p>
      </dgm:t>
    </dgm:pt>
    <dgm:pt modelId="{19D5A510-FDEE-41C2-A585-C5DD16760B8B}">
      <dgm:prSet custT="1"/>
      <dgm:spPr/>
      <dgm:t>
        <a:bodyPr/>
        <a:lstStyle/>
        <a:p>
          <a:r>
            <a:rPr lang="en-US" sz="2000" b="1" baseline="0" dirty="0"/>
            <a:t>Premium</a:t>
          </a:r>
          <a:endParaRPr lang="en-US" sz="2000" dirty="0"/>
        </a:p>
      </dgm:t>
    </dgm:pt>
    <dgm:pt modelId="{3C553C65-4D04-4F09-9DA3-A3C44AFCD7B6}" type="parTrans" cxnId="{18086F78-F235-487A-A443-C08F6956C0F7}">
      <dgm:prSet/>
      <dgm:spPr/>
      <dgm:t>
        <a:bodyPr/>
        <a:lstStyle/>
        <a:p>
          <a:endParaRPr lang="en-US"/>
        </a:p>
      </dgm:t>
    </dgm:pt>
    <dgm:pt modelId="{095FE177-4FBB-48E2-99B5-99ED2F57ABB6}" type="sibTrans" cxnId="{18086F78-F235-487A-A443-C08F6956C0F7}">
      <dgm:prSet/>
      <dgm:spPr/>
      <dgm:t>
        <a:bodyPr/>
        <a:lstStyle/>
        <a:p>
          <a:endParaRPr lang="en-US"/>
        </a:p>
      </dgm:t>
    </dgm:pt>
    <dgm:pt modelId="{C71269B8-1D69-472D-8C16-2C35A3138555}">
      <dgm:prSet custT="1"/>
      <dgm:spPr>
        <a:solidFill>
          <a:schemeClr val="accent1">
            <a:lumMod val="75000"/>
          </a:schemeClr>
        </a:solidFill>
      </dgm:spPr>
      <dgm:t>
        <a:bodyPr/>
        <a:lstStyle/>
        <a:p>
          <a:r>
            <a:rPr lang="en-US" sz="2800" baseline="0" dirty="0"/>
            <a:t>vCore based</a:t>
          </a:r>
          <a:endParaRPr lang="en-US" sz="2800" dirty="0"/>
        </a:p>
      </dgm:t>
    </dgm:pt>
    <dgm:pt modelId="{8671F9A2-6218-499B-AF8E-5DCC05C21E4F}" type="parTrans" cxnId="{EE200D7F-B278-4599-A918-B2A0B9AC8C50}">
      <dgm:prSet/>
      <dgm:spPr/>
      <dgm:t>
        <a:bodyPr/>
        <a:lstStyle/>
        <a:p>
          <a:endParaRPr lang="en-US"/>
        </a:p>
      </dgm:t>
    </dgm:pt>
    <dgm:pt modelId="{2AC182E8-AD2F-451C-B1DA-BC0B56BE93F5}" type="sibTrans" cxnId="{EE200D7F-B278-4599-A918-B2A0B9AC8C50}">
      <dgm:prSet/>
      <dgm:spPr/>
      <dgm:t>
        <a:bodyPr/>
        <a:lstStyle/>
        <a:p>
          <a:endParaRPr lang="en-US"/>
        </a:p>
      </dgm:t>
    </dgm:pt>
    <dgm:pt modelId="{811E6214-DE5B-4312-98BF-EC268B52DED0}">
      <dgm:prSet custT="1"/>
      <dgm:spPr>
        <a:solidFill>
          <a:srgbClr val="50E6FF">
            <a:alpha val="90000"/>
          </a:srgbClr>
        </a:solidFill>
      </dgm:spPr>
      <dgm:t>
        <a:bodyPr/>
        <a:lstStyle/>
        <a:p>
          <a:r>
            <a:rPr lang="en-US" sz="2000" b="1" baseline="0" dirty="0"/>
            <a:t>General purpose</a:t>
          </a:r>
          <a:r>
            <a:rPr lang="en-US" sz="2000" baseline="0" dirty="0"/>
            <a:t>.</a:t>
          </a:r>
          <a:endParaRPr lang="en-US" sz="2000" dirty="0"/>
        </a:p>
      </dgm:t>
    </dgm:pt>
    <dgm:pt modelId="{1B13A972-36BF-4475-AD3C-9C1679C23B3A}" type="parTrans" cxnId="{647B49E8-3D40-42F3-B886-E37251F0D43F}">
      <dgm:prSet/>
      <dgm:spPr/>
      <dgm:t>
        <a:bodyPr/>
        <a:lstStyle/>
        <a:p>
          <a:endParaRPr lang="en-US"/>
        </a:p>
      </dgm:t>
    </dgm:pt>
    <dgm:pt modelId="{E48311DA-A7ED-4038-95C8-4A7A7629DFCC}" type="sibTrans" cxnId="{647B49E8-3D40-42F3-B886-E37251F0D43F}">
      <dgm:prSet/>
      <dgm:spPr/>
      <dgm:t>
        <a:bodyPr/>
        <a:lstStyle/>
        <a:p>
          <a:endParaRPr lang="en-US"/>
        </a:p>
      </dgm:t>
    </dgm:pt>
    <dgm:pt modelId="{0DB6AC95-AC52-4E09-A224-B031781BD25B}">
      <dgm:prSet custT="1"/>
      <dgm:spPr>
        <a:solidFill>
          <a:srgbClr val="50E6FF">
            <a:alpha val="90000"/>
          </a:srgbClr>
        </a:solidFill>
      </dgm:spPr>
      <dgm:t>
        <a:bodyPr/>
        <a:lstStyle/>
        <a:p>
          <a:r>
            <a:rPr lang="en-US" sz="2000" b="1" baseline="0" dirty="0"/>
            <a:t>Business critical	</a:t>
          </a:r>
          <a:endParaRPr lang="en-US" sz="2000" dirty="0"/>
        </a:p>
      </dgm:t>
    </dgm:pt>
    <dgm:pt modelId="{18FD2BAA-4652-4833-9272-CA1FE6DDB458}" type="parTrans" cxnId="{694D9D15-8C7C-4DCE-AD1C-1B759DCF2CB3}">
      <dgm:prSet/>
      <dgm:spPr/>
      <dgm:t>
        <a:bodyPr/>
        <a:lstStyle/>
        <a:p>
          <a:endParaRPr lang="en-US"/>
        </a:p>
      </dgm:t>
    </dgm:pt>
    <dgm:pt modelId="{9913F241-C722-4341-8A45-3BA9942DA6C6}" type="sibTrans" cxnId="{694D9D15-8C7C-4DCE-AD1C-1B759DCF2CB3}">
      <dgm:prSet/>
      <dgm:spPr/>
      <dgm:t>
        <a:bodyPr/>
        <a:lstStyle/>
        <a:p>
          <a:endParaRPr lang="en-US"/>
        </a:p>
      </dgm:t>
    </dgm:pt>
    <dgm:pt modelId="{06A5C58F-9D32-4460-83F5-EA906350993C}">
      <dgm:prSet custT="1"/>
      <dgm:spPr/>
      <dgm:t>
        <a:bodyPr/>
        <a:lstStyle/>
        <a:p>
          <a:r>
            <a:rPr lang="en-US" sz="2000" b="1" baseline="0" dirty="0"/>
            <a:t>Hyperscale</a:t>
          </a:r>
          <a:endParaRPr lang="en-US" sz="2000" dirty="0"/>
        </a:p>
      </dgm:t>
    </dgm:pt>
    <dgm:pt modelId="{E7C1488E-0E05-4DC2-9BA4-D05119280962}" type="parTrans" cxnId="{7BEB8C44-27E3-424E-AC00-1E4A35F61CC8}">
      <dgm:prSet/>
      <dgm:spPr/>
      <dgm:t>
        <a:bodyPr/>
        <a:lstStyle/>
        <a:p>
          <a:endParaRPr lang="en-US"/>
        </a:p>
      </dgm:t>
    </dgm:pt>
    <dgm:pt modelId="{8B0645AC-F9C0-42E9-A8CC-2F6723306375}" type="sibTrans" cxnId="{7BEB8C44-27E3-424E-AC00-1E4A35F61CC8}">
      <dgm:prSet/>
      <dgm:spPr/>
      <dgm:t>
        <a:bodyPr/>
        <a:lstStyle/>
        <a:p>
          <a:endParaRPr lang="en-US"/>
        </a:p>
      </dgm:t>
    </dgm:pt>
    <dgm:pt modelId="{BAC24337-23BE-4368-905C-3B72BEC5C5F5}" type="pres">
      <dgm:prSet presAssocID="{8AE4C6A8-3F90-4D07-9801-5C92A36774EC}" presName="Name0" presStyleCnt="0">
        <dgm:presLayoutVars>
          <dgm:chPref val="3"/>
          <dgm:dir/>
          <dgm:animLvl val="lvl"/>
          <dgm:resizeHandles/>
        </dgm:presLayoutVars>
      </dgm:prSet>
      <dgm:spPr/>
    </dgm:pt>
    <dgm:pt modelId="{4E2015D7-98D7-435C-B459-6396BB6FF08B}" type="pres">
      <dgm:prSet presAssocID="{51758E5C-751B-4A57-9FE0-395C30450753}" presName="horFlow" presStyleCnt="0"/>
      <dgm:spPr/>
    </dgm:pt>
    <dgm:pt modelId="{8E3546D4-27AC-4908-AA2C-9C4CAFE6CB68}" type="pres">
      <dgm:prSet presAssocID="{51758E5C-751B-4A57-9FE0-395C30450753}" presName="bigChev" presStyleLbl="node1" presStyleIdx="0" presStyleCnt="2"/>
      <dgm:spPr/>
    </dgm:pt>
    <dgm:pt modelId="{854D3D42-B596-4515-8317-D2026D3B9E66}" type="pres">
      <dgm:prSet presAssocID="{BC1AEAB2-5CCB-452B-819F-594545ED1B35}" presName="parTrans" presStyleCnt="0"/>
      <dgm:spPr/>
    </dgm:pt>
    <dgm:pt modelId="{D828D2B7-B7E9-4A37-B1AE-C80A7E6C30B0}" type="pres">
      <dgm:prSet presAssocID="{823F805F-FC65-42A0-B7BC-9DCE0AF69AA6}" presName="node" presStyleLbl="alignAccFollowNode1" presStyleIdx="0" presStyleCnt="6">
        <dgm:presLayoutVars>
          <dgm:bulletEnabled val="1"/>
        </dgm:presLayoutVars>
      </dgm:prSet>
      <dgm:spPr/>
    </dgm:pt>
    <dgm:pt modelId="{B2E905D6-C4FD-4C1E-9C76-4776C91E2658}" type="pres">
      <dgm:prSet presAssocID="{097F88CC-8A42-4326-8203-386A1E6A30D2}" presName="sibTrans" presStyleCnt="0"/>
      <dgm:spPr/>
    </dgm:pt>
    <dgm:pt modelId="{6679B128-AD39-4BAB-8CF9-168F57776BA2}" type="pres">
      <dgm:prSet presAssocID="{15E010B6-1A3C-4C25-917C-C0B6D50A38F4}" presName="node" presStyleLbl="alignAccFollowNode1" presStyleIdx="1" presStyleCnt="6">
        <dgm:presLayoutVars>
          <dgm:bulletEnabled val="1"/>
        </dgm:presLayoutVars>
      </dgm:prSet>
      <dgm:spPr/>
    </dgm:pt>
    <dgm:pt modelId="{D63C4EF9-E161-46B6-8C5F-4AC72307500E}" type="pres">
      <dgm:prSet presAssocID="{AE8E94A1-C489-4993-BE8B-FCA2C555AA7F}" presName="sibTrans" presStyleCnt="0"/>
      <dgm:spPr/>
    </dgm:pt>
    <dgm:pt modelId="{F68BEEB1-9633-43E9-8BE2-8EAF9E0B2A3E}" type="pres">
      <dgm:prSet presAssocID="{19D5A510-FDEE-41C2-A585-C5DD16760B8B}" presName="node" presStyleLbl="alignAccFollowNode1" presStyleIdx="2" presStyleCnt="6">
        <dgm:presLayoutVars>
          <dgm:bulletEnabled val="1"/>
        </dgm:presLayoutVars>
      </dgm:prSet>
      <dgm:spPr/>
    </dgm:pt>
    <dgm:pt modelId="{D9564BC1-3CAF-4165-9A2C-9D8A06C53CB4}" type="pres">
      <dgm:prSet presAssocID="{51758E5C-751B-4A57-9FE0-395C30450753}" presName="vSp" presStyleCnt="0"/>
      <dgm:spPr/>
    </dgm:pt>
    <dgm:pt modelId="{FE3E8159-4572-42EA-BA0F-0CC3E6C4B1DC}" type="pres">
      <dgm:prSet presAssocID="{C71269B8-1D69-472D-8C16-2C35A3138555}" presName="horFlow" presStyleCnt="0"/>
      <dgm:spPr/>
    </dgm:pt>
    <dgm:pt modelId="{4C260DCB-F5FD-4739-B27A-C3C202058DAC}" type="pres">
      <dgm:prSet presAssocID="{C71269B8-1D69-472D-8C16-2C35A3138555}" presName="bigChev" presStyleLbl="node1" presStyleIdx="1" presStyleCnt="2"/>
      <dgm:spPr/>
    </dgm:pt>
    <dgm:pt modelId="{6532D4FC-60E0-4A7D-A4CD-6B20DE7D3E0C}" type="pres">
      <dgm:prSet presAssocID="{1B13A972-36BF-4475-AD3C-9C1679C23B3A}" presName="parTrans" presStyleCnt="0"/>
      <dgm:spPr/>
    </dgm:pt>
    <dgm:pt modelId="{206D7FF8-F6B9-4500-9E02-2062541EEAD4}" type="pres">
      <dgm:prSet presAssocID="{811E6214-DE5B-4312-98BF-EC268B52DED0}" presName="node" presStyleLbl="alignAccFollowNode1" presStyleIdx="3" presStyleCnt="6">
        <dgm:presLayoutVars>
          <dgm:bulletEnabled val="1"/>
        </dgm:presLayoutVars>
      </dgm:prSet>
      <dgm:spPr/>
    </dgm:pt>
    <dgm:pt modelId="{3A5E6353-F5A5-4890-A19B-86961F5BAAD5}" type="pres">
      <dgm:prSet presAssocID="{E48311DA-A7ED-4038-95C8-4A7A7629DFCC}" presName="sibTrans" presStyleCnt="0"/>
      <dgm:spPr/>
    </dgm:pt>
    <dgm:pt modelId="{3B623178-8E9D-4A3D-ADEB-54F2F088518A}" type="pres">
      <dgm:prSet presAssocID="{0DB6AC95-AC52-4E09-A224-B031781BD25B}" presName="node" presStyleLbl="alignAccFollowNode1" presStyleIdx="4" presStyleCnt="6">
        <dgm:presLayoutVars>
          <dgm:bulletEnabled val="1"/>
        </dgm:presLayoutVars>
      </dgm:prSet>
      <dgm:spPr/>
    </dgm:pt>
    <dgm:pt modelId="{DFBC9158-D8E0-4A1F-8ABA-ADF328AF0B5A}" type="pres">
      <dgm:prSet presAssocID="{9913F241-C722-4341-8A45-3BA9942DA6C6}" presName="sibTrans" presStyleCnt="0"/>
      <dgm:spPr/>
    </dgm:pt>
    <dgm:pt modelId="{D64817FE-A4A1-48B6-9EAA-67AC8D3DE931}" type="pres">
      <dgm:prSet presAssocID="{06A5C58F-9D32-4460-83F5-EA906350993C}" presName="node" presStyleLbl="alignAccFollowNode1" presStyleIdx="5" presStyleCnt="6">
        <dgm:presLayoutVars>
          <dgm:bulletEnabled val="1"/>
        </dgm:presLayoutVars>
      </dgm:prSet>
      <dgm:spPr/>
    </dgm:pt>
  </dgm:ptLst>
  <dgm:cxnLst>
    <dgm:cxn modelId="{89E2E712-50B9-4F3F-A224-1DAA9F863A52}" type="presOf" srcId="{823F805F-FC65-42A0-B7BC-9DCE0AF69AA6}" destId="{D828D2B7-B7E9-4A37-B1AE-C80A7E6C30B0}" srcOrd="0" destOrd="0" presId="urn:microsoft.com/office/officeart/2005/8/layout/lProcess3"/>
    <dgm:cxn modelId="{694D9D15-8C7C-4DCE-AD1C-1B759DCF2CB3}" srcId="{C71269B8-1D69-472D-8C16-2C35A3138555}" destId="{0DB6AC95-AC52-4E09-A224-B031781BD25B}" srcOrd="1" destOrd="0" parTransId="{18FD2BAA-4652-4833-9272-CA1FE6DDB458}" sibTransId="{9913F241-C722-4341-8A45-3BA9942DA6C6}"/>
    <dgm:cxn modelId="{C39A5C37-26CE-4EEC-9E45-732ED006824E}" srcId="{51758E5C-751B-4A57-9FE0-395C30450753}" destId="{15E010B6-1A3C-4C25-917C-C0B6D50A38F4}" srcOrd="1" destOrd="0" parTransId="{B123135C-3D1A-4EAB-B7CA-196C738454F6}" sibTransId="{AE8E94A1-C489-4993-BE8B-FCA2C555AA7F}"/>
    <dgm:cxn modelId="{7BEB8C44-27E3-424E-AC00-1E4A35F61CC8}" srcId="{C71269B8-1D69-472D-8C16-2C35A3138555}" destId="{06A5C58F-9D32-4460-83F5-EA906350993C}" srcOrd="2" destOrd="0" parTransId="{E7C1488E-0E05-4DC2-9BA4-D05119280962}" sibTransId="{8B0645AC-F9C0-42E9-A8CC-2F6723306375}"/>
    <dgm:cxn modelId="{18086F78-F235-487A-A443-C08F6956C0F7}" srcId="{51758E5C-751B-4A57-9FE0-395C30450753}" destId="{19D5A510-FDEE-41C2-A585-C5DD16760B8B}" srcOrd="2" destOrd="0" parTransId="{3C553C65-4D04-4F09-9DA3-A3C44AFCD7B6}" sibTransId="{095FE177-4FBB-48E2-99B5-99ED2F57ABB6}"/>
    <dgm:cxn modelId="{EE200D7F-B278-4599-A918-B2A0B9AC8C50}" srcId="{8AE4C6A8-3F90-4D07-9801-5C92A36774EC}" destId="{C71269B8-1D69-472D-8C16-2C35A3138555}" srcOrd="1" destOrd="0" parTransId="{8671F9A2-6218-499B-AF8E-5DCC05C21E4F}" sibTransId="{2AC182E8-AD2F-451C-B1DA-BC0B56BE93F5}"/>
    <dgm:cxn modelId="{9C2E7681-28FD-439C-8F80-CFEB8ACE6AC4}" srcId="{8AE4C6A8-3F90-4D07-9801-5C92A36774EC}" destId="{51758E5C-751B-4A57-9FE0-395C30450753}" srcOrd="0" destOrd="0" parTransId="{D33D65B3-A818-4E34-9DE8-6C21E28F9B9B}" sibTransId="{45B3366C-4E07-4172-9880-1E00C256126C}"/>
    <dgm:cxn modelId="{D666A585-0991-475B-85CF-3637F082D034}" type="presOf" srcId="{06A5C58F-9D32-4460-83F5-EA906350993C}" destId="{D64817FE-A4A1-48B6-9EAA-67AC8D3DE931}" srcOrd="0" destOrd="0" presId="urn:microsoft.com/office/officeart/2005/8/layout/lProcess3"/>
    <dgm:cxn modelId="{7B22FD92-35BC-4426-BB51-19336DEB4C91}" type="presOf" srcId="{811E6214-DE5B-4312-98BF-EC268B52DED0}" destId="{206D7FF8-F6B9-4500-9E02-2062541EEAD4}" srcOrd="0" destOrd="0" presId="urn:microsoft.com/office/officeart/2005/8/layout/lProcess3"/>
    <dgm:cxn modelId="{E1B952AC-154E-403C-B3FF-8B109F751CCE}" type="presOf" srcId="{0DB6AC95-AC52-4E09-A224-B031781BD25B}" destId="{3B623178-8E9D-4A3D-ADEB-54F2F088518A}" srcOrd="0" destOrd="0" presId="urn:microsoft.com/office/officeart/2005/8/layout/lProcess3"/>
    <dgm:cxn modelId="{4E5C63B2-D81A-4C1E-AE3E-29513F4194A3}" type="presOf" srcId="{15E010B6-1A3C-4C25-917C-C0B6D50A38F4}" destId="{6679B128-AD39-4BAB-8CF9-168F57776BA2}" srcOrd="0" destOrd="0" presId="urn:microsoft.com/office/officeart/2005/8/layout/lProcess3"/>
    <dgm:cxn modelId="{69AED1C3-4C6B-4F6C-8660-398436FACA38}" type="presOf" srcId="{51758E5C-751B-4A57-9FE0-395C30450753}" destId="{8E3546D4-27AC-4908-AA2C-9C4CAFE6CB68}" srcOrd="0" destOrd="0" presId="urn:microsoft.com/office/officeart/2005/8/layout/lProcess3"/>
    <dgm:cxn modelId="{2E703BCD-8039-4DB6-8D00-707D4F07FA33}" type="presOf" srcId="{C71269B8-1D69-472D-8C16-2C35A3138555}" destId="{4C260DCB-F5FD-4739-B27A-C3C202058DAC}" srcOrd="0" destOrd="0" presId="urn:microsoft.com/office/officeart/2005/8/layout/lProcess3"/>
    <dgm:cxn modelId="{9F8E82D1-420A-451E-ACD5-C275640AE161}" srcId="{51758E5C-751B-4A57-9FE0-395C30450753}" destId="{823F805F-FC65-42A0-B7BC-9DCE0AF69AA6}" srcOrd="0" destOrd="0" parTransId="{BC1AEAB2-5CCB-452B-819F-594545ED1B35}" sibTransId="{097F88CC-8A42-4326-8203-386A1E6A30D2}"/>
    <dgm:cxn modelId="{2566CBD7-2DED-4B3A-9CD0-6736F83E16E0}" type="presOf" srcId="{19D5A510-FDEE-41C2-A585-C5DD16760B8B}" destId="{F68BEEB1-9633-43E9-8BE2-8EAF9E0B2A3E}" srcOrd="0" destOrd="0" presId="urn:microsoft.com/office/officeart/2005/8/layout/lProcess3"/>
    <dgm:cxn modelId="{647B49E8-3D40-42F3-B886-E37251F0D43F}" srcId="{C71269B8-1D69-472D-8C16-2C35A3138555}" destId="{811E6214-DE5B-4312-98BF-EC268B52DED0}" srcOrd="0" destOrd="0" parTransId="{1B13A972-36BF-4475-AD3C-9C1679C23B3A}" sibTransId="{E48311DA-A7ED-4038-95C8-4A7A7629DFCC}"/>
    <dgm:cxn modelId="{0AF2CAF1-DE70-4347-9B32-113D8D9B5D45}" type="presOf" srcId="{8AE4C6A8-3F90-4D07-9801-5C92A36774EC}" destId="{BAC24337-23BE-4368-905C-3B72BEC5C5F5}" srcOrd="0" destOrd="0" presId="urn:microsoft.com/office/officeart/2005/8/layout/lProcess3"/>
    <dgm:cxn modelId="{F8F5DDB1-9C71-4790-B7FA-46F02A7077EB}" type="presParOf" srcId="{BAC24337-23BE-4368-905C-3B72BEC5C5F5}" destId="{4E2015D7-98D7-435C-B459-6396BB6FF08B}" srcOrd="0" destOrd="0" presId="urn:microsoft.com/office/officeart/2005/8/layout/lProcess3"/>
    <dgm:cxn modelId="{6CEDB7B1-FEEE-4328-834C-764DE754006A}" type="presParOf" srcId="{4E2015D7-98D7-435C-B459-6396BB6FF08B}" destId="{8E3546D4-27AC-4908-AA2C-9C4CAFE6CB68}" srcOrd="0" destOrd="0" presId="urn:microsoft.com/office/officeart/2005/8/layout/lProcess3"/>
    <dgm:cxn modelId="{F4770907-2CC2-4E6F-A54C-0A2E504FB14A}" type="presParOf" srcId="{4E2015D7-98D7-435C-B459-6396BB6FF08B}" destId="{854D3D42-B596-4515-8317-D2026D3B9E66}" srcOrd="1" destOrd="0" presId="urn:microsoft.com/office/officeart/2005/8/layout/lProcess3"/>
    <dgm:cxn modelId="{A16FCC4A-8985-4B4E-85B5-2DA73C807F21}" type="presParOf" srcId="{4E2015D7-98D7-435C-B459-6396BB6FF08B}" destId="{D828D2B7-B7E9-4A37-B1AE-C80A7E6C30B0}" srcOrd="2" destOrd="0" presId="urn:microsoft.com/office/officeart/2005/8/layout/lProcess3"/>
    <dgm:cxn modelId="{DA6CE710-A822-4B49-9AB8-2C2F832A52FA}" type="presParOf" srcId="{4E2015D7-98D7-435C-B459-6396BB6FF08B}" destId="{B2E905D6-C4FD-4C1E-9C76-4776C91E2658}" srcOrd="3" destOrd="0" presId="urn:microsoft.com/office/officeart/2005/8/layout/lProcess3"/>
    <dgm:cxn modelId="{E254B9BB-F5B3-4F69-9181-4A3DAEE0AABE}" type="presParOf" srcId="{4E2015D7-98D7-435C-B459-6396BB6FF08B}" destId="{6679B128-AD39-4BAB-8CF9-168F57776BA2}" srcOrd="4" destOrd="0" presId="urn:microsoft.com/office/officeart/2005/8/layout/lProcess3"/>
    <dgm:cxn modelId="{C1A5E8DE-BB77-4F3A-A1BD-97FFCAC08DB0}" type="presParOf" srcId="{4E2015D7-98D7-435C-B459-6396BB6FF08B}" destId="{D63C4EF9-E161-46B6-8C5F-4AC72307500E}" srcOrd="5" destOrd="0" presId="urn:microsoft.com/office/officeart/2005/8/layout/lProcess3"/>
    <dgm:cxn modelId="{E9266258-C198-46FB-9335-F6A4915E4546}" type="presParOf" srcId="{4E2015D7-98D7-435C-B459-6396BB6FF08B}" destId="{F68BEEB1-9633-43E9-8BE2-8EAF9E0B2A3E}" srcOrd="6" destOrd="0" presId="urn:microsoft.com/office/officeart/2005/8/layout/lProcess3"/>
    <dgm:cxn modelId="{FD08142E-8018-4736-9AC0-219CA36B31BB}" type="presParOf" srcId="{BAC24337-23BE-4368-905C-3B72BEC5C5F5}" destId="{D9564BC1-3CAF-4165-9A2C-9D8A06C53CB4}" srcOrd="1" destOrd="0" presId="urn:microsoft.com/office/officeart/2005/8/layout/lProcess3"/>
    <dgm:cxn modelId="{E7960C35-2754-46CD-B1DF-27F1B40D23EE}" type="presParOf" srcId="{BAC24337-23BE-4368-905C-3B72BEC5C5F5}" destId="{FE3E8159-4572-42EA-BA0F-0CC3E6C4B1DC}" srcOrd="2" destOrd="0" presId="urn:microsoft.com/office/officeart/2005/8/layout/lProcess3"/>
    <dgm:cxn modelId="{F9DF24D2-6B43-4B9B-B96D-CE5106795458}" type="presParOf" srcId="{FE3E8159-4572-42EA-BA0F-0CC3E6C4B1DC}" destId="{4C260DCB-F5FD-4739-B27A-C3C202058DAC}" srcOrd="0" destOrd="0" presId="urn:microsoft.com/office/officeart/2005/8/layout/lProcess3"/>
    <dgm:cxn modelId="{F8EFB029-5EB3-481D-BD82-2190F70EEFA1}" type="presParOf" srcId="{FE3E8159-4572-42EA-BA0F-0CC3E6C4B1DC}" destId="{6532D4FC-60E0-4A7D-A4CD-6B20DE7D3E0C}" srcOrd="1" destOrd="0" presId="urn:microsoft.com/office/officeart/2005/8/layout/lProcess3"/>
    <dgm:cxn modelId="{C7817B2A-CD8D-4C22-9985-657E4F838028}" type="presParOf" srcId="{FE3E8159-4572-42EA-BA0F-0CC3E6C4B1DC}" destId="{206D7FF8-F6B9-4500-9E02-2062541EEAD4}" srcOrd="2" destOrd="0" presId="urn:microsoft.com/office/officeart/2005/8/layout/lProcess3"/>
    <dgm:cxn modelId="{3C00DDA3-9A0B-485B-BB87-70538BF1F0A7}" type="presParOf" srcId="{FE3E8159-4572-42EA-BA0F-0CC3E6C4B1DC}" destId="{3A5E6353-F5A5-4890-A19B-86961F5BAAD5}" srcOrd="3" destOrd="0" presId="urn:microsoft.com/office/officeart/2005/8/layout/lProcess3"/>
    <dgm:cxn modelId="{E0D2486A-B1E0-4693-9F18-A48DD631F484}" type="presParOf" srcId="{FE3E8159-4572-42EA-BA0F-0CC3E6C4B1DC}" destId="{3B623178-8E9D-4A3D-ADEB-54F2F088518A}" srcOrd="4" destOrd="0" presId="urn:microsoft.com/office/officeart/2005/8/layout/lProcess3"/>
    <dgm:cxn modelId="{6FE31D32-6952-4E8E-8541-BE18A025BB79}" type="presParOf" srcId="{FE3E8159-4572-42EA-BA0F-0CC3E6C4B1DC}" destId="{DFBC9158-D8E0-4A1F-8ABA-ADF328AF0B5A}" srcOrd="5" destOrd="0" presId="urn:microsoft.com/office/officeart/2005/8/layout/lProcess3"/>
    <dgm:cxn modelId="{6FFFB044-BBBA-41A2-8762-03D35B8DA2CD}" type="presParOf" srcId="{FE3E8159-4572-42EA-BA0F-0CC3E6C4B1DC}" destId="{D64817FE-A4A1-48B6-9EAA-67AC8D3DE931}" srcOrd="6"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A76CCB8-F6D4-4AF0-BBC0-EDC80FC828CA}"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en-US"/>
        </a:p>
      </dgm:t>
    </dgm:pt>
    <dgm:pt modelId="{B5D5E35B-9EA2-4BF0-9DC3-E20E3B1FCB20}">
      <dgm:prSet custT="1"/>
      <dgm:spPr/>
      <dgm:t>
        <a:bodyPr/>
        <a:lstStyle/>
        <a:p>
          <a:r>
            <a:rPr lang="en-US" sz="1800" b="0" i="0" baseline="0" dirty="0"/>
            <a:t>Behaves like Failover Cluster Instance</a:t>
          </a:r>
          <a:endParaRPr lang="en-US" sz="1800" dirty="0"/>
        </a:p>
      </dgm:t>
    </dgm:pt>
    <dgm:pt modelId="{7753C533-4ACE-456D-9E49-6AA13238DD98}" type="parTrans" cxnId="{49E116BE-F1E7-436A-8E82-AC8DA343A48F}">
      <dgm:prSet/>
      <dgm:spPr/>
      <dgm:t>
        <a:bodyPr/>
        <a:lstStyle/>
        <a:p>
          <a:endParaRPr lang="en-US"/>
        </a:p>
      </dgm:t>
    </dgm:pt>
    <dgm:pt modelId="{4CAAA59D-0471-4D1A-9D7E-DF7C16B8B293}" type="sibTrans" cxnId="{49E116BE-F1E7-436A-8E82-AC8DA343A48F}">
      <dgm:prSet/>
      <dgm:spPr/>
      <dgm:t>
        <a:bodyPr/>
        <a:lstStyle/>
        <a:p>
          <a:endParaRPr lang="en-US"/>
        </a:p>
      </dgm:t>
    </dgm:pt>
    <dgm:pt modelId="{583E7503-EAAE-4E77-B450-95421D8CEC26}">
      <dgm:prSet custT="1"/>
      <dgm:spPr/>
      <dgm:t>
        <a:bodyPr/>
        <a:lstStyle/>
        <a:p>
          <a:r>
            <a:rPr lang="en-US" sz="1800" b="0" i="0" baseline="0" dirty="0"/>
            <a:t>Remote storage provides data redundancy</a:t>
          </a:r>
          <a:endParaRPr lang="en-US" sz="1800" dirty="0"/>
        </a:p>
      </dgm:t>
    </dgm:pt>
    <dgm:pt modelId="{4869C36F-5258-4220-995D-14FA6721C2F8}" type="parTrans" cxnId="{288DDCAB-C670-473C-A8FE-9D3C5982A49D}">
      <dgm:prSet/>
      <dgm:spPr/>
      <dgm:t>
        <a:bodyPr/>
        <a:lstStyle/>
        <a:p>
          <a:endParaRPr lang="en-US"/>
        </a:p>
      </dgm:t>
    </dgm:pt>
    <dgm:pt modelId="{321FD497-62D9-4F04-9B70-7452FE86AA32}" type="sibTrans" cxnId="{288DDCAB-C670-473C-A8FE-9D3C5982A49D}">
      <dgm:prSet/>
      <dgm:spPr/>
      <dgm:t>
        <a:bodyPr/>
        <a:lstStyle/>
        <a:p>
          <a:endParaRPr lang="en-US"/>
        </a:p>
      </dgm:t>
    </dgm:pt>
    <dgm:pt modelId="{3EC7C4FF-AE9E-45C7-ADB6-123AFB62F79B}">
      <dgm:prSet custT="1"/>
      <dgm:spPr/>
      <dgm:t>
        <a:bodyPr/>
        <a:lstStyle/>
        <a:p>
          <a:r>
            <a:rPr lang="en-US" sz="1800" b="0" i="0" baseline="0" dirty="0"/>
            <a:t>Backup files are in a different location with geo-redundancy</a:t>
          </a:r>
          <a:endParaRPr lang="en-US" sz="1800" dirty="0"/>
        </a:p>
      </dgm:t>
    </dgm:pt>
    <dgm:pt modelId="{DBEBC496-B6DD-40EC-BF03-8B56CAF5C77A}" type="parTrans" cxnId="{936076A7-8D6B-4E91-82B8-3313DB0F4054}">
      <dgm:prSet/>
      <dgm:spPr/>
      <dgm:t>
        <a:bodyPr/>
        <a:lstStyle/>
        <a:p>
          <a:endParaRPr lang="en-US"/>
        </a:p>
      </dgm:t>
    </dgm:pt>
    <dgm:pt modelId="{2B41B5B4-314C-4F9F-8026-45913D04E735}" type="sibTrans" cxnId="{936076A7-8D6B-4E91-82B8-3313DB0F4054}">
      <dgm:prSet/>
      <dgm:spPr/>
      <dgm:t>
        <a:bodyPr/>
        <a:lstStyle/>
        <a:p>
          <a:endParaRPr lang="en-US"/>
        </a:p>
      </dgm:t>
    </dgm:pt>
    <dgm:pt modelId="{1C26D535-456D-429A-868E-ABB914058B47}">
      <dgm:prSet custT="1"/>
      <dgm:spPr/>
      <dgm:t>
        <a:bodyPr/>
        <a:lstStyle/>
        <a:p>
          <a:r>
            <a:rPr lang="en-US" sz="1800" b="0" i="0" baseline="0" dirty="0"/>
            <a:t>Failover decisions based on SQL and Service Fabric</a:t>
          </a:r>
          <a:endParaRPr lang="en-US" sz="1800" dirty="0"/>
        </a:p>
      </dgm:t>
    </dgm:pt>
    <dgm:pt modelId="{C202E75A-EB39-4C72-A830-1A2D0EFE6395}" type="parTrans" cxnId="{4547CBFD-70BF-4ABB-930D-E92B31FA93C7}">
      <dgm:prSet/>
      <dgm:spPr/>
      <dgm:t>
        <a:bodyPr/>
        <a:lstStyle/>
        <a:p>
          <a:endParaRPr lang="en-US"/>
        </a:p>
      </dgm:t>
    </dgm:pt>
    <dgm:pt modelId="{5DC840BC-E1FC-461B-9A05-A2316EB108E5}" type="sibTrans" cxnId="{4547CBFD-70BF-4ABB-930D-E92B31FA93C7}">
      <dgm:prSet/>
      <dgm:spPr/>
      <dgm:t>
        <a:bodyPr/>
        <a:lstStyle/>
        <a:p>
          <a:endParaRPr lang="en-US"/>
        </a:p>
      </dgm:t>
    </dgm:pt>
    <dgm:pt modelId="{0F163790-39F3-40C1-95A7-A0D003E79800}">
      <dgm:prSet custT="1"/>
      <dgm:spPr/>
      <dgm:t>
        <a:bodyPr/>
        <a:lstStyle/>
        <a:p>
          <a:r>
            <a:rPr lang="en-US" sz="1800" b="0" i="0" baseline="0" dirty="0"/>
            <a:t>Recovery time depends on spare capacity</a:t>
          </a:r>
          <a:endParaRPr lang="en-US" sz="1800" dirty="0"/>
        </a:p>
      </dgm:t>
    </dgm:pt>
    <dgm:pt modelId="{D9C126A0-60C5-4E23-AE0B-93DCE9FB7308}" type="parTrans" cxnId="{3DF835DC-6AC5-4A95-8582-33D95EA40410}">
      <dgm:prSet/>
      <dgm:spPr/>
      <dgm:t>
        <a:bodyPr/>
        <a:lstStyle/>
        <a:p>
          <a:endParaRPr lang="en-US"/>
        </a:p>
      </dgm:t>
    </dgm:pt>
    <dgm:pt modelId="{0E853E68-7B4D-456B-A79A-E5D5BFEA66F9}" type="sibTrans" cxnId="{3DF835DC-6AC5-4A95-8582-33D95EA40410}">
      <dgm:prSet/>
      <dgm:spPr/>
      <dgm:t>
        <a:bodyPr/>
        <a:lstStyle/>
        <a:p>
          <a:endParaRPr lang="en-US"/>
        </a:p>
      </dgm:t>
    </dgm:pt>
    <dgm:pt modelId="{AA3F6528-1F89-4F67-96AC-ECC349910DC1}">
      <dgm:prSet custT="1"/>
      <dgm:spPr/>
      <dgm:t>
        <a:bodyPr/>
        <a:lstStyle/>
        <a:p>
          <a:r>
            <a:rPr lang="en-US" sz="1800" b="0" i="0" baseline="0" dirty="0"/>
            <a:t>Connectivity redirection built-in</a:t>
          </a:r>
          <a:endParaRPr lang="en-US" sz="1800" dirty="0"/>
        </a:p>
      </dgm:t>
    </dgm:pt>
    <dgm:pt modelId="{4F444394-890C-4B17-BD49-427C44B97617}" type="parTrans" cxnId="{B5E6DA21-3154-40E6-8436-10D771688456}">
      <dgm:prSet/>
      <dgm:spPr/>
      <dgm:t>
        <a:bodyPr/>
        <a:lstStyle/>
        <a:p>
          <a:endParaRPr lang="en-US"/>
        </a:p>
      </dgm:t>
    </dgm:pt>
    <dgm:pt modelId="{8CD243ED-C2A4-4A28-B13A-5F382275EDCD}" type="sibTrans" cxnId="{B5E6DA21-3154-40E6-8436-10D771688456}">
      <dgm:prSet/>
      <dgm:spPr/>
      <dgm:t>
        <a:bodyPr/>
        <a:lstStyle/>
        <a:p>
          <a:endParaRPr lang="en-US"/>
        </a:p>
      </dgm:t>
    </dgm:pt>
    <dgm:pt modelId="{CFE817EF-A749-4CA5-8DDF-FD100CD0503F}">
      <dgm:prSet custT="1"/>
      <dgm:spPr/>
      <dgm:t>
        <a:bodyPr/>
        <a:lstStyle/>
        <a:p>
          <a:r>
            <a:rPr lang="en-US" sz="1800" spc="0" dirty="0">
              <a:solidFill>
                <a:prstClr val="black"/>
              </a:solidFill>
              <a:cs typeface="Segoe UI Semilight" panose="020B0402040204020203" pitchFamily="34" charset="0"/>
            </a:rPr>
            <a:t>Basic (DTU), Standard (DTU), General Purpose (vCore)</a:t>
          </a:r>
          <a:endParaRPr lang="en-US" sz="1800" dirty="0"/>
        </a:p>
      </dgm:t>
    </dgm:pt>
    <dgm:pt modelId="{EB56E54C-E6E2-4E3C-A23B-14A9DA42746F}" type="parTrans" cxnId="{F9468A12-4525-486E-A136-88AAA6544EB0}">
      <dgm:prSet/>
      <dgm:spPr/>
      <dgm:t>
        <a:bodyPr/>
        <a:lstStyle/>
        <a:p>
          <a:endParaRPr lang="en-US"/>
        </a:p>
      </dgm:t>
    </dgm:pt>
    <dgm:pt modelId="{410F476E-6819-4E33-BE43-AA7706DA01D4}" type="sibTrans" cxnId="{F9468A12-4525-486E-A136-88AAA6544EB0}">
      <dgm:prSet/>
      <dgm:spPr/>
      <dgm:t>
        <a:bodyPr/>
        <a:lstStyle/>
        <a:p>
          <a:endParaRPr lang="en-US"/>
        </a:p>
      </dgm:t>
    </dgm:pt>
    <dgm:pt modelId="{292DCB56-C151-4387-B4B4-9DF7E9B765C2}" type="pres">
      <dgm:prSet presAssocID="{4A76CCB8-F6D4-4AF0-BBC0-EDC80FC828CA}" presName="linear" presStyleCnt="0">
        <dgm:presLayoutVars>
          <dgm:animLvl val="lvl"/>
          <dgm:resizeHandles val="exact"/>
        </dgm:presLayoutVars>
      </dgm:prSet>
      <dgm:spPr/>
    </dgm:pt>
    <dgm:pt modelId="{898B3D66-C13A-4D18-A9F5-B4C57A7DFC1E}" type="pres">
      <dgm:prSet presAssocID="{CFE817EF-A749-4CA5-8DDF-FD100CD0503F}" presName="parentText" presStyleLbl="node1" presStyleIdx="0" presStyleCnt="7">
        <dgm:presLayoutVars>
          <dgm:chMax val="0"/>
          <dgm:bulletEnabled val="1"/>
        </dgm:presLayoutVars>
      </dgm:prSet>
      <dgm:spPr/>
    </dgm:pt>
    <dgm:pt modelId="{0BD1B920-1E6E-4B36-92A0-AF1E6394CE81}" type="pres">
      <dgm:prSet presAssocID="{410F476E-6819-4E33-BE43-AA7706DA01D4}" presName="spacer" presStyleCnt="0"/>
      <dgm:spPr/>
    </dgm:pt>
    <dgm:pt modelId="{E36EA90D-00A0-402A-AE8E-6B81F1BF982C}" type="pres">
      <dgm:prSet presAssocID="{B5D5E35B-9EA2-4BF0-9DC3-E20E3B1FCB20}" presName="parentText" presStyleLbl="node1" presStyleIdx="1" presStyleCnt="7">
        <dgm:presLayoutVars>
          <dgm:chMax val="0"/>
          <dgm:bulletEnabled val="1"/>
        </dgm:presLayoutVars>
      </dgm:prSet>
      <dgm:spPr/>
    </dgm:pt>
    <dgm:pt modelId="{5A1DC3A6-9F5F-442A-B521-9D1374C03EA2}" type="pres">
      <dgm:prSet presAssocID="{4CAAA59D-0471-4D1A-9D7E-DF7C16B8B293}" presName="spacer" presStyleCnt="0"/>
      <dgm:spPr/>
    </dgm:pt>
    <dgm:pt modelId="{537AC4EA-398B-43C1-BEB6-8CE04874A155}" type="pres">
      <dgm:prSet presAssocID="{583E7503-EAAE-4E77-B450-95421D8CEC26}" presName="parentText" presStyleLbl="node1" presStyleIdx="2" presStyleCnt="7">
        <dgm:presLayoutVars>
          <dgm:chMax val="0"/>
          <dgm:bulletEnabled val="1"/>
        </dgm:presLayoutVars>
      </dgm:prSet>
      <dgm:spPr/>
    </dgm:pt>
    <dgm:pt modelId="{9000A30A-0448-40D3-A83F-4254392AEDDA}" type="pres">
      <dgm:prSet presAssocID="{321FD497-62D9-4F04-9B70-7452FE86AA32}" presName="spacer" presStyleCnt="0"/>
      <dgm:spPr/>
    </dgm:pt>
    <dgm:pt modelId="{3702D849-64F8-4231-B63E-4506249F1CC1}" type="pres">
      <dgm:prSet presAssocID="{3EC7C4FF-AE9E-45C7-ADB6-123AFB62F79B}" presName="parentText" presStyleLbl="node1" presStyleIdx="3" presStyleCnt="7">
        <dgm:presLayoutVars>
          <dgm:chMax val="0"/>
          <dgm:bulletEnabled val="1"/>
        </dgm:presLayoutVars>
      </dgm:prSet>
      <dgm:spPr/>
    </dgm:pt>
    <dgm:pt modelId="{07871B0A-CAC5-4341-B598-F61C6782DB8A}" type="pres">
      <dgm:prSet presAssocID="{2B41B5B4-314C-4F9F-8026-45913D04E735}" presName="spacer" presStyleCnt="0"/>
      <dgm:spPr/>
    </dgm:pt>
    <dgm:pt modelId="{E5E9969B-1DA8-4403-8189-78DCE572C060}" type="pres">
      <dgm:prSet presAssocID="{1C26D535-456D-429A-868E-ABB914058B47}" presName="parentText" presStyleLbl="node1" presStyleIdx="4" presStyleCnt="7">
        <dgm:presLayoutVars>
          <dgm:chMax val="0"/>
          <dgm:bulletEnabled val="1"/>
        </dgm:presLayoutVars>
      </dgm:prSet>
      <dgm:spPr/>
    </dgm:pt>
    <dgm:pt modelId="{17660F87-B4BB-4898-A220-A0A022B47054}" type="pres">
      <dgm:prSet presAssocID="{5DC840BC-E1FC-461B-9A05-A2316EB108E5}" presName="spacer" presStyleCnt="0"/>
      <dgm:spPr/>
    </dgm:pt>
    <dgm:pt modelId="{AB439D44-51AC-40C7-A2AF-BA9416B69608}" type="pres">
      <dgm:prSet presAssocID="{0F163790-39F3-40C1-95A7-A0D003E79800}" presName="parentText" presStyleLbl="node1" presStyleIdx="5" presStyleCnt="7">
        <dgm:presLayoutVars>
          <dgm:chMax val="0"/>
          <dgm:bulletEnabled val="1"/>
        </dgm:presLayoutVars>
      </dgm:prSet>
      <dgm:spPr/>
    </dgm:pt>
    <dgm:pt modelId="{894B485E-ADF5-436E-9DDD-15670951F761}" type="pres">
      <dgm:prSet presAssocID="{0E853E68-7B4D-456B-A79A-E5D5BFEA66F9}" presName="spacer" presStyleCnt="0"/>
      <dgm:spPr/>
    </dgm:pt>
    <dgm:pt modelId="{DB7A2EDD-92C5-4A6A-B200-2C7B74D1F812}" type="pres">
      <dgm:prSet presAssocID="{AA3F6528-1F89-4F67-96AC-ECC349910DC1}" presName="parentText" presStyleLbl="node1" presStyleIdx="6" presStyleCnt="7">
        <dgm:presLayoutVars>
          <dgm:chMax val="0"/>
          <dgm:bulletEnabled val="1"/>
        </dgm:presLayoutVars>
      </dgm:prSet>
      <dgm:spPr/>
    </dgm:pt>
  </dgm:ptLst>
  <dgm:cxnLst>
    <dgm:cxn modelId="{F9468A12-4525-486E-A136-88AAA6544EB0}" srcId="{4A76CCB8-F6D4-4AF0-BBC0-EDC80FC828CA}" destId="{CFE817EF-A749-4CA5-8DDF-FD100CD0503F}" srcOrd="0" destOrd="0" parTransId="{EB56E54C-E6E2-4E3C-A23B-14A9DA42746F}" sibTransId="{410F476E-6819-4E33-BE43-AA7706DA01D4}"/>
    <dgm:cxn modelId="{905A3218-BDA4-4A33-9C76-E8B88CFFCAD7}" type="presOf" srcId="{CFE817EF-A749-4CA5-8DDF-FD100CD0503F}" destId="{898B3D66-C13A-4D18-A9F5-B4C57A7DFC1E}" srcOrd="0" destOrd="0" presId="urn:microsoft.com/office/officeart/2005/8/layout/vList2"/>
    <dgm:cxn modelId="{F0794819-4D95-4D4F-A6B5-689B52431C22}" type="presOf" srcId="{3EC7C4FF-AE9E-45C7-ADB6-123AFB62F79B}" destId="{3702D849-64F8-4231-B63E-4506249F1CC1}" srcOrd="0" destOrd="0" presId="urn:microsoft.com/office/officeart/2005/8/layout/vList2"/>
    <dgm:cxn modelId="{B5E6DA21-3154-40E6-8436-10D771688456}" srcId="{4A76CCB8-F6D4-4AF0-BBC0-EDC80FC828CA}" destId="{AA3F6528-1F89-4F67-96AC-ECC349910DC1}" srcOrd="6" destOrd="0" parTransId="{4F444394-890C-4B17-BD49-427C44B97617}" sibTransId="{8CD243ED-C2A4-4A28-B13A-5F382275EDCD}"/>
    <dgm:cxn modelId="{A22BA424-BC99-4B80-BB34-6412C1D1F252}" type="presOf" srcId="{AA3F6528-1F89-4F67-96AC-ECC349910DC1}" destId="{DB7A2EDD-92C5-4A6A-B200-2C7B74D1F812}" srcOrd="0" destOrd="0" presId="urn:microsoft.com/office/officeart/2005/8/layout/vList2"/>
    <dgm:cxn modelId="{87AED83C-BBE6-4910-90C3-43788E20B6E1}" type="presOf" srcId="{B5D5E35B-9EA2-4BF0-9DC3-E20E3B1FCB20}" destId="{E36EA90D-00A0-402A-AE8E-6B81F1BF982C}" srcOrd="0" destOrd="0" presId="urn:microsoft.com/office/officeart/2005/8/layout/vList2"/>
    <dgm:cxn modelId="{E6E7065B-A194-446D-A4CC-CD686A571FF0}" type="presOf" srcId="{583E7503-EAAE-4E77-B450-95421D8CEC26}" destId="{537AC4EA-398B-43C1-BEB6-8CE04874A155}" srcOrd="0" destOrd="0" presId="urn:microsoft.com/office/officeart/2005/8/layout/vList2"/>
    <dgm:cxn modelId="{B6A80FA1-940C-4965-ABE7-556FA212C51F}" type="presOf" srcId="{1C26D535-456D-429A-868E-ABB914058B47}" destId="{E5E9969B-1DA8-4403-8189-78DCE572C060}" srcOrd="0" destOrd="0" presId="urn:microsoft.com/office/officeart/2005/8/layout/vList2"/>
    <dgm:cxn modelId="{936076A7-8D6B-4E91-82B8-3313DB0F4054}" srcId="{4A76CCB8-F6D4-4AF0-BBC0-EDC80FC828CA}" destId="{3EC7C4FF-AE9E-45C7-ADB6-123AFB62F79B}" srcOrd="3" destOrd="0" parTransId="{DBEBC496-B6DD-40EC-BF03-8B56CAF5C77A}" sibTransId="{2B41B5B4-314C-4F9F-8026-45913D04E735}"/>
    <dgm:cxn modelId="{288DDCAB-C670-473C-A8FE-9D3C5982A49D}" srcId="{4A76CCB8-F6D4-4AF0-BBC0-EDC80FC828CA}" destId="{583E7503-EAAE-4E77-B450-95421D8CEC26}" srcOrd="2" destOrd="0" parTransId="{4869C36F-5258-4220-995D-14FA6721C2F8}" sibTransId="{321FD497-62D9-4F04-9B70-7452FE86AA32}"/>
    <dgm:cxn modelId="{49E116BE-F1E7-436A-8E82-AC8DA343A48F}" srcId="{4A76CCB8-F6D4-4AF0-BBC0-EDC80FC828CA}" destId="{B5D5E35B-9EA2-4BF0-9DC3-E20E3B1FCB20}" srcOrd="1" destOrd="0" parTransId="{7753C533-4ACE-456D-9E49-6AA13238DD98}" sibTransId="{4CAAA59D-0471-4D1A-9D7E-DF7C16B8B293}"/>
    <dgm:cxn modelId="{FAD97EC6-D4F7-4EEE-AFEA-38B1A18993BF}" type="presOf" srcId="{4A76CCB8-F6D4-4AF0-BBC0-EDC80FC828CA}" destId="{292DCB56-C151-4387-B4B4-9DF7E9B765C2}" srcOrd="0" destOrd="0" presId="urn:microsoft.com/office/officeart/2005/8/layout/vList2"/>
    <dgm:cxn modelId="{3DF835DC-6AC5-4A95-8582-33D95EA40410}" srcId="{4A76CCB8-F6D4-4AF0-BBC0-EDC80FC828CA}" destId="{0F163790-39F3-40C1-95A7-A0D003E79800}" srcOrd="5" destOrd="0" parTransId="{D9C126A0-60C5-4E23-AE0B-93DCE9FB7308}" sibTransId="{0E853E68-7B4D-456B-A79A-E5D5BFEA66F9}"/>
    <dgm:cxn modelId="{5B4381DD-8AD3-413F-A39C-891F8F221216}" type="presOf" srcId="{0F163790-39F3-40C1-95A7-A0D003E79800}" destId="{AB439D44-51AC-40C7-A2AF-BA9416B69608}" srcOrd="0" destOrd="0" presId="urn:microsoft.com/office/officeart/2005/8/layout/vList2"/>
    <dgm:cxn modelId="{4547CBFD-70BF-4ABB-930D-E92B31FA93C7}" srcId="{4A76CCB8-F6D4-4AF0-BBC0-EDC80FC828CA}" destId="{1C26D535-456D-429A-868E-ABB914058B47}" srcOrd="4" destOrd="0" parTransId="{C202E75A-EB39-4C72-A830-1A2D0EFE6395}" sibTransId="{5DC840BC-E1FC-461B-9A05-A2316EB108E5}"/>
    <dgm:cxn modelId="{F25815B5-1C88-4062-A270-F2B8642FF3D8}" type="presParOf" srcId="{292DCB56-C151-4387-B4B4-9DF7E9B765C2}" destId="{898B3D66-C13A-4D18-A9F5-B4C57A7DFC1E}" srcOrd="0" destOrd="0" presId="urn:microsoft.com/office/officeart/2005/8/layout/vList2"/>
    <dgm:cxn modelId="{9CD93A9C-7368-4BDB-A61A-2DA0DFFB36FE}" type="presParOf" srcId="{292DCB56-C151-4387-B4B4-9DF7E9B765C2}" destId="{0BD1B920-1E6E-4B36-92A0-AF1E6394CE81}" srcOrd="1" destOrd="0" presId="urn:microsoft.com/office/officeart/2005/8/layout/vList2"/>
    <dgm:cxn modelId="{4AEE2C06-3713-444E-BB68-8EB7A39CC3B2}" type="presParOf" srcId="{292DCB56-C151-4387-B4B4-9DF7E9B765C2}" destId="{E36EA90D-00A0-402A-AE8E-6B81F1BF982C}" srcOrd="2" destOrd="0" presId="urn:microsoft.com/office/officeart/2005/8/layout/vList2"/>
    <dgm:cxn modelId="{61E266D1-0FB0-4835-A3D7-7A1C8028AA21}" type="presParOf" srcId="{292DCB56-C151-4387-B4B4-9DF7E9B765C2}" destId="{5A1DC3A6-9F5F-442A-B521-9D1374C03EA2}" srcOrd="3" destOrd="0" presId="urn:microsoft.com/office/officeart/2005/8/layout/vList2"/>
    <dgm:cxn modelId="{9A533F64-9F7D-46E6-92BA-7B985F0664A8}" type="presParOf" srcId="{292DCB56-C151-4387-B4B4-9DF7E9B765C2}" destId="{537AC4EA-398B-43C1-BEB6-8CE04874A155}" srcOrd="4" destOrd="0" presId="urn:microsoft.com/office/officeart/2005/8/layout/vList2"/>
    <dgm:cxn modelId="{F923DC96-2F29-40C9-AC0B-95089616FAA7}" type="presParOf" srcId="{292DCB56-C151-4387-B4B4-9DF7E9B765C2}" destId="{9000A30A-0448-40D3-A83F-4254392AEDDA}" srcOrd="5" destOrd="0" presId="urn:microsoft.com/office/officeart/2005/8/layout/vList2"/>
    <dgm:cxn modelId="{4968B514-7B77-4DDD-9612-89A6881F3A43}" type="presParOf" srcId="{292DCB56-C151-4387-B4B4-9DF7E9B765C2}" destId="{3702D849-64F8-4231-B63E-4506249F1CC1}" srcOrd="6" destOrd="0" presId="urn:microsoft.com/office/officeart/2005/8/layout/vList2"/>
    <dgm:cxn modelId="{DA662F19-8297-43E1-92EB-87ABC9B23E78}" type="presParOf" srcId="{292DCB56-C151-4387-B4B4-9DF7E9B765C2}" destId="{07871B0A-CAC5-4341-B598-F61C6782DB8A}" srcOrd="7" destOrd="0" presId="urn:microsoft.com/office/officeart/2005/8/layout/vList2"/>
    <dgm:cxn modelId="{B6DC7717-DFBA-4BDA-A8C3-1541A4211F4B}" type="presParOf" srcId="{292DCB56-C151-4387-B4B4-9DF7E9B765C2}" destId="{E5E9969B-1DA8-4403-8189-78DCE572C060}" srcOrd="8" destOrd="0" presId="urn:microsoft.com/office/officeart/2005/8/layout/vList2"/>
    <dgm:cxn modelId="{1B4DAB36-C562-4F4E-8B63-55BACF982033}" type="presParOf" srcId="{292DCB56-C151-4387-B4B4-9DF7E9B765C2}" destId="{17660F87-B4BB-4898-A220-A0A022B47054}" srcOrd="9" destOrd="0" presId="urn:microsoft.com/office/officeart/2005/8/layout/vList2"/>
    <dgm:cxn modelId="{3FA7FB52-B4CE-463A-BA34-E69ACAD4BDF8}" type="presParOf" srcId="{292DCB56-C151-4387-B4B4-9DF7E9B765C2}" destId="{AB439D44-51AC-40C7-A2AF-BA9416B69608}" srcOrd="10" destOrd="0" presId="urn:microsoft.com/office/officeart/2005/8/layout/vList2"/>
    <dgm:cxn modelId="{C73AF33F-C495-440F-BEEE-FAABF5117754}" type="presParOf" srcId="{292DCB56-C151-4387-B4B4-9DF7E9B765C2}" destId="{894B485E-ADF5-436E-9DDD-15670951F761}" srcOrd="11" destOrd="0" presId="urn:microsoft.com/office/officeart/2005/8/layout/vList2"/>
    <dgm:cxn modelId="{78CBD3C8-45EC-4B84-B819-120DED33BA4F}" type="presParOf" srcId="{292DCB56-C151-4387-B4B4-9DF7E9B765C2}" destId="{DB7A2EDD-92C5-4A6A-B200-2C7B74D1F812}" srcOrd="12"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6015BC2-230A-4668-965D-C64085119EEB}"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en-US"/>
        </a:p>
      </dgm:t>
    </dgm:pt>
    <dgm:pt modelId="{ED2B4728-74FA-4F14-96AD-093B0FD029DB}">
      <dgm:prSet custT="1"/>
      <dgm:spPr/>
      <dgm:t>
        <a:bodyPr/>
        <a:lstStyle/>
        <a:p>
          <a:r>
            <a:rPr lang="en-US" sz="1800" baseline="0" dirty="0"/>
            <a:t>High availability is achieved by replicating both compute and storage to additional nodes.</a:t>
          </a:r>
          <a:endParaRPr lang="en-US" sz="1800" dirty="0"/>
        </a:p>
      </dgm:t>
    </dgm:pt>
    <dgm:pt modelId="{A2AFBA66-8477-4795-8577-0ED1327A8C46}" type="parTrans" cxnId="{A3103803-A66E-426B-9842-6C58267B5E82}">
      <dgm:prSet/>
      <dgm:spPr/>
      <dgm:t>
        <a:bodyPr/>
        <a:lstStyle/>
        <a:p>
          <a:endParaRPr lang="en-US"/>
        </a:p>
      </dgm:t>
    </dgm:pt>
    <dgm:pt modelId="{822F050B-9F8A-40EC-AA0D-00F59B31BBA9}" type="sibTrans" cxnId="{A3103803-A66E-426B-9842-6C58267B5E82}">
      <dgm:prSet/>
      <dgm:spPr/>
      <dgm:t>
        <a:bodyPr/>
        <a:lstStyle/>
        <a:p>
          <a:endParaRPr lang="en-US"/>
        </a:p>
      </dgm:t>
    </dgm:pt>
    <dgm:pt modelId="{7406D59F-31BD-4E9E-8C05-641D1F1D9A6F}">
      <dgm:prSet custT="1"/>
      <dgm:spPr/>
      <dgm:t>
        <a:bodyPr/>
        <a:lstStyle/>
        <a:p>
          <a:r>
            <a:rPr lang="en-US" sz="1800" baseline="0" dirty="0"/>
            <a:t>The cluster includes a single primary replica for read-write workloads, and up to three secondary replicas.</a:t>
          </a:r>
          <a:endParaRPr lang="en-US" sz="1800" dirty="0"/>
        </a:p>
      </dgm:t>
    </dgm:pt>
    <dgm:pt modelId="{5B28F96C-5792-49AA-931B-1C34E94EF73E}" type="parTrans" cxnId="{B27882AC-5CCE-4FEB-B423-2967B4A22E15}">
      <dgm:prSet/>
      <dgm:spPr/>
      <dgm:t>
        <a:bodyPr/>
        <a:lstStyle/>
        <a:p>
          <a:endParaRPr lang="en-US"/>
        </a:p>
      </dgm:t>
    </dgm:pt>
    <dgm:pt modelId="{D3710D8E-7EC1-4447-8223-EDB0265BF6DE}" type="sibTrans" cxnId="{B27882AC-5CCE-4FEB-B423-2967B4A22E15}">
      <dgm:prSet/>
      <dgm:spPr/>
      <dgm:t>
        <a:bodyPr/>
        <a:lstStyle/>
        <a:p>
          <a:endParaRPr lang="en-US"/>
        </a:p>
      </dgm:t>
    </dgm:pt>
    <dgm:pt modelId="{8BBA7D08-0449-4067-BEEA-0120D264B801}">
      <dgm:prSet custT="1"/>
      <dgm:spPr/>
      <dgm:t>
        <a:bodyPr/>
        <a:lstStyle/>
        <a:p>
          <a:r>
            <a:rPr lang="en-US" sz="1800" baseline="0"/>
            <a:t>The failover is initiated by the Azure Service Fabric. </a:t>
          </a:r>
          <a:endParaRPr lang="en-US" sz="1800"/>
        </a:p>
      </dgm:t>
    </dgm:pt>
    <dgm:pt modelId="{6A81F360-73DF-4893-8D6F-2455253F83ED}" type="parTrans" cxnId="{7D8FDA82-57FB-4694-996F-44175E5F0F5A}">
      <dgm:prSet/>
      <dgm:spPr/>
      <dgm:t>
        <a:bodyPr/>
        <a:lstStyle/>
        <a:p>
          <a:endParaRPr lang="en-US"/>
        </a:p>
      </dgm:t>
    </dgm:pt>
    <dgm:pt modelId="{AB05005E-9332-4AE0-8465-32CFCA366FAE}" type="sibTrans" cxnId="{7D8FDA82-57FB-4694-996F-44175E5F0F5A}">
      <dgm:prSet/>
      <dgm:spPr/>
      <dgm:t>
        <a:bodyPr/>
        <a:lstStyle/>
        <a:p>
          <a:endParaRPr lang="en-US"/>
        </a:p>
      </dgm:t>
    </dgm:pt>
    <dgm:pt modelId="{9B6CD824-3B90-440B-AFC8-1901924E5E4B}">
      <dgm:prSet custT="1"/>
      <dgm:spPr/>
      <dgm:t>
        <a:bodyPr/>
        <a:lstStyle/>
        <a:p>
          <a:r>
            <a:rPr lang="en-US" sz="1800" baseline="0" dirty="0"/>
            <a:t>As an extra benefit, the premium availability model includes Read Scale-Out feature. </a:t>
          </a:r>
          <a:endParaRPr lang="en-US" sz="1800" dirty="0"/>
        </a:p>
      </dgm:t>
    </dgm:pt>
    <dgm:pt modelId="{47B2F35D-AF0E-433F-A4BD-0F5A84035F8E}" type="parTrans" cxnId="{0DC73377-9CC4-4FBB-8814-B1F416AE09CA}">
      <dgm:prSet/>
      <dgm:spPr/>
      <dgm:t>
        <a:bodyPr/>
        <a:lstStyle/>
        <a:p>
          <a:endParaRPr lang="en-US"/>
        </a:p>
      </dgm:t>
    </dgm:pt>
    <dgm:pt modelId="{EBE9BFBC-23B4-4A0D-A499-067A4CDF1808}" type="sibTrans" cxnId="{0DC73377-9CC4-4FBB-8814-B1F416AE09CA}">
      <dgm:prSet/>
      <dgm:spPr/>
      <dgm:t>
        <a:bodyPr/>
        <a:lstStyle/>
        <a:p>
          <a:endParaRPr lang="en-US"/>
        </a:p>
      </dgm:t>
    </dgm:pt>
    <dgm:pt modelId="{BD8D62D0-0390-490E-9A89-278CB9073D47}">
      <dgm:prSet custT="1"/>
      <dgm:spPr/>
      <dgm:t>
        <a:bodyPr/>
        <a:lstStyle/>
        <a:p>
          <a:r>
            <a:rPr lang="en-US" sz="1800" dirty="0"/>
            <a:t>Premium (DTU) and Business Critical (vCore) </a:t>
          </a:r>
        </a:p>
      </dgm:t>
    </dgm:pt>
    <dgm:pt modelId="{CD911A34-43D2-40D7-9AB0-14F5B397D32D}" type="parTrans" cxnId="{9AC02959-E7BD-4AC8-AC82-321B88D35C3F}">
      <dgm:prSet/>
      <dgm:spPr/>
      <dgm:t>
        <a:bodyPr/>
        <a:lstStyle/>
        <a:p>
          <a:endParaRPr lang="en-US"/>
        </a:p>
      </dgm:t>
    </dgm:pt>
    <dgm:pt modelId="{FB32B828-99D4-4BCB-8F2E-59C5D7FAF722}" type="sibTrans" cxnId="{9AC02959-E7BD-4AC8-AC82-321B88D35C3F}">
      <dgm:prSet/>
      <dgm:spPr/>
      <dgm:t>
        <a:bodyPr/>
        <a:lstStyle/>
        <a:p>
          <a:endParaRPr lang="en-US"/>
        </a:p>
      </dgm:t>
    </dgm:pt>
    <dgm:pt modelId="{7315DD2E-7AD9-4F58-9CFA-527A364D3852}">
      <dgm:prSet custT="1"/>
      <dgm:spPr/>
      <dgm:t>
        <a:bodyPr/>
        <a:lstStyle/>
        <a:p>
          <a:r>
            <a:rPr lang="en-US" sz="1800" baseline="0" dirty="0"/>
            <a:t>High availability is implemented using a technology like SQL Server Always On Availability Groups.</a:t>
          </a:r>
          <a:endParaRPr lang="en-US" sz="1800" dirty="0"/>
        </a:p>
      </dgm:t>
    </dgm:pt>
    <dgm:pt modelId="{F1DE4394-0D78-48FE-910B-8AC1CCB4FA33}" type="parTrans" cxnId="{A35E750E-AE34-4EF2-A4F5-606D9B50BAE6}">
      <dgm:prSet/>
      <dgm:spPr/>
      <dgm:t>
        <a:bodyPr/>
        <a:lstStyle/>
        <a:p>
          <a:endParaRPr lang="en-US"/>
        </a:p>
      </dgm:t>
    </dgm:pt>
    <dgm:pt modelId="{FC899FB9-EB79-4998-B390-55864857A713}" type="sibTrans" cxnId="{A35E750E-AE34-4EF2-A4F5-606D9B50BAE6}">
      <dgm:prSet/>
      <dgm:spPr/>
      <dgm:t>
        <a:bodyPr/>
        <a:lstStyle/>
        <a:p>
          <a:endParaRPr lang="en-US"/>
        </a:p>
      </dgm:t>
    </dgm:pt>
    <dgm:pt modelId="{F48283E1-2D60-491B-8064-D08589815E8A}" type="pres">
      <dgm:prSet presAssocID="{C6015BC2-230A-4668-965D-C64085119EEB}" presName="linear" presStyleCnt="0">
        <dgm:presLayoutVars>
          <dgm:animLvl val="lvl"/>
          <dgm:resizeHandles val="exact"/>
        </dgm:presLayoutVars>
      </dgm:prSet>
      <dgm:spPr/>
    </dgm:pt>
    <dgm:pt modelId="{B4A3163D-1879-4D8B-9BA2-452BFAE29D63}" type="pres">
      <dgm:prSet presAssocID="{BD8D62D0-0390-490E-9A89-278CB9073D47}" presName="parentText" presStyleLbl="node1" presStyleIdx="0" presStyleCnt="6">
        <dgm:presLayoutVars>
          <dgm:chMax val="0"/>
          <dgm:bulletEnabled val="1"/>
        </dgm:presLayoutVars>
      </dgm:prSet>
      <dgm:spPr/>
    </dgm:pt>
    <dgm:pt modelId="{05BDF52B-3EE0-4C8B-953D-1EE58A12F7D3}" type="pres">
      <dgm:prSet presAssocID="{FB32B828-99D4-4BCB-8F2E-59C5D7FAF722}" presName="spacer" presStyleCnt="0"/>
      <dgm:spPr/>
    </dgm:pt>
    <dgm:pt modelId="{F42CA42F-8213-4F2B-B1C0-130C4E22641A}" type="pres">
      <dgm:prSet presAssocID="{7315DD2E-7AD9-4F58-9CFA-527A364D3852}" presName="parentText" presStyleLbl="node1" presStyleIdx="1" presStyleCnt="6">
        <dgm:presLayoutVars>
          <dgm:chMax val="0"/>
          <dgm:bulletEnabled val="1"/>
        </dgm:presLayoutVars>
      </dgm:prSet>
      <dgm:spPr/>
    </dgm:pt>
    <dgm:pt modelId="{0B64B0CC-754C-46C4-A03F-FA7BD5179241}" type="pres">
      <dgm:prSet presAssocID="{FC899FB9-EB79-4998-B390-55864857A713}" presName="spacer" presStyleCnt="0"/>
      <dgm:spPr/>
    </dgm:pt>
    <dgm:pt modelId="{B06B420D-62A6-45D3-9F81-785F0ECBC258}" type="pres">
      <dgm:prSet presAssocID="{ED2B4728-74FA-4F14-96AD-093B0FD029DB}" presName="parentText" presStyleLbl="node1" presStyleIdx="2" presStyleCnt="6">
        <dgm:presLayoutVars>
          <dgm:chMax val="0"/>
          <dgm:bulletEnabled val="1"/>
        </dgm:presLayoutVars>
      </dgm:prSet>
      <dgm:spPr/>
    </dgm:pt>
    <dgm:pt modelId="{85472EE0-3D4F-40F9-891B-D262138520B0}" type="pres">
      <dgm:prSet presAssocID="{822F050B-9F8A-40EC-AA0D-00F59B31BBA9}" presName="spacer" presStyleCnt="0"/>
      <dgm:spPr/>
    </dgm:pt>
    <dgm:pt modelId="{BECA90C4-0169-476B-B9CD-10DC1079713E}" type="pres">
      <dgm:prSet presAssocID="{7406D59F-31BD-4E9E-8C05-641D1F1D9A6F}" presName="parentText" presStyleLbl="node1" presStyleIdx="3" presStyleCnt="6">
        <dgm:presLayoutVars>
          <dgm:chMax val="0"/>
          <dgm:bulletEnabled val="1"/>
        </dgm:presLayoutVars>
      </dgm:prSet>
      <dgm:spPr/>
    </dgm:pt>
    <dgm:pt modelId="{514BD7CF-8F20-4753-A64F-84D676566103}" type="pres">
      <dgm:prSet presAssocID="{D3710D8E-7EC1-4447-8223-EDB0265BF6DE}" presName="spacer" presStyleCnt="0"/>
      <dgm:spPr/>
    </dgm:pt>
    <dgm:pt modelId="{830F2B68-0BDA-41F1-B615-45D9E6FFAD20}" type="pres">
      <dgm:prSet presAssocID="{8BBA7D08-0449-4067-BEEA-0120D264B801}" presName="parentText" presStyleLbl="node1" presStyleIdx="4" presStyleCnt="6">
        <dgm:presLayoutVars>
          <dgm:chMax val="0"/>
          <dgm:bulletEnabled val="1"/>
        </dgm:presLayoutVars>
      </dgm:prSet>
      <dgm:spPr/>
    </dgm:pt>
    <dgm:pt modelId="{ECD4A721-E4A9-462E-A128-7F2B8AD2A41F}" type="pres">
      <dgm:prSet presAssocID="{AB05005E-9332-4AE0-8465-32CFCA366FAE}" presName="spacer" presStyleCnt="0"/>
      <dgm:spPr/>
    </dgm:pt>
    <dgm:pt modelId="{B6797D5E-7071-420D-A8A1-F13F83CDA104}" type="pres">
      <dgm:prSet presAssocID="{9B6CD824-3B90-440B-AFC8-1901924E5E4B}" presName="parentText" presStyleLbl="node1" presStyleIdx="5" presStyleCnt="6">
        <dgm:presLayoutVars>
          <dgm:chMax val="0"/>
          <dgm:bulletEnabled val="1"/>
        </dgm:presLayoutVars>
      </dgm:prSet>
      <dgm:spPr/>
    </dgm:pt>
  </dgm:ptLst>
  <dgm:cxnLst>
    <dgm:cxn modelId="{A3103803-A66E-426B-9842-6C58267B5E82}" srcId="{C6015BC2-230A-4668-965D-C64085119EEB}" destId="{ED2B4728-74FA-4F14-96AD-093B0FD029DB}" srcOrd="2" destOrd="0" parTransId="{A2AFBA66-8477-4795-8577-0ED1327A8C46}" sibTransId="{822F050B-9F8A-40EC-AA0D-00F59B31BBA9}"/>
    <dgm:cxn modelId="{A35E750E-AE34-4EF2-A4F5-606D9B50BAE6}" srcId="{C6015BC2-230A-4668-965D-C64085119EEB}" destId="{7315DD2E-7AD9-4F58-9CFA-527A364D3852}" srcOrd="1" destOrd="0" parTransId="{F1DE4394-0D78-48FE-910B-8AC1CCB4FA33}" sibTransId="{FC899FB9-EB79-4998-B390-55864857A713}"/>
    <dgm:cxn modelId="{E30CD917-3BAD-4F49-BE71-ECC7C757CA83}" type="presOf" srcId="{BD8D62D0-0390-490E-9A89-278CB9073D47}" destId="{B4A3163D-1879-4D8B-9BA2-452BFAE29D63}" srcOrd="0" destOrd="0" presId="urn:microsoft.com/office/officeart/2005/8/layout/vList2"/>
    <dgm:cxn modelId="{7290E74C-AA0A-4B51-B362-93809EDF49DC}" type="presOf" srcId="{7315DD2E-7AD9-4F58-9CFA-527A364D3852}" destId="{F42CA42F-8213-4F2B-B1C0-130C4E22641A}" srcOrd="0" destOrd="0" presId="urn:microsoft.com/office/officeart/2005/8/layout/vList2"/>
    <dgm:cxn modelId="{6888D475-73E0-4AEE-A675-042CF5011B90}" type="presOf" srcId="{ED2B4728-74FA-4F14-96AD-093B0FD029DB}" destId="{B06B420D-62A6-45D3-9F81-785F0ECBC258}" srcOrd="0" destOrd="0" presId="urn:microsoft.com/office/officeart/2005/8/layout/vList2"/>
    <dgm:cxn modelId="{FDA5E856-6CC4-49C0-A8AE-D0BEC591F263}" type="presOf" srcId="{8BBA7D08-0449-4067-BEEA-0120D264B801}" destId="{830F2B68-0BDA-41F1-B615-45D9E6FFAD20}" srcOrd="0" destOrd="0" presId="urn:microsoft.com/office/officeart/2005/8/layout/vList2"/>
    <dgm:cxn modelId="{0DC73377-9CC4-4FBB-8814-B1F416AE09CA}" srcId="{C6015BC2-230A-4668-965D-C64085119EEB}" destId="{9B6CD824-3B90-440B-AFC8-1901924E5E4B}" srcOrd="5" destOrd="0" parTransId="{47B2F35D-AF0E-433F-A4BD-0F5A84035F8E}" sibTransId="{EBE9BFBC-23B4-4A0D-A499-067A4CDF1808}"/>
    <dgm:cxn modelId="{9AC02959-E7BD-4AC8-AC82-321B88D35C3F}" srcId="{C6015BC2-230A-4668-965D-C64085119EEB}" destId="{BD8D62D0-0390-490E-9A89-278CB9073D47}" srcOrd="0" destOrd="0" parTransId="{CD911A34-43D2-40D7-9AB0-14F5B397D32D}" sibTransId="{FB32B828-99D4-4BCB-8F2E-59C5D7FAF722}"/>
    <dgm:cxn modelId="{7D8FDA82-57FB-4694-996F-44175E5F0F5A}" srcId="{C6015BC2-230A-4668-965D-C64085119EEB}" destId="{8BBA7D08-0449-4067-BEEA-0120D264B801}" srcOrd="4" destOrd="0" parTransId="{6A81F360-73DF-4893-8D6F-2455253F83ED}" sibTransId="{AB05005E-9332-4AE0-8465-32CFCA366FAE}"/>
    <dgm:cxn modelId="{D19061A0-CC77-4B57-8607-3077D88DF210}" type="presOf" srcId="{C6015BC2-230A-4668-965D-C64085119EEB}" destId="{F48283E1-2D60-491B-8064-D08589815E8A}" srcOrd="0" destOrd="0" presId="urn:microsoft.com/office/officeart/2005/8/layout/vList2"/>
    <dgm:cxn modelId="{B27882AC-5CCE-4FEB-B423-2967B4A22E15}" srcId="{C6015BC2-230A-4668-965D-C64085119EEB}" destId="{7406D59F-31BD-4E9E-8C05-641D1F1D9A6F}" srcOrd="3" destOrd="0" parTransId="{5B28F96C-5792-49AA-931B-1C34E94EF73E}" sibTransId="{D3710D8E-7EC1-4447-8223-EDB0265BF6DE}"/>
    <dgm:cxn modelId="{387951C8-A09F-462D-A006-BE95E82621A9}" type="presOf" srcId="{9B6CD824-3B90-440B-AFC8-1901924E5E4B}" destId="{B6797D5E-7071-420D-A8A1-F13F83CDA104}" srcOrd="0" destOrd="0" presId="urn:microsoft.com/office/officeart/2005/8/layout/vList2"/>
    <dgm:cxn modelId="{692FFED5-1CA0-44B3-BC0A-5797BF00ECD5}" type="presOf" srcId="{7406D59F-31BD-4E9E-8C05-641D1F1D9A6F}" destId="{BECA90C4-0169-476B-B9CD-10DC1079713E}" srcOrd="0" destOrd="0" presId="urn:microsoft.com/office/officeart/2005/8/layout/vList2"/>
    <dgm:cxn modelId="{9F9502B4-1FB8-4E98-B0D9-7A68F679CB36}" type="presParOf" srcId="{F48283E1-2D60-491B-8064-D08589815E8A}" destId="{B4A3163D-1879-4D8B-9BA2-452BFAE29D63}" srcOrd="0" destOrd="0" presId="urn:microsoft.com/office/officeart/2005/8/layout/vList2"/>
    <dgm:cxn modelId="{F42D35DC-3685-472B-BE85-29C31E6A1624}" type="presParOf" srcId="{F48283E1-2D60-491B-8064-D08589815E8A}" destId="{05BDF52B-3EE0-4C8B-953D-1EE58A12F7D3}" srcOrd="1" destOrd="0" presId="urn:microsoft.com/office/officeart/2005/8/layout/vList2"/>
    <dgm:cxn modelId="{9878E2F1-A58C-48FA-A0EA-82D3924EF859}" type="presParOf" srcId="{F48283E1-2D60-491B-8064-D08589815E8A}" destId="{F42CA42F-8213-4F2B-B1C0-130C4E22641A}" srcOrd="2" destOrd="0" presId="urn:microsoft.com/office/officeart/2005/8/layout/vList2"/>
    <dgm:cxn modelId="{9BF39CE8-8D01-4394-9A04-ADEBC9AB827A}" type="presParOf" srcId="{F48283E1-2D60-491B-8064-D08589815E8A}" destId="{0B64B0CC-754C-46C4-A03F-FA7BD5179241}" srcOrd="3" destOrd="0" presId="urn:microsoft.com/office/officeart/2005/8/layout/vList2"/>
    <dgm:cxn modelId="{A88887EE-4522-4A28-B0A4-6A910D7CB954}" type="presParOf" srcId="{F48283E1-2D60-491B-8064-D08589815E8A}" destId="{B06B420D-62A6-45D3-9F81-785F0ECBC258}" srcOrd="4" destOrd="0" presId="urn:microsoft.com/office/officeart/2005/8/layout/vList2"/>
    <dgm:cxn modelId="{FA41CD7B-86AB-4773-A5F9-9C754C01918F}" type="presParOf" srcId="{F48283E1-2D60-491B-8064-D08589815E8A}" destId="{85472EE0-3D4F-40F9-891B-D262138520B0}" srcOrd="5" destOrd="0" presId="urn:microsoft.com/office/officeart/2005/8/layout/vList2"/>
    <dgm:cxn modelId="{27CBE3A8-F338-4AD8-A767-11CC896A63D1}" type="presParOf" srcId="{F48283E1-2D60-491B-8064-D08589815E8A}" destId="{BECA90C4-0169-476B-B9CD-10DC1079713E}" srcOrd="6" destOrd="0" presId="urn:microsoft.com/office/officeart/2005/8/layout/vList2"/>
    <dgm:cxn modelId="{A9B29A08-670F-45E6-86A7-483827F56EC7}" type="presParOf" srcId="{F48283E1-2D60-491B-8064-D08589815E8A}" destId="{514BD7CF-8F20-4753-A64F-84D676566103}" srcOrd="7" destOrd="0" presId="urn:microsoft.com/office/officeart/2005/8/layout/vList2"/>
    <dgm:cxn modelId="{2BDC8692-20A3-415D-9AF7-7EFC9245B759}" type="presParOf" srcId="{F48283E1-2D60-491B-8064-D08589815E8A}" destId="{830F2B68-0BDA-41F1-B615-45D9E6FFAD20}" srcOrd="8" destOrd="0" presId="urn:microsoft.com/office/officeart/2005/8/layout/vList2"/>
    <dgm:cxn modelId="{3DAD125A-EE53-4149-A7E7-831982904568}" type="presParOf" srcId="{F48283E1-2D60-491B-8064-D08589815E8A}" destId="{ECD4A721-E4A9-462E-A128-7F2B8AD2A41F}" srcOrd="9" destOrd="0" presId="urn:microsoft.com/office/officeart/2005/8/layout/vList2"/>
    <dgm:cxn modelId="{BC84AA23-F6CD-4ABF-94B8-698250F89D84}" type="presParOf" srcId="{F48283E1-2D60-491B-8064-D08589815E8A}" destId="{B6797D5E-7071-420D-A8A1-F13F83CDA104}"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2F055CC-86C6-4B6E-8345-5E42B5CF4A52}"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en-US"/>
        </a:p>
      </dgm:t>
    </dgm:pt>
    <dgm:pt modelId="{22F90170-BBCD-4E15-A0A2-C116DB9C4CFC}">
      <dgm:prSet custT="1"/>
      <dgm:spPr/>
      <dgm:t>
        <a:bodyPr/>
        <a:lstStyle/>
        <a:p>
          <a:r>
            <a:rPr lang="en-US" sz="1800" baseline="0" dirty="0"/>
            <a:t>Read Scale-Out redirects the read-only client connections to one of the ready-only replicas available instead of sharing the read-write replica.</a:t>
          </a:r>
          <a:endParaRPr lang="en-US" sz="1800" dirty="0"/>
        </a:p>
      </dgm:t>
    </dgm:pt>
    <dgm:pt modelId="{C4072278-90D8-4661-A6C6-CD9892FE8B64}" type="parTrans" cxnId="{C8948F2B-B646-4AC4-B87E-C711DCA1AA46}">
      <dgm:prSet/>
      <dgm:spPr/>
      <dgm:t>
        <a:bodyPr/>
        <a:lstStyle/>
        <a:p>
          <a:endParaRPr lang="en-US"/>
        </a:p>
      </dgm:t>
    </dgm:pt>
    <dgm:pt modelId="{3EC3167D-671A-4863-90D1-DB121ABA7FC5}" type="sibTrans" cxnId="{C8948F2B-B646-4AC4-B87E-C711DCA1AA46}">
      <dgm:prSet/>
      <dgm:spPr/>
      <dgm:t>
        <a:bodyPr/>
        <a:lstStyle/>
        <a:p>
          <a:endParaRPr lang="en-US"/>
        </a:p>
      </dgm:t>
    </dgm:pt>
    <dgm:pt modelId="{7B542F83-6CED-4700-9961-08C6CD19CF83}">
      <dgm:prSet custT="1"/>
      <dgm:spPr/>
      <dgm:t>
        <a:bodyPr/>
        <a:lstStyle/>
        <a:p>
          <a:r>
            <a:rPr lang="en-US" sz="1800" baseline="0" dirty="0"/>
            <a:t>Effectively isolate the read-only workload from the main read-write workload and doubles the compute capacity of the database or elastic pool at no additional charge.</a:t>
          </a:r>
          <a:endParaRPr lang="en-US" sz="1800" dirty="0"/>
        </a:p>
      </dgm:t>
    </dgm:pt>
    <dgm:pt modelId="{9370604B-9E0D-46A7-9E6D-08D068975603}" type="parTrans" cxnId="{A074450F-0F6A-4EFF-9285-0083838FC028}">
      <dgm:prSet/>
      <dgm:spPr/>
      <dgm:t>
        <a:bodyPr/>
        <a:lstStyle/>
        <a:p>
          <a:endParaRPr lang="en-US"/>
        </a:p>
      </dgm:t>
    </dgm:pt>
    <dgm:pt modelId="{148B714B-B1A2-4DA1-958F-89740FE1F58E}" type="sibTrans" cxnId="{A074450F-0F6A-4EFF-9285-0083838FC028}">
      <dgm:prSet/>
      <dgm:spPr/>
      <dgm:t>
        <a:bodyPr/>
        <a:lstStyle/>
        <a:p>
          <a:endParaRPr lang="en-US"/>
        </a:p>
      </dgm:t>
    </dgm:pt>
    <dgm:pt modelId="{3F8647A3-97C4-4243-9575-A2EF1A97125D}">
      <dgm:prSet custT="1"/>
      <dgm:spPr/>
      <dgm:t>
        <a:bodyPr/>
        <a:lstStyle/>
        <a:p>
          <a:r>
            <a:rPr lang="en-US" sz="1800" baseline="0" dirty="0"/>
            <a:t>This is ideal to scale-out for complex analytical workloads without affecting the primary OLTP workload.</a:t>
          </a:r>
          <a:endParaRPr lang="en-US" sz="1800" dirty="0"/>
        </a:p>
      </dgm:t>
    </dgm:pt>
    <dgm:pt modelId="{FDA2CBA7-E507-4226-B016-1E454F5E9041}" type="parTrans" cxnId="{28B03595-344C-4B07-B5A1-D9C2081BEAF8}">
      <dgm:prSet/>
      <dgm:spPr/>
      <dgm:t>
        <a:bodyPr/>
        <a:lstStyle/>
        <a:p>
          <a:endParaRPr lang="en-US"/>
        </a:p>
      </dgm:t>
    </dgm:pt>
    <dgm:pt modelId="{C40153EA-B673-49CD-8930-A920D84655D8}" type="sibTrans" cxnId="{28B03595-344C-4B07-B5A1-D9C2081BEAF8}">
      <dgm:prSet/>
      <dgm:spPr/>
      <dgm:t>
        <a:bodyPr/>
        <a:lstStyle/>
        <a:p>
          <a:endParaRPr lang="en-US"/>
        </a:p>
      </dgm:t>
    </dgm:pt>
    <dgm:pt modelId="{69FF448A-52B5-43A5-AA48-71967816ED0B}">
      <dgm:prSet custT="1"/>
      <dgm:spPr/>
      <dgm:t>
        <a:bodyPr/>
        <a:lstStyle/>
        <a:p>
          <a:r>
            <a:rPr lang="en-US" sz="1800" baseline="0"/>
            <a:t>Use </a:t>
          </a:r>
          <a:r>
            <a:rPr lang="en-US" sz="1800" b="1" baseline="0"/>
            <a:t>ApplicationIntent=ReadOnly</a:t>
          </a:r>
          <a:r>
            <a:rPr lang="en-US" sz="1800" baseline="0"/>
            <a:t>; to connect to the read-only replica.</a:t>
          </a:r>
          <a:endParaRPr lang="en-US" sz="1800" dirty="0"/>
        </a:p>
      </dgm:t>
    </dgm:pt>
    <dgm:pt modelId="{3C8E4EAF-7F7F-4335-8ED3-85F81F7C103C}" type="parTrans" cxnId="{70EF7545-0606-450F-A239-692A36E5D695}">
      <dgm:prSet/>
      <dgm:spPr/>
      <dgm:t>
        <a:bodyPr/>
        <a:lstStyle/>
        <a:p>
          <a:endParaRPr lang="en-US"/>
        </a:p>
      </dgm:t>
    </dgm:pt>
    <dgm:pt modelId="{FA871F03-544D-42F2-A02C-A4B86E72CA59}" type="sibTrans" cxnId="{70EF7545-0606-450F-A239-692A36E5D695}">
      <dgm:prSet/>
      <dgm:spPr/>
      <dgm:t>
        <a:bodyPr/>
        <a:lstStyle/>
        <a:p>
          <a:endParaRPr lang="en-US"/>
        </a:p>
      </dgm:t>
    </dgm:pt>
    <dgm:pt modelId="{59328557-3CD3-4475-A430-6CB919E1C6C4}" type="pres">
      <dgm:prSet presAssocID="{72F055CC-86C6-4B6E-8345-5E42B5CF4A52}" presName="linear" presStyleCnt="0">
        <dgm:presLayoutVars>
          <dgm:animLvl val="lvl"/>
          <dgm:resizeHandles val="exact"/>
        </dgm:presLayoutVars>
      </dgm:prSet>
      <dgm:spPr/>
    </dgm:pt>
    <dgm:pt modelId="{55F58ECE-E330-4A66-8ACD-CC97126ECAFB}" type="pres">
      <dgm:prSet presAssocID="{22F90170-BBCD-4E15-A0A2-C116DB9C4CFC}" presName="parentText" presStyleLbl="node1" presStyleIdx="0" presStyleCnt="4">
        <dgm:presLayoutVars>
          <dgm:chMax val="0"/>
          <dgm:bulletEnabled val="1"/>
        </dgm:presLayoutVars>
      </dgm:prSet>
      <dgm:spPr/>
    </dgm:pt>
    <dgm:pt modelId="{6F3C5689-8279-4D04-A2E4-88F09AA868B7}" type="pres">
      <dgm:prSet presAssocID="{3EC3167D-671A-4863-90D1-DB121ABA7FC5}" presName="spacer" presStyleCnt="0"/>
      <dgm:spPr/>
    </dgm:pt>
    <dgm:pt modelId="{651DBB4B-8CC4-4D09-8D99-D9B8643C675B}" type="pres">
      <dgm:prSet presAssocID="{69FF448A-52B5-43A5-AA48-71967816ED0B}" presName="parentText" presStyleLbl="node1" presStyleIdx="1" presStyleCnt="4">
        <dgm:presLayoutVars>
          <dgm:chMax val="0"/>
          <dgm:bulletEnabled val="1"/>
        </dgm:presLayoutVars>
      </dgm:prSet>
      <dgm:spPr/>
    </dgm:pt>
    <dgm:pt modelId="{683F6EA8-6E35-46C2-810A-48800DF14B26}" type="pres">
      <dgm:prSet presAssocID="{FA871F03-544D-42F2-A02C-A4B86E72CA59}" presName="spacer" presStyleCnt="0"/>
      <dgm:spPr/>
    </dgm:pt>
    <dgm:pt modelId="{D3F384AA-85F2-4B08-B574-A483E80232AD}" type="pres">
      <dgm:prSet presAssocID="{7B542F83-6CED-4700-9961-08C6CD19CF83}" presName="parentText" presStyleLbl="node1" presStyleIdx="2" presStyleCnt="4">
        <dgm:presLayoutVars>
          <dgm:chMax val="0"/>
          <dgm:bulletEnabled val="1"/>
        </dgm:presLayoutVars>
      </dgm:prSet>
      <dgm:spPr/>
    </dgm:pt>
    <dgm:pt modelId="{7623D323-05E2-43D1-B6B3-C8A848D12A0D}" type="pres">
      <dgm:prSet presAssocID="{148B714B-B1A2-4DA1-958F-89740FE1F58E}" presName="spacer" presStyleCnt="0"/>
      <dgm:spPr/>
    </dgm:pt>
    <dgm:pt modelId="{24E8AE9F-B2AC-4814-AFA5-0F6C69A7DFC0}" type="pres">
      <dgm:prSet presAssocID="{3F8647A3-97C4-4243-9575-A2EF1A97125D}" presName="parentText" presStyleLbl="node1" presStyleIdx="3" presStyleCnt="4">
        <dgm:presLayoutVars>
          <dgm:chMax val="0"/>
          <dgm:bulletEnabled val="1"/>
        </dgm:presLayoutVars>
      </dgm:prSet>
      <dgm:spPr/>
    </dgm:pt>
  </dgm:ptLst>
  <dgm:cxnLst>
    <dgm:cxn modelId="{A074450F-0F6A-4EFF-9285-0083838FC028}" srcId="{72F055CC-86C6-4B6E-8345-5E42B5CF4A52}" destId="{7B542F83-6CED-4700-9961-08C6CD19CF83}" srcOrd="2" destOrd="0" parTransId="{9370604B-9E0D-46A7-9E6D-08D068975603}" sibTransId="{148B714B-B1A2-4DA1-958F-89740FE1F58E}"/>
    <dgm:cxn modelId="{A6781619-D719-4BC6-AD55-ED4E4C413968}" type="presOf" srcId="{72F055CC-86C6-4B6E-8345-5E42B5CF4A52}" destId="{59328557-3CD3-4475-A430-6CB919E1C6C4}" srcOrd="0" destOrd="0" presId="urn:microsoft.com/office/officeart/2005/8/layout/vList2"/>
    <dgm:cxn modelId="{C8948F2B-B646-4AC4-B87E-C711DCA1AA46}" srcId="{72F055CC-86C6-4B6E-8345-5E42B5CF4A52}" destId="{22F90170-BBCD-4E15-A0A2-C116DB9C4CFC}" srcOrd="0" destOrd="0" parTransId="{C4072278-90D8-4661-A6C6-CD9892FE8B64}" sibTransId="{3EC3167D-671A-4863-90D1-DB121ABA7FC5}"/>
    <dgm:cxn modelId="{669FEB60-1980-499D-B1AD-700905A1C051}" type="presOf" srcId="{7B542F83-6CED-4700-9961-08C6CD19CF83}" destId="{D3F384AA-85F2-4B08-B574-A483E80232AD}" srcOrd="0" destOrd="0" presId="urn:microsoft.com/office/officeart/2005/8/layout/vList2"/>
    <dgm:cxn modelId="{70EF7545-0606-450F-A239-692A36E5D695}" srcId="{72F055CC-86C6-4B6E-8345-5E42B5CF4A52}" destId="{69FF448A-52B5-43A5-AA48-71967816ED0B}" srcOrd="1" destOrd="0" parTransId="{3C8E4EAF-7F7F-4335-8ED3-85F81F7C103C}" sibTransId="{FA871F03-544D-42F2-A02C-A4B86E72CA59}"/>
    <dgm:cxn modelId="{7928B689-267B-4C12-BC75-2A2AA4D17753}" type="presOf" srcId="{3F8647A3-97C4-4243-9575-A2EF1A97125D}" destId="{24E8AE9F-B2AC-4814-AFA5-0F6C69A7DFC0}" srcOrd="0" destOrd="0" presId="urn:microsoft.com/office/officeart/2005/8/layout/vList2"/>
    <dgm:cxn modelId="{28B03595-344C-4B07-B5A1-D9C2081BEAF8}" srcId="{72F055CC-86C6-4B6E-8345-5E42B5CF4A52}" destId="{3F8647A3-97C4-4243-9575-A2EF1A97125D}" srcOrd="3" destOrd="0" parTransId="{FDA2CBA7-E507-4226-B016-1E454F5E9041}" sibTransId="{C40153EA-B673-49CD-8930-A920D84655D8}"/>
    <dgm:cxn modelId="{30EC86C0-F9F6-4922-8EA0-B9DD25E36FA1}" type="presOf" srcId="{22F90170-BBCD-4E15-A0A2-C116DB9C4CFC}" destId="{55F58ECE-E330-4A66-8ACD-CC97126ECAFB}" srcOrd="0" destOrd="0" presId="urn:microsoft.com/office/officeart/2005/8/layout/vList2"/>
    <dgm:cxn modelId="{EE5AECE0-0DAF-44BC-A0A1-98DF1A9A01FF}" type="presOf" srcId="{69FF448A-52B5-43A5-AA48-71967816ED0B}" destId="{651DBB4B-8CC4-4D09-8D99-D9B8643C675B}" srcOrd="0" destOrd="0" presId="urn:microsoft.com/office/officeart/2005/8/layout/vList2"/>
    <dgm:cxn modelId="{4D892DAD-C91C-4027-B12D-80052FBC3235}" type="presParOf" srcId="{59328557-3CD3-4475-A430-6CB919E1C6C4}" destId="{55F58ECE-E330-4A66-8ACD-CC97126ECAFB}" srcOrd="0" destOrd="0" presId="urn:microsoft.com/office/officeart/2005/8/layout/vList2"/>
    <dgm:cxn modelId="{2DB4608C-C2AC-4D87-A6BC-9ACA2CA3C843}" type="presParOf" srcId="{59328557-3CD3-4475-A430-6CB919E1C6C4}" destId="{6F3C5689-8279-4D04-A2E4-88F09AA868B7}" srcOrd="1" destOrd="0" presId="urn:microsoft.com/office/officeart/2005/8/layout/vList2"/>
    <dgm:cxn modelId="{89502B48-84A7-4E52-979C-1D62EAE096C6}" type="presParOf" srcId="{59328557-3CD3-4475-A430-6CB919E1C6C4}" destId="{651DBB4B-8CC4-4D09-8D99-D9B8643C675B}" srcOrd="2" destOrd="0" presId="urn:microsoft.com/office/officeart/2005/8/layout/vList2"/>
    <dgm:cxn modelId="{545FA815-4DA9-47AA-80AC-CD1D0787792E}" type="presParOf" srcId="{59328557-3CD3-4475-A430-6CB919E1C6C4}" destId="{683F6EA8-6E35-46C2-810A-48800DF14B26}" srcOrd="3" destOrd="0" presId="urn:microsoft.com/office/officeart/2005/8/layout/vList2"/>
    <dgm:cxn modelId="{A7E57EF5-4F6D-46CB-A432-93F0F83C7500}" type="presParOf" srcId="{59328557-3CD3-4475-A430-6CB919E1C6C4}" destId="{D3F384AA-85F2-4B08-B574-A483E80232AD}" srcOrd="4" destOrd="0" presId="urn:microsoft.com/office/officeart/2005/8/layout/vList2"/>
    <dgm:cxn modelId="{20C3C86B-1C33-4FBE-87A8-39D35EC3B3CD}" type="presParOf" srcId="{59328557-3CD3-4475-A430-6CB919E1C6C4}" destId="{7623D323-05E2-43D1-B6B3-C8A848D12A0D}" srcOrd="5" destOrd="0" presId="urn:microsoft.com/office/officeart/2005/8/layout/vList2"/>
    <dgm:cxn modelId="{0F15EFE1-2F8C-4617-AA1F-C7E73D4A32FE}" type="presParOf" srcId="{59328557-3CD3-4475-A430-6CB919E1C6C4}" destId="{24E8AE9F-B2AC-4814-AFA5-0F6C69A7DFC0}"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9B0D8D2-F82E-49DD-9E30-5F3FC240D8A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311DC26-6500-42A0-8E5C-0312FB04FEFA}">
      <dgm:prSet/>
      <dgm:spPr/>
      <dgm:t>
        <a:bodyPr/>
        <a:lstStyle/>
        <a:p>
          <a:r>
            <a:rPr lang="en-US" b="0" i="0" dirty="0"/>
            <a:t>SQL Database can place different replicas of the Business-Critical database to different availability zones in the same region.</a:t>
          </a:r>
          <a:endParaRPr lang="en-US" dirty="0"/>
        </a:p>
      </dgm:t>
    </dgm:pt>
    <dgm:pt modelId="{CF5C6A0B-FFCC-43C7-B4DD-DDE041ED47F8}" type="parTrans" cxnId="{53061988-F685-49C5-8DED-D0B7BF5F33DA}">
      <dgm:prSet/>
      <dgm:spPr/>
      <dgm:t>
        <a:bodyPr/>
        <a:lstStyle/>
        <a:p>
          <a:endParaRPr lang="en-US"/>
        </a:p>
      </dgm:t>
    </dgm:pt>
    <dgm:pt modelId="{C0009734-DEAA-4E41-B25D-0D4BD01A35C9}" type="sibTrans" cxnId="{53061988-F685-49C5-8DED-D0B7BF5F33DA}">
      <dgm:prSet/>
      <dgm:spPr/>
      <dgm:t>
        <a:bodyPr/>
        <a:lstStyle/>
        <a:p>
          <a:endParaRPr lang="en-US"/>
        </a:p>
      </dgm:t>
    </dgm:pt>
    <dgm:pt modelId="{BF52F1A7-A146-4EA3-B49B-BEA0992F816A}">
      <dgm:prSet/>
      <dgm:spPr/>
      <dgm:t>
        <a:bodyPr/>
        <a:lstStyle/>
        <a:p>
          <a:r>
            <a:rPr lang="en-US" dirty="0"/>
            <a:t>The routing is controlled by Azure Traffic Manager (ATM). </a:t>
          </a:r>
        </a:p>
      </dgm:t>
    </dgm:pt>
    <dgm:pt modelId="{78D947B1-4608-4D7C-813F-7D4A708FD797}" type="parTrans" cxnId="{82F92C35-61F3-4182-A54D-8B53CEBAEAB0}">
      <dgm:prSet/>
      <dgm:spPr/>
      <dgm:t>
        <a:bodyPr/>
        <a:lstStyle/>
        <a:p>
          <a:endParaRPr lang="en-US"/>
        </a:p>
      </dgm:t>
    </dgm:pt>
    <dgm:pt modelId="{F49C283C-D86E-4047-B667-6F97C0388E1E}" type="sibTrans" cxnId="{82F92C35-61F3-4182-A54D-8B53CEBAEAB0}">
      <dgm:prSet/>
      <dgm:spPr/>
      <dgm:t>
        <a:bodyPr/>
        <a:lstStyle/>
        <a:p>
          <a:endParaRPr lang="en-US"/>
        </a:p>
      </dgm:t>
    </dgm:pt>
    <dgm:pt modelId="{B91C09EC-8828-416B-B0C2-9DC218ADECA9}">
      <dgm:prSet/>
      <dgm:spPr/>
      <dgm:t>
        <a:bodyPr/>
        <a:lstStyle/>
        <a:p>
          <a:r>
            <a:rPr lang="en-US" dirty="0"/>
            <a:t>The zone redundant databases have replicas in different datacenters with some distance between them, the increased network latency may impact the performance.</a:t>
          </a:r>
        </a:p>
      </dgm:t>
    </dgm:pt>
    <dgm:pt modelId="{C9A719B2-032A-41B6-90C8-97316964B300}" type="parTrans" cxnId="{68E56171-164D-413A-83B1-ECED9C3464EF}">
      <dgm:prSet/>
      <dgm:spPr/>
      <dgm:t>
        <a:bodyPr/>
        <a:lstStyle/>
        <a:p>
          <a:endParaRPr lang="en-US"/>
        </a:p>
      </dgm:t>
    </dgm:pt>
    <dgm:pt modelId="{18F614D6-4A99-4A2B-AAAC-813F59A4A031}" type="sibTrans" cxnId="{68E56171-164D-413A-83B1-ECED9C3464EF}">
      <dgm:prSet/>
      <dgm:spPr/>
      <dgm:t>
        <a:bodyPr/>
        <a:lstStyle/>
        <a:p>
          <a:endParaRPr lang="en-US"/>
        </a:p>
      </dgm:t>
    </dgm:pt>
    <dgm:pt modelId="{6555DFCE-BA83-4195-8A88-0EEA911699D7}">
      <dgm:prSet/>
      <dgm:spPr/>
      <dgm:t>
        <a:bodyPr/>
        <a:lstStyle/>
        <a:p>
          <a:r>
            <a:rPr lang="en-US" baseline="0" dirty="0"/>
            <a:t>Zone redundant configurations are  available in the Premium, Business Critical, General Purpose and Hyperscale Service Tiers</a:t>
          </a:r>
          <a:endParaRPr lang="en-US" dirty="0"/>
        </a:p>
      </dgm:t>
    </dgm:pt>
    <dgm:pt modelId="{B919E5A2-B78D-48F4-B731-A88269207D9B}" type="parTrans" cxnId="{772FFF80-E2B1-4AA1-85B7-89C3F9C1E727}">
      <dgm:prSet/>
      <dgm:spPr/>
      <dgm:t>
        <a:bodyPr/>
        <a:lstStyle/>
        <a:p>
          <a:endParaRPr lang="en-US"/>
        </a:p>
      </dgm:t>
    </dgm:pt>
    <dgm:pt modelId="{45399E6B-2262-477D-832B-2911FC30DA4A}" type="sibTrans" cxnId="{772FFF80-E2B1-4AA1-85B7-89C3F9C1E727}">
      <dgm:prSet/>
      <dgm:spPr/>
      <dgm:t>
        <a:bodyPr/>
        <a:lstStyle/>
        <a:p>
          <a:endParaRPr lang="en-US"/>
        </a:p>
      </dgm:t>
    </dgm:pt>
    <dgm:pt modelId="{59C9C713-151B-46D4-AD3F-24C7FF0BE83C}" type="pres">
      <dgm:prSet presAssocID="{69B0D8D2-F82E-49DD-9E30-5F3FC240D8A0}" presName="linear" presStyleCnt="0">
        <dgm:presLayoutVars>
          <dgm:animLvl val="lvl"/>
          <dgm:resizeHandles val="exact"/>
        </dgm:presLayoutVars>
      </dgm:prSet>
      <dgm:spPr/>
    </dgm:pt>
    <dgm:pt modelId="{A2150C90-4557-4E51-9601-49BD483DC06D}" type="pres">
      <dgm:prSet presAssocID="{6555DFCE-BA83-4195-8A88-0EEA911699D7}" presName="parentText" presStyleLbl="node1" presStyleIdx="0" presStyleCnt="4">
        <dgm:presLayoutVars>
          <dgm:chMax val="0"/>
          <dgm:bulletEnabled val="1"/>
        </dgm:presLayoutVars>
      </dgm:prSet>
      <dgm:spPr/>
    </dgm:pt>
    <dgm:pt modelId="{460FA802-BB40-4987-B832-7DFA8456C4D9}" type="pres">
      <dgm:prSet presAssocID="{45399E6B-2262-477D-832B-2911FC30DA4A}" presName="spacer" presStyleCnt="0"/>
      <dgm:spPr/>
    </dgm:pt>
    <dgm:pt modelId="{BE7AC363-275C-4D69-9598-B69A7310C7CB}" type="pres">
      <dgm:prSet presAssocID="{8311DC26-6500-42A0-8E5C-0312FB04FEFA}" presName="parentText" presStyleLbl="node1" presStyleIdx="1" presStyleCnt="4">
        <dgm:presLayoutVars>
          <dgm:chMax val="0"/>
          <dgm:bulletEnabled val="1"/>
        </dgm:presLayoutVars>
      </dgm:prSet>
      <dgm:spPr/>
    </dgm:pt>
    <dgm:pt modelId="{C04108B2-F91A-4C99-8524-BCC9BF5B85F3}" type="pres">
      <dgm:prSet presAssocID="{C0009734-DEAA-4E41-B25D-0D4BD01A35C9}" presName="spacer" presStyleCnt="0"/>
      <dgm:spPr/>
    </dgm:pt>
    <dgm:pt modelId="{EA816DA8-16B2-491E-982A-E36D7B2BFC13}" type="pres">
      <dgm:prSet presAssocID="{BF52F1A7-A146-4EA3-B49B-BEA0992F816A}" presName="parentText" presStyleLbl="node1" presStyleIdx="2" presStyleCnt="4">
        <dgm:presLayoutVars>
          <dgm:chMax val="0"/>
          <dgm:bulletEnabled val="1"/>
        </dgm:presLayoutVars>
      </dgm:prSet>
      <dgm:spPr/>
    </dgm:pt>
    <dgm:pt modelId="{A373F27E-34D7-4995-87E2-217329038DE4}" type="pres">
      <dgm:prSet presAssocID="{F49C283C-D86E-4047-B667-6F97C0388E1E}" presName="spacer" presStyleCnt="0"/>
      <dgm:spPr/>
    </dgm:pt>
    <dgm:pt modelId="{7F4B4DDA-AD1B-47B1-B8C7-B012B21334C2}" type="pres">
      <dgm:prSet presAssocID="{B91C09EC-8828-416B-B0C2-9DC218ADECA9}" presName="parentText" presStyleLbl="node1" presStyleIdx="3" presStyleCnt="4">
        <dgm:presLayoutVars>
          <dgm:chMax val="0"/>
          <dgm:bulletEnabled val="1"/>
        </dgm:presLayoutVars>
      </dgm:prSet>
      <dgm:spPr/>
    </dgm:pt>
  </dgm:ptLst>
  <dgm:cxnLst>
    <dgm:cxn modelId="{82F92C35-61F3-4182-A54D-8B53CEBAEAB0}" srcId="{69B0D8D2-F82E-49DD-9E30-5F3FC240D8A0}" destId="{BF52F1A7-A146-4EA3-B49B-BEA0992F816A}" srcOrd="2" destOrd="0" parTransId="{78D947B1-4608-4D7C-813F-7D4A708FD797}" sibTransId="{F49C283C-D86E-4047-B667-6F97C0388E1E}"/>
    <dgm:cxn modelId="{DAD2984A-0650-4879-98FE-715029D2239A}" type="presOf" srcId="{BF52F1A7-A146-4EA3-B49B-BEA0992F816A}" destId="{EA816DA8-16B2-491E-982A-E36D7B2BFC13}" srcOrd="0" destOrd="0" presId="urn:microsoft.com/office/officeart/2005/8/layout/vList2"/>
    <dgm:cxn modelId="{68E56171-164D-413A-83B1-ECED9C3464EF}" srcId="{69B0D8D2-F82E-49DD-9E30-5F3FC240D8A0}" destId="{B91C09EC-8828-416B-B0C2-9DC218ADECA9}" srcOrd="3" destOrd="0" parTransId="{C9A719B2-032A-41B6-90C8-97316964B300}" sibTransId="{18F614D6-4A99-4A2B-AAAC-813F59A4A031}"/>
    <dgm:cxn modelId="{A99BA251-6459-4CC4-9898-C5FEC6987E97}" type="presOf" srcId="{8311DC26-6500-42A0-8E5C-0312FB04FEFA}" destId="{BE7AC363-275C-4D69-9598-B69A7310C7CB}" srcOrd="0" destOrd="0" presId="urn:microsoft.com/office/officeart/2005/8/layout/vList2"/>
    <dgm:cxn modelId="{17280157-A958-48D7-8925-3AC8691D89A4}" type="presOf" srcId="{69B0D8D2-F82E-49DD-9E30-5F3FC240D8A0}" destId="{59C9C713-151B-46D4-AD3F-24C7FF0BE83C}" srcOrd="0" destOrd="0" presId="urn:microsoft.com/office/officeart/2005/8/layout/vList2"/>
    <dgm:cxn modelId="{772FFF80-E2B1-4AA1-85B7-89C3F9C1E727}" srcId="{69B0D8D2-F82E-49DD-9E30-5F3FC240D8A0}" destId="{6555DFCE-BA83-4195-8A88-0EEA911699D7}" srcOrd="0" destOrd="0" parTransId="{B919E5A2-B78D-48F4-B731-A88269207D9B}" sibTransId="{45399E6B-2262-477D-832B-2911FC30DA4A}"/>
    <dgm:cxn modelId="{53061988-F685-49C5-8DED-D0B7BF5F33DA}" srcId="{69B0D8D2-F82E-49DD-9E30-5F3FC240D8A0}" destId="{8311DC26-6500-42A0-8E5C-0312FB04FEFA}" srcOrd="1" destOrd="0" parTransId="{CF5C6A0B-FFCC-43C7-B4DD-DDE041ED47F8}" sibTransId="{C0009734-DEAA-4E41-B25D-0D4BD01A35C9}"/>
    <dgm:cxn modelId="{917A42E8-31B6-442C-A1C1-E7AECCF9EAFD}" type="presOf" srcId="{B91C09EC-8828-416B-B0C2-9DC218ADECA9}" destId="{7F4B4DDA-AD1B-47B1-B8C7-B012B21334C2}" srcOrd="0" destOrd="0" presId="urn:microsoft.com/office/officeart/2005/8/layout/vList2"/>
    <dgm:cxn modelId="{6D03C0FD-7B8C-4A03-A5F7-29CE4E07B8FB}" type="presOf" srcId="{6555DFCE-BA83-4195-8A88-0EEA911699D7}" destId="{A2150C90-4557-4E51-9601-49BD483DC06D}" srcOrd="0" destOrd="0" presId="urn:microsoft.com/office/officeart/2005/8/layout/vList2"/>
    <dgm:cxn modelId="{0A6FF382-4A65-4833-B721-690C8CCBED9F}" type="presParOf" srcId="{59C9C713-151B-46D4-AD3F-24C7FF0BE83C}" destId="{A2150C90-4557-4E51-9601-49BD483DC06D}" srcOrd="0" destOrd="0" presId="urn:microsoft.com/office/officeart/2005/8/layout/vList2"/>
    <dgm:cxn modelId="{65B78EF8-8EE3-472D-B98E-7E12B71A7C41}" type="presParOf" srcId="{59C9C713-151B-46D4-AD3F-24C7FF0BE83C}" destId="{460FA802-BB40-4987-B832-7DFA8456C4D9}" srcOrd="1" destOrd="0" presId="urn:microsoft.com/office/officeart/2005/8/layout/vList2"/>
    <dgm:cxn modelId="{3A01BC72-4A1F-44BA-959A-B8B8C96B1D0E}" type="presParOf" srcId="{59C9C713-151B-46D4-AD3F-24C7FF0BE83C}" destId="{BE7AC363-275C-4D69-9598-B69A7310C7CB}" srcOrd="2" destOrd="0" presId="urn:microsoft.com/office/officeart/2005/8/layout/vList2"/>
    <dgm:cxn modelId="{65C6F759-1AFD-49D1-BA87-68FA902BBA12}" type="presParOf" srcId="{59C9C713-151B-46D4-AD3F-24C7FF0BE83C}" destId="{C04108B2-F91A-4C99-8524-BCC9BF5B85F3}" srcOrd="3" destOrd="0" presId="urn:microsoft.com/office/officeart/2005/8/layout/vList2"/>
    <dgm:cxn modelId="{9B77241A-E0D0-4175-A438-735D0A66454B}" type="presParOf" srcId="{59C9C713-151B-46D4-AD3F-24C7FF0BE83C}" destId="{EA816DA8-16B2-491E-982A-E36D7B2BFC13}" srcOrd="4" destOrd="0" presId="urn:microsoft.com/office/officeart/2005/8/layout/vList2"/>
    <dgm:cxn modelId="{3976D23B-E969-4C31-AD19-8C7D96036337}" type="presParOf" srcId="{59C9C713-151B-46D4-AD3F-24C7FF0BE83C}" destId="{A373F27E-34D7-4995-87E2-217329038DE4}" srcOrd="5" destOrd="0" presId="urn:microsoft.com/office/officeart/2005/8/layout/vList2"/>
    <dgm:cxn modelId="{41F181FF-BFDE-405E-9EF7-7927006EE570}" type="presParOf" srcId="{59C9C713-151B-46D4-AD3F-24C7FF0BE83C}" destId="{7F4B4DDA-AD1B-47B1-B8C7-B012B21334C2}"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9B0D8D2-F82E-49DD-9E30-5F3FC240D8A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5161FEC-6936-4A7D-8AEE-30A5829F7C21}">
      <dgm:prSet/>
      <dgm:spPr/>
      <dgm:t>
        <a:bodyPr/>
        <a:lstStyle/>
        <a:p>
          <a:r>
            <a:rPr lang="en-US" baseline="0" dirty="0"/>
            <a:t>Zone redundant configurations are  available in the Premium, Business Critical, General Purpose and Hyperscale Service Tiers. </a:t>
          </a:r>
          <a:endParaRPr lang="en-US" dirty="0"/>
        </a:p>
      </dgm:t>
    </dgm:pt>
    <dgm:pt modelId="{0E39931F-88BC-4036-8D17-FBE5297D2219}" type="parTrans" cxnId="{0BEF9A5F-CE75-4211-B1B3-209F0D7F0542}">
      <dgm:prSet/>
      <dgm:spPr/>
      <dgm:t>
        <a:bodyPr/>
        <a:lstStyle/>
        <a:p>
          <a:endParaRPr lang="en-US"/>
        </a:p>
      </dgm:t>
    </dgm:pt>
    <dgm:pt modelId="{33D04F37-425F-4706-8095-2CE57BD184F3}" type="sibTrans" cxnId="{0BEF9A5F-CE75-4211-B1B3-209F0D7F0542}">
      <dgm:prSet/>
      <dgm:spPr/>
      <dgm:t>
        <a:bodyPr/>
        <a:lstStyle/>
        <a:p>
          <a:endParaRPr lang="en-US"/>
        </a:p>
      </dgm:t>
    </dgm:pt>
    <dgm:pt modelId="{76F71CB5-B469-4719-8BCC-E70B8CCBC77B}">
      <dgm:prSet/>
      <dgm:spPr/>
      <dgm:t>
        <a:bodyPr/>
        <a:lstStyle/>
        <a:p>
          <a:r>
            <a:rPr lang="en-US" b="0" i="0" dirty="0"/>
            <a:t>By default, the cluster of nodes for the premium availability model is created in the same datacenter. </a:t>
          </a:r>
          <a:endParaRPr lang="en-US" dirty="0"/>
        </a:p>
      </dgm:t>
    </dgm:pt>
    <dgm:pt modelId="{28EEAB2A-F9A5-4818-B6B9-C8E9A65F1D3C}" type="parTrans" cxnId="{74B4F597-EAF0-41D5-A27C-876243D70BF2}">
      <dgm:prSet/>
      <dgm:spPr/>
      <dgm:t>
        <a:bodyPr/>
        <a:lstStyle/>
        <a:p>
          <a:endParaRPr lang="en-US"/>
        </a:p>
      </dgm:t>
    </dgm:pt>
    <dgm:pt modelId="{D0C37D29-2E47-4F4B-ABA7-84559B471DFE}" type="sibTrans" cxnId="{74B4F597-EAF0-41D5-A27C-876243D70BF2}">
      <dgm:prSet/>
      <dgm:spPr/>
      <dgm:t>
        <a:bodyPr/>
        <a:lstStyle/>
        <a:p>
          <a:endParaRPr lang="en-US"/>
        </a:p>
      </dgm:t>
    </dgm:pt>
    <dgm:pt modelId="{8311DC26-6500-42A0-8E5C-0312FB04FEFA}">
      <dgm:prSet/>
      <dgm:spPr/>
      <dgm:t>
        <a:bodyPr/>
        <a:lstStyle/>
        <a:p>
          <a:r>
            <a:rPr lang="en-US" b="0" i="0" dirty="0"/>
            <a:t>SQL Database can place different replicas of the Business-Critical database to different availability zones in the same region.</a:t>
          </a:r>
          <a:endParaRPr lang="en-US" dirty="0"/>
        </a:p>
      </dgm:t>
    </dgm:pt>
    <dgm:pt modelId="{CF5C6A0B-FFCC-43C7-B4DD-DDE041ED47F8}" type="parTrans" cxnId="{53061988-F685-49C5-8DED-D0B7BF5F33DA}">
      <dgm:prSet/>
      <dgm:spPr/>
      <dgm:t>
        <a:bodyPr/>
        <a:lstStyle/>
        <a:p>
          <a:endParaRPr lang="en-US"/>
        </a:p>
      </dgm:t>
    </dgm:pt>
    <dgm:pt modelId="{C0009734-DEAA-4E41-B25D-0D4BD01A35C9}" type="sibTrans" cxnId="{53061988-F685-49C5-8DED-D0B7BF5F33DA}">
      <dgm:prSet/>
      <dgm:spPr/>
      <dgm:t>
        <a:bodyPr/>
        <a:lstStyle/>
        <a:p>
          <a:endParaRPr lang="en-US"/>
        </a:p>
      </dgm:t>
    </dgm:pt>
    <dgm:pt modelId="{BF52F1A7-A146-4EA3-B49B-BEA0992F816A}">
      <dgm:prSet/>
      <dgm:spPr/>
      <dgm:t>
        <a:bodyPr/>
        <a:lstStyle/>
        <a:p>
          <a:r>
            <a:rPr lang="en-US" dirty="0"/>
            <a:t>The routing is controlled by Azure Traffic Manager (ATM). </a:t>
          </a:r>
        </a:p>
      </dgm:t>
    </dgm:pt>
    <dgm:pt modelId="{78D947B1-4608-4D7C-813F-7D4A708FD797}" type="parTrans" cxnId="{82F92C35-61F3-4182-A54D-8B53CEBAEAB0}">
      <dgm:prSet/>
      <dgm:spPr/>
      <dgm:t>
        <a:bodyPr/>
        <a:lstStyle/>
        <a:p>
          <a:endParaRPr lang="en-US"/>
        </a:p>
      </dgm:t>
    </dgm:pt>
    <dgm:pt modelId="{F49C283C-D86E-4047-B667-6F97C0388E1E}" type="sibTrans" cxnId="{82F92C35-61F3-4182-A54D-8B53CEBAEAB0}">
      <dgm:prSet/>
      <dgm:spPr/>
      <dgm:t>
        <a:bodyPr/>
        <a:lstStyle/>
        <a:p>
          <a:endParaRPr lang="en-US"/>
        </a:p>
      </dgm:t>
    </dgm:pt>
    <dgm:pt modelId="{B91C09EC-8828-416B-B0C2-9DC218ADECA9}">
      <dgm:prSet/>
      <dgm:spPr/>
      <dgm:t>
        <a:bodyPr/>
        <a:lstStyle/>
        <a:p>
          <a:r>
            <a:rPr lang="en-US" dirty="0"/>
            <a:t>The zone redundant databases have replicas in different datacenters with some distance between them, the increased network latency may impact the performance.</a:t>
          </a:r>
        </a:p>
      </dgm:t>
    </dgm:pt>
    <dgm:pt modelId="{C9A719B2-032A-41B6-90C8-97316964B300}" type="parTrans" cxnId="{68E56171-164D-413A-83B1-ECED9C3464EF}">
      <dgm:prSet/>
      <dgm:spPr/>
      <dgm:t>
        <a:bodyPr/>
        <a:lstStyle/>
        <a:p>
          <a:endParaRPr lang="en-US"/>
        </a:p>
      </dgm:t>
    </dgm:pt>
    <dgm:pt modelId="{18F614D6-4A99-4A2B-AAAC-813F59A4A031}" type="sibTrans" cxnId="{68E56171-164D-413A-83B1-ECED9C3464EF}">
      <dgm:prSet/>
      <dgm:spPr/>
      <dgm:t>
        <a:bodyPr/>
        <a:lstStyle/>
        <a:p>
          <a:endParaRPr lang="en-US"/>
        </a:p>
      </dgm:t>
    </dgm:pt>
    <dgm:pt modelId="{59C9C713-151B-46D4-AD3F-24C7FF0BE83C}" type="pres">
      <dgm:prSet presAssocID="{69B0D8D2-F82E-49DD-9E30-5F3FC240D8A0}" presName="linear" presStyleCnt="0">
        <dgm:presLayoutVars>
          <dgm:animLvl val="lvl"/>
          <dgm:resizeHandles val="exact"/>
        </dgm:presLayoutVars>
      </dgm:prSet>
      <dgm:spPr/>
    </dgm:pt>
    <dgm:pt modelId="{73B47629-8717-4462-8A97-67BD9CEBE89A}" type="pres">
      <dgm:prSet presAssocID="{76F71CB5-B469-4719-8BCC-E70B8CCBC77B}" presName="parentText" presStyleLbl="node1" presStyleIdx="0" presStyleCnt="5">
        <dgm:presLayoutVars>
          <dgm:chMax val="0"/>
          <dgm:bulletEnabled val="1"/>
        </dgm:presLayoutVars>
      </dgm:prSet>
      <dgm:spPr/>
    </dgm:pt>
    <dgm:pt modelId="{88474B7E-6D8E-4A05-8F0A-92EB8A1E450F}" type="pres">
      <dgm:prSet presAssocID="{D0C37D29-2E47-4F4B-ABA7-84559B471DFE}" presName="spacer" presStyleCnt="0"/>
      <dgm:spPr/>
    </dgm:pt>
    <dgm:pt modelId="{BE7AC363-275C-4D69-9598-B69A7310C7CB}" type="pres">
      <dgm:prSet presAssocID="{8311DC26-6500-42A0-8E5C-0312FB04FEFA}" presName="parentText" presStyleLbl="node1" presStyleIdx="1" presStyleCnt="5">
        <dgm:presLayoutVars>
          <dgm:chMax val="0"/>
          <dgm:bulletEnabled val="1"/>
        </dgm:presLayoutVars>
      </dgm:prSet>
      <dgm:spPr/>
    </dgm:pt>
    <dgm:pt modelId="{C04108B2-F91A-4C99-8524-BCC9BF5B85F3}" type="pres">
      <dgm:prSet presAssocID="{C0009734-DEAA-4E41-B25D-0D4BD01A35C9}" presName="spacer" presStyleCnt="0"/>
      <dgm:spPr/>
    </dgm:pt>
    <dgm:pt modelId="{EA816DA8-16B2-491E-982A-E36D7B2BFC13}" type="pres">
      <dgm:prSet presAssocID="{BF52F1A7-A146-4EA3-B49B-BEA0992F816A}" presName="parentText" presStyleLbl="node1" presStyleIdx="2" presStyleCnt="5">
        <dgm:presLayoutVars>
          <dgm:chMax val="0"/>
          <dgm:bulletEnabled val="1"/>
        </dgm:presLayoutVars>
      </dgm:prSet>
      <dgm:spPr/>
    </dgm:pt>
    <dgm:pt modelId="{A373F27E-34D7-4995-87E2-217329038DE4}" type="pres">
      <dgm:prSet presAssocID="{F49C283C-D86E-4047-B667-6F97C0388E1E}" presName="spacer" presStyleCnt="0"/>
      <dgm:spPr/>
    </dgm:pt>
    <dgm:pt modelId="{7F4B4DDA-AD1B-47B1-B8C7-B012B21334C2}" type="pres">
      <dgm:prSet presAssocID="{B91C09EC-8828-416B-B0C2-9DC218ADECA9}" presName="parentText" presStyleLbl="node1" presStyleIdx="3" presStyleCnt="5">
        <dgm:presLayoutVars>
          <dgm:chMax val="0"/>
          <dgm:bulletEnabled val="1"/>
        </dgm:presLayoutVars>
      </dgm:prSet>
      <dgm:spPr/>
    </dgm:pt>
    <dgm:pt modelId="{1AA115B0-7F9D-4E65-B30E-BC07472AB7C4}" type="pres">
      <dgm:prSet presAssocID="{18F614D6-4A99-4A2B-AAAC-813F59A4A031}" presName="spacer" presStyleCnt="0"/>
      <dgm:spPr/>
    </dgm:pt>
    <dgm:pt modelId="{08286313-9289-4961-8FE9-CC08C61FA2EE}" type="pres">
      <dgm:prSet presAssocID="{75161FEC-6936-4A7D-8AEE-30A5829F7C21}" presName="parentText" presStyleLbl="node1" presStyleIdx="4" presStyleCnt="5">
        <dgm:presLayoutVars>
          <dgm:chMax val="0"/>
          <dgm:bulletEnabled val="1"/>
        </dgm:presLayoutVars>
      </dgm:prSet>
      <dgm:spPr/>
    </dgm:pt>
  </dgm:ptLst>
  <dgm:cxnLst>
    <dgm:cxn modelId="{82F92C35-61F3-4182-A54D-8B53CEBAEAB0}" srcId="{69B0D8D2-F82E-49DD-9E30-5F3FC240D8A0}" destId="{BF52F1A7-A146-4EA3-B49B-BEA0992F816A}" srcOrd="2" destOrd="0" parTransId="{78D947B1-4608-4D7C-813F-7D4A708FD797}" sibTransId="{F49C283C-D86E-4047-B667-6F97C0388E1E}"/>
    <dgm:cxn modelId="{0BEF9A5F-CE75-4211-B1B3-209F0D7F0542}" srcId="{69B0D8D2-F82E-49DD-9E30-5F3FC240D8A0}" destId="{75161FEC-6936-4A7D-8AEE-30A5829F7C21}" srcOrd="4" destOrd="0" parTransId="{0E39931F-88BC-4036-8D17-FBE5297D2219}" sibTransId="{33D04F37-425F-4706-8095-2CE57BD184F3}"/>
    <dgm:cxn modelId="{DAD2984A-0650-4879-98FE-715029D2239A}" type="presOf" srcId="{BF52F1A7-A146-4EA3-B49B-BEA0992F816A}" destId="{EA816DA8-16B2-491E-982A-E36D7B2BFC13}" srcOrd="0" destOrd="0" presId="urn:microsoft.com/office/officeart/2005/8/layout/vList2"/>
    <dgm:cxn modelId="{0E18914B-283B-4273-B261-E6958FE89071}" type="presOf" srcId="{75161FEC-6936-4A7D-8AEE-30A5829F7C21}" destId="{08286313-9289-4961-8FE9-CC08C61FA2EE}" srcOrd="0" destOrd="0" presId="urn:microsoft.com/office/officeart/2005/8/layout/vList2"/>
    <dgm:cxn modelId="{68E56171-164D-413A-83B1-ECED9C3464EF}" srcId="{69B0D8D2-F82E-49DD-9E30-5F3FC240D8A0}" destId="{B91C09EC-8828-416B-B0C2-9DC218ADECA9}" srcOrd="3" destOrd="0" parTransId="{C9A719B2-032A-41B6-90C8-97316964B300}" sibTransId="{18F614D6-4A99-4A2B-AAAC-813F59A4A031}"/>
    <dgm:cxn modelId="{A99BA251-6459-4CC4-9898-C5FEC6987E97}" type="presOf" srcId="{8311DC26-6500-42A0-8E5C-0312FB04FEFA}" destId="{BE7AC363-275C-4D69-9598-B69A7310C7CB}" srcOrd="0" destOrd="0" presId="urn:microsoft.com/office/officeart/2005/8/layout/vList2"/>
    <dgm:cxn modelId="{17280157-A958-48D7-8925-3AC8691D89A4}" type="presOf" srcId="{69B0D8D2-F82E-49DD-9E30-5F3FC240D8A0}" destId="{59C9C713-151B-46D4-AD3F-24C7FF0BE83C}" srcOrd="0" destOrd="0" presId="urn:microsoft.com/office/officeart/2005/8/layout/vList2"/>
    <dgm:cxn modelId="{33957B78-5AAB-46F0-A66A-2A29D7FEBEC2}" type="presOf" srcId="{76F71CB5-B469-4719-8BCC-E70B8CCBC77B}" destId="{73B47629-8717-4462-8A97-67BD9CEBE89A}" srcOrd="0" destOrd="0" presId="urn:microsoft.com/office/officeart/2005/8/layout/vList2"/>
    <dgm:cxn modelId="{53061988-F685-49C5-8DED-D0B7BF5F33DA}" srcId="{69B0D8D2-F82E-49DD-9E30-5F3FC240D8A0}" destId="{8311DC26-6500-42A0-8E5C-0312FB04FEFA}" srcOrd="1" destOrd="0" parTransId="{CF5C6A0B-FFCC-43C7-B4DD-DDE041ED47F8}" sibTransId="{C0009734-DEAA-4E41-B25D-0D4BD01A35C9}"/>
    <dgm:cxn modelId="{74B4F597-EAF0-41D5-A27C-876243D70BF2}" srcId="{69B0D8D2-F82E-49DD-9E30-5F3FC240D8A0}" destId="{76F71CB5-B469-4719-8BCC-E70B8CCBC77B}" srcOrd="0" destOrd="0" parTransId="{28EEAB2A-F9A5-4818-B6B9-C8E9A65F1D3C}" sibTransId="{D0C37D29-2E47-4F4B-ABA7-84559B471DFE}"/>
    <dgm:cxn modelId="{917A42E8-31B6-442C-A1C1-E7AECCF9EAFD}" type="presOf" srcId="{B91C09EC-8828-416B-B0C2-9DC218ADECA9}" destId="{7F4B4DDA-AD1B-47B1-B8C7-B012B21334C2}" srcOrd="0" destOrd="0" presId="urn:microsoft.com/office/officeart/2005/8/layout/vList2"/>
    <dgm:cxn modelId="{B2EF2294-8450-421F-AD4B-ECC0466584FE}" type="presParOf" srcId="{59C9C713-151B-46D4-AD3F-24C7FF0BE83C}" destId="{73B47629-8717-4462-8A97-67BD9CEBE89A}" srcOrd="0" destOrd="0" presId="urn:microsoft.com/office/officeart/2005/8/layout/vList2"/>
    <dgm:cxn modelId="{22E73FD8-47C4-4F42-96D7-51FC6C5FE2EF}" type="presParOf" srcId="{59C9C713-151B-46D4-AD3F-24C7FF0BE83C}" destId="{88474B7E-6D8E-4A05-8F0A-92EB8A1E450F}" srcOrd="1" destOrd="0" presId="urn:microsoft.com/office/officeart/2005/8/layout/vList2"/>
    <dgm:cxn modelId="{3A01BC72-4A1F-44BA-959A-B8B8C96B1D0E}" type="presParOf" srcId="{59C9C713-151B-46D4-AD3F-24C7FF0BE83C}" destId="{BE7AC363-275C-4D69-9598-B69A7310C7CB}" srcOrd="2" destOrd="0" presId="urn:microsoft.com/office/officeart/2005/8/layout/vList2"/>
    <dgm:cxn modelId="{65C6F759-1AFD-49D1-BA87-68FA902BBA12}" type="presParOf" srcId="{59C9C713-151B-46D4-AD3F-24C7FF0BE83C}" destId="{C04108B2-F91A-4C99-8524-BCC9BF5B85F3}" srcOrd="3" destOrd="0" presId="urn:microsoft.com/office/officeart/2005/8/layout/vList2"/>
    <dgm:cxn modelId="{9B77241A-E0D0-4175-A438-735D0A66454B}" type="presParOf" srcId="{59C9C713-151B-46D4-AD3F-24C7FF0BE83C}" destId="{EA816DA8-16B2-491E-982A-E36D7B2BFC13}" srcOrd="4" destOrd="0" presId="urn:microsoft.com/office/officeart/2005/8/layout/vList2"/>
    <dgm:cxn modelId="{3976D23B-E969-4C31-AD19-8C7D96036337}" type="presParOf" srcId="{59C9C713-151B-46D4-AD3F-24C7FF0BE83C}" destId="{A373F27E-34D7-4995-87E2-217329038DE4}" srcOrd="5" destOrd="0" presId="urn:microsoft.com/office/officeart/2005/8/layout/vList2"/>
    <dgm:cxn modelId="{41F181FF-BFDE-405E-9EF7-7927006EE570}" type="presParOf" srcId="{59C9C713-151B-46D4-AD3F-24C7FF0BE83C}" destId="{7F4B4DDA-AD1B-47B1-B8C7-B012B21334C2}" srcOrd="6" destOrd="0" presId="urn:microsoft.com/office/officeart/2005/8/layout/vList2"/>
    <dgm:cxn modelId="{74CB4DD1-BDC5-4668-B6A4-9DA70B320CA9}" type="presParOf" srcId="{59C9C713-151B-46D4-AD3F-24C7FF0BE83C}" destId="{1AA115B0-7F9D-4E65-B30E-BC07472AB7C4}" srcOrd="7" destOrd="0" presId="urn:microsoft.com/office/officeart/2005/8/layout/vList2"/>
    <dgm:cxn modelId="{1F751D83-2953-44E4-9339-922864918FF1}" type="presParOf" srcId="{59C9C713-151B-46D4-AD3F-24C7FF0BE83C}" destId="{08286313-9289-4961-8FE9-CC08C61FA2EE}"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082DE8-4CF6-4B77-9283-A875A7787CFC}">
      <dsp:nvSpPr>
        <dsp:cNvPr id="0" name=""/>
        <dsp:cNvSpPr/>
      </dsp:nvSpPr>
      <dsp:spPr>
        <a:xfrm>
          <a:off x="0" y="11429"/>
          <a:ext cx="10710291" cy="8143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What is Business Continuity?</a:t>
          </a:r>
        </a:p>
      </dsp:txBody>
      <dsp:txXfrm>
        <a:off x="39752" y="51181"/>
        <a:ext cx="10630787" cy="734816"/>
      </dsp:txXfrm>
    </dsp:sp>
    <dsp:sp modelId="{52C6F130-7DE9-425D-A020-2B2C6F6D04BD}">
      <dsp:nvSpPr>
        <dsp:cNvPr id="0" name=""/>
        <dsp:cNvSpPr/>
      </dsp:nvSpPr>
      <dsp:spPr>
        <a:xfrm>
          <a:off x="0" y="909269"/>
          <a:ext cx="10710291" cy="8143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Automated Backups</a:t>
          </a:r>
        </a:p>
      </dsp:txBody>
      <dsp:txXfrm>
        <a:off x="39752" y="949021"/>
        <a:ext cx="10630787" cy="734816"/>
      </dsp:txXfrm>
    </dsp:sp>
    <dsp:sp modelId="{0A8238F2-AA4D-4A2B-AF64-2DE3F2A479F9}">
      <dsp:nvSpPr>
        <dsp:cNvPr id="0" name=""/>
        <dsp:cNvSpPr/>
      </dsp:nvSpPr>
      <dsp:spPr>
        <a:xfrm>
          <a:off x="0" y="1807109"/>
          <a:ext cx="10710291" cy="8143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Service Tiers</a:t>
          </a:r>
        </a:p>
      </dsp:txBody>
      <dsp:txXfrm>
        <a:off x="39752" y="1846861"/>
        <a:ext cx="10630787" cy="734816"/>
      </dsp:txXfrm>
    </dsp:sp>
    <dsp:sp modelId="{558E5841-9521-4A01-9267-C7BB05BC0027}">
      <dsp:nvSpPr>
        <dsp:cNvPr id="0" name=""/>
        <dsp:cNvSpPr/>
      </dsp:nvSpPr>
      <dsp:spPr>
        <a:xfrm>
          <a:off x="0" y="2704949"/>
          <a:ext cx="10710291" cy="8143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High Availability</a:t>
          </a:r>
        </a:p>
      </dsp:txBody>
      <dsp:txXfrm>
        <a:off x="39752" y="2744701"/>
        <a:ext cx="10630787" cy="734816"/>
      </dsp:txXfrm>
    </dsp:sp>
    <dsp:sp modelId="{BFB8A33C-98AA-42D2-803A-CCDDF3D14B3A}">
      <dsp:nvSpPr>
        <dsp:cNvPr id="0" name=""/>
        <dsp:cNvSpPr/>
      </dsp:nvSpPr>
      <dsp:spPr>
        <a:xfrm>
          <a:off x="0" y="3602789"/>
          <a:ext cx="10710291" cy="8143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Zone Redundancy</a:t>
          </a:r>
        </a:p>
      </dsp:txBody>
      <dsp:txXfrm>
        <a:off x="39752" y="3642541"/>
        <a:ext cx="10630787" cy="734816"/>
      </dsp:txXfrm>
    </dsp:sp>
    <dsp:sp modelId="{FBCD9FF1-5B9B-492E-8916-634568DBB30C}">
      <dsp:nvSpPr>
        <dsp:cNvPr id="0" name=""/>
        <dsp:cNvSpPr/>
      </dsp:nvSpPr>
      <dsp:spPr>
        <a:xfrm>
          <a:off x="0" y="4500629"/>
          <a:ext cx="10710291" cy="8143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Disaster Recovery</a:t>
          </a:r>
        </a:p>
      </dsp:txBody>
      <dsp:txXfrm>
        <a:off x="39752" y="4540381"/>
        <a:ext cx="10630787" cy="73481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FB0852-C8C0-41EF-A670-4631E19D4666}">
      <dsp:nvSpPr>
        <dsp:cNvPr id="0" name=""/>
        <dsp:cNvSpPr/>
      </dsp:nvSpPr>
      <dsp:spPr>
        <a:xfrm>
          <a:off x="0" y="79634"/>
          <a:ext cx="4983162" cy="73593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dirty="0"/>
            <a:t>Enables geo-replication for a group of databases within a server.</a:t>
          </a:r>
          <a:endParaRPr lang="en-US" sz="1700" kern="1200" dirty="0"/>
        </a:p>
      </dsp:txBody>
      <dsp:txXfrm>
        <a:off x="35925" y="115559"/>
        <a:ext cx="4911312" cy="664080"/>
      </dsp:txXfrm>
    </dsp:sp>
    <dsp:sp modelId="{8DCDF152-3662-49F3-979F-AC2B108F8F75}">
      <dsp:nvSpPr>
        <dsp:cNvPr id="0" name=""/>
        <dsp:cNvSpPr/>
      </dsp:nvSpPr>
      <dsp:spPr>
        <a:xfrm>
          <a:off x="0" y="864524"/>
          <a:ext cx="4983162" cy="73593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a:t>Automatically or manually failover a group of databases.</a:t>
          </a:r>
          <a:endParaRPr lang="en-US" sz="1700" kern="1200"/>
        </a:p>
      </dsp:txBody>
      <dsp:txXfrm>
        <a:off x="35925" y="900449"/>
        <a:ext cx="4911312" cy="664080"/>
      </dsp:txXfrm>
    </dsp:sp>
    <dsp:sp modelId="{4FF0E93A-EE92-4877-BDD5-2C9A329F8D4C}">
      <dsp:nvSpPr>
        <dsp:cNvPr id="0" name=""/>
        <dsp:cNvSpPr/>
      </dsp:nvSpPr>
      <dsp:spPr>
        <a:xfrm>
          <a:off x="0" y="1649414"/>
          <a:ext cx="4983162" cy="73593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dirty="0"/>
            <a:t>Available for all service tiers.</a:t>
          </a:r>
          <a:endParaRPr lang="en-US" sz="1700" kern="1200" dirty="0"/>
        </a:p>
      </dsp:txBody>
      <dsp:txXfrm>
        <a:off x="35925" y="1685339"/>
        <a:ext cx="4911312" cy="664080"/>
      </dsp:txXfrm>
    </dsp:sp>
    <dsp:sp modelId="{45C8ECF9-B0D8-444C-AA2A-8938EBFE0562}">
      <dsp:nvSpPr>
        <dsp:cNvPr id="0" name=""/>
        <dsp:cNvSpPr/>
      </dsp:nvSpPr>
      <dsp:spPr>
        <a:xfrm>
          <a:off x="0" y="2434304"/>
          <a:ext cx="4983162" cy="73593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dirty="0"/>
            <a:t>Configure the auto-failover policy that best meets your application needs.</a:t>
          </a:r>
          <a:endParaRPr lang="en-US" sz="1700" kern="1200" dirty="0"/>
        </a:p>
      </dsp:txBody>
      <dsp:txXfrm>
        <a:off x="35925" y="2470229"/>
        <a:ext cx="4911312" cy="664080"/>
      </dsp:txXfrm>
    </dsp:sp>
    <dsp:sp modelId="{249B9357-27B7-48FA-9693-A4E8A251272B}">
      <dsp:nvSpPr>
        <dsp:cNvPr id="0" name=""/>
        <dsp:cNvSpPr/>
      </dsp:nvSpPr>
      <dsp:spPr>
        <a:xfrm>
          <a:off x="0" y="3219195"/>
          <a:ext cx="4983162" cy="73593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a:t>Usage of and listener end-points.</a:t>
          </a:r>
          <a:endParaRPr lang="en-US" sz="1700" kern="1200"/>
        </a:p>
      </dsp:txBody>
      <dsp:txXfrm>
        <a:off x="35925" y="3255120"/>
        <a:ext cx="4911312" cy="664080"/>
      </dsp:txXfrm>
    </dsp:sp>
    <dsp:sp modelId="{DF3F32AA-A900-43D6-B269-510E87493361}">
      <dsp:nvSpPr>
        <dsp:cNvPr id="0" name=""/>
        <dsp:cNvSpPr/>
      </dsp:nvSpPr>
      <dsp:spPr>
        <a:xfrm>
          <a:off x="0" y="4004085"/>
          <a:ext cx="4983162" cy="73593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a:t>DNS record is automatically updated. </a:t>
          </a:r>
          <a:endParaRPr lang="en-US" sz="1700" kern="1200"/>
        </a:p>
      </dsp:txBody>
      <dsp:txXfrm>
        <a:off x="35925" y="4040010"/>
        <a:ext cx="4911312" cy="6640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40D280-8D87-4993-91D0-BEDDE3205B37}">
      <dsp:nvSpPr>
        <dsp:cNvPr id="0" name=""/>
        <dsp:cNvSpPr/>
      </dsp:nvSpPr>
      <dsp:spPr>
        <a:xfrm>
          <a:off x="3560" y="2517"/>
          <a:ext cx="3471116" cy="13536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bg1"/>
              </a:solidFill>
              <a:latin typeface="+mj-lt"/>
            </a:rPr>
            <a:t>Availability</a:t>
          </a:r>
        </a:p>
      </dsp:txBody>
      <dsp:txXfrm>
        <a:off x="3560" y="2517"/>
        <a:ext cx="3471116" cy="1353600"/>
      </dsp:txXfrm>
    </dsp:sp>
    <dsp:sp modelId="{5F128C9F-38AC-4D41-8C60-7D3AA04E3899}">
      <dsp:nvSpPr>
        <dsp:cNvPr id="0" name=""/>
        <dsp:cNvSpPr/>
      </dsp:nvSpPr>
      <dsp:spPr>
        <a:xfrm>
          <a:off x="3560" y="1356117"/>
          <a:ext cx="3471116" cy="3727323"/>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solidFill>
                <a:schemeClr val="tx1"/>
              </a:solidFill>
              <a:latin typeface="+mn-lt"/>
            </a:rPr>
            <a:t>Every database comes with core resiliency and availability, that protects it against software or hardware failures.</a:t>
          </a:r>
        </a:p>
        <a:p>
          <a:pPr marL="228600" lvl="1" indent="-228600" algn="l" defTabSz="889000">
            <a:lnSpc>
              <a:spcPct val="90000"/>
            </a:lnSpc>
            <a:spcBef>
              <a:spcPct val="0"/>
            </a:spcBef>
            <a:spcAft>
              <a:spcPct val="15000"/>
            </a:spcAft>
            <a:buChar char="•"/>
          </a:pPr>
          <a:r>
            <a:rPr lang="en-US" sz="2000" kern="1200" dirty="0">
              <a:solidFill>
                <a:schemeClr val="tx1"/>
              </a:solidFill>
              <a:latin typeface="+mn-lt"/>
            </a:rPr>
            <a:t>Industry leading financially backed SLA of 99.99% availability.</a:t>
          </a:r>
        </a:p>
      </dsp:txBody>
      <dsp:txXfrm>
        <a:off x="3560" y="1356117"/>
        <a:ext cx="3471116" cy="3727323"/>
      </dsp:txXfrm>
    </dsp:sp>
    <dsp:sp modelId="{5B697352-8F63-4028-B4EA-5A11F38B5D08}">
      <dsp:nvSpPr>
        <dsp:cNvPr id="0" name=""/>
        <dsp:cNvSpPr/>
      </dsp:nvSpPr>
      <dsp:spPr>
        <a:xfrm>
          <a:off x="3960632" y="2517"/>
          <a:ext cx="3471116" cy="13536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latin typeface="+mn-lt"/>
              <a:cs typeface="Segoe UI Semibold" panose="020B0502040204020203" pitchFamily="34" charset="0"/>
            </a:rPr>
            <a:t>High Availability</a:t>
          </a:r>
          <a:endParaRPr lang="en-US" sz="2000" kern="1200" dirty="0">
            <a:solidFill>
              <a:schemeClr val="bg1"/>
            </a:solidFill>
            <a:latin typeface="+mn-lt"/>
          </a:endParaRPr>
        </a:p>
      </dsp:txBody>
      <dsp:txXfrm>
        <a:off x="3960632" y="2517"/>
        <a:ext cx="3471116" cy="1353600"/>
      </dsp:txXfrm>
    </dsp:sp>
    <dsp:sp modelId="{18EFF64C-B330-4757-8CEE-B2609217B0FB}">
      <dsp:nvSpPr>
        <dsp:cNvPr id="0" name=""/>
        <dsp:cNvSpPr/>
      </dsp:nvSpPr>
      <dsp:spPr>
        <a:xfrm>
          <a:off x="3960632" y="1356117"/>
          <a:ext cx="3471116" cy="3727323"/>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solidFill>
                <a:schemeClr val="tx1"/>
              </a:solidFill>
              <a:latin typeface="+mn-lt"/>
            </a:rPr>
            <a:t>Continuous availability of the database provided through Zone Redundancy.</a:t>
          </a:r>
          <a:endParaRPr lang="en-US" sz="2000" b="0" kern="1200" dirty="0">
            <a:solidFill>
              <a:schemeClr val="tx1"/>
            </a:solidFill>
            <a:latin typeface="+mn-lt"/>
            <a:cs typeface="Segoe UI Semibold" panose="020B0502040204020203" pitchFamily="34" charset="0"/>
          </a:endParaRPr>
        </a:p>
        <a:p>
          <a:pPr marL="228600" lvl="1" indent="-228600" algn="l" defTabSz="889000">
            <a:lnSpc>
              <a:spcPct val="90000"/>
            </a:lnSpc>
            <a:spcBef>
              <a:spcPct val="0"/>
            </a:spcBef>
            <a:spcAft>
              <a:spcPct val="15000"/>
            </a:spcAft>
            <a:buChar char="•"/>
          </a:pPr>
          <a:r>
            <a:rPr lang="en-US" sz="2000" kern="1200" dirty="0">
              <a:solidFill>
                <a:schemeClr val="tx1"/>
              </a:solidFill>
              <a:latin typeface="+mn-lt"/>
            </a:rPr>
            <a:t>Automatic in region recovery from zonal hardware and software failures that’s transparent to applications.</a:t>
          </a:r>
          <a:endParaRPr lang="en-US" sz="2000" kern="1200" dirty="0">
            <a:solidFill>
              <a:schemeClr val="tx1"/>
            </a:solidFill>
            <a:latin typeface="+mn-lt"/>
            <a:cs typeface="Segoe UI"/>
          </a:endParaRPr>
        </a:p>
        <a:p>
          <a:pPr marL="228600" lvl="1" indent="-228600" algn="l" defTabSz="889000">
            <a:lnSpc>
              <a:spcPct val="90000"/>
            </a:lnSpc>
            <a:spcBef>
              <a:spcPct val="0"/>
            </a:spcBef>
            <a:spcAft>
              <a:spcPct val="15000"/>
            </a:spcAft>
            <a:buChar char="•"/>
          </a:pPr>
          <a:r>
            <a:rPr lang="en-US" sz="2000" kern="1200" dirty="0">
              <a:solidFill>
                <a:schemeClr val="tx1"/>
              </a:solidFill>
              <a:latin typeface="+mn-lt"/>
            </a:rPr>
            <a:t>Higher SLA of 99.995% availability. </a:t>
          </a:r>
        </a:p>
      </dsp:txBody>
      <dsp:txXfrm>
        <a:off x="3960632" y="1356117"/>
        <a:ext cx="3471116" cy="3727323"/>
      </dsp:txXfrm>
    </dsp:sp>
    <dsp:sp modelId="{82E610BC-D56C-42C0-895D-0ACC3E3FD861}">
      <dsp:nvSpPr>
        <dsp:cNvPr id="0" name=""/>
        <dsp:cNvSpPr/>
      </dsp:nvSpPr>
      <dsp:spPr>
        <a:xfrm>
          <a:off x="7917704" y="2517"/>
          <a:ext cx="3471116" cy="13536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latin typeface="+mn-lt"/>
              <a:cs typeface="Segoe UI Semibold" panose="020B0502040204020203" pitchFamily="34" charset="0"/>
            </a:rPr>
            <a:t>Disaster Recovery</a:t>
          </a:r>
          <a:endParaRPr lang="en-US" sz="2000" kern="1200" dirty="0">
            <a:solidFill>
              <a:schemeClr val="bg1"/>
            </a:solidFill>
            <a:latin typeface="+mn-lt"/>
          </a:endParaRPr>
        </a:p>
      </dsp:txBody>
      <dsp:txXfrm>
        <a:off x="7917704" y="2517"/>
        <a:ext cx="3471116" cy="1353600"/>
      </dsp:txXfrm>
    </dsp:sp>
    <dsp:sp modelId="{A54848EF-EEAE-44F6-990D-16EB9C3CA531}">
      <dsp:nvSpPr>
        <dsp:cNvPr id="0" name=""/>
        <dsp:cNvSpPr/>
      </dsp:nvSpPr>
      <dsp:spPr>
        <a:xfrm>
          <a:off x="7917704" y="1356117"/>
          <a:ext cx="3471116" cy="3727323"/>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solidFill>
                <a:schemeClr val="tx1"/>
              </a:solidFill>
              <a:latin typeface="+mn-lt"/>
            </a:rPr>
            <a:t>Customer configured database replicas or failover groups</a:t>
          </a:r>
        </a:p>
        <a:p>
          <a:pPr marL="228600" lvl="1" indent="-228600" algn="l" defTabSz="889000">
            <a:lnSpc>
              <a:spcPct val="90000"/>
            </a:lnSpc>
            <a:spcBef>
              <a:spcPct val="0"/>
            </a:spcBef>
            <a:spcAft>
              <a:spcPct val="15000"/>
            </a:spcAft>
            <a:buFont typeface="Arial" panose="020B0604020202020204" pitchFamily="34" charset="0"/>
            <a:buChar char="•"/>
          </a:pPr>
          <a:r>
            <a:rPr lang="en-US" sz="2000" kern="1200" dirty="0">
              <a:solidFill>
                <a:schemeClr val="tx1"/>
              </a:solidFill>
              <a:latin typeface="+mn-lt"/>
            </a:rPr>
            <a:t>Ability to quickly recover the database from a catastrophic regional failure to provide business continuity. </a:t>
          </a:r>
        </a:p>
        <a:p>
          <a:pPr marL="228600" lvl="1" indent="-228600" algn="l" defTabSz="889000">
            <a:lnSpc>
              <a:spcPct val="90000"/>
            </a:lnSpc>
            <a:spcBef>
              <a:spcPct val="0"/>
            </a:spcBef>
            <a:spcAft>
              <a:spcPct val="15000"/>
            </a:spcAft>
            <a:buChar char="•"/>
          </a:pPr>
          <a:r>
            <a:rPr lang="en-US" sz="2000" kern="1200" dirty="0">
              <a:solidFill>
                <a:schemeClr val="tx1"/>
              </a:solidFill>
              <a:latin typeface="+mn-lt"/>
            </a:rPr>
            <a:t>Protect your business by maximizing application availability. </a:t>
          </a:r>
        </a:p>
      </dsp:txBody>
      <dsp:txXfrm>
        <a:off x="7917704" y="1356117"/>
        <a:ext cx="3471116" cy="372732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6BC0CF-B86F-4C65-AEAC-3C74CE6B39A5}">
      <dsp:nvSpPr>
        <dsp:cNvPr id="0" name=""/>
        <dsp:cNvSpPr/>
      </dsp:nvSpPr>
      <dsp:spPr>
        <a:xfrm>
          <a:off x="0" y="73843"/>
          <a:ext cx="6147503" cy="5662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Auto backups and Point in Time Restore (PITR)</a:t>
          </a:r>
          <a:endParaRPr lang="en-US" sz="2200" kern="1200"/>
        </a:p>
      </dsp:txBody>
      <dsp:txXfrm>
        <a:off x="27644" y="101487"/>
        <a:ext cx="6092215" cy="510992"/>
      </dsp:txXfrm>
    </dsp:sp>
    <dsp:sp modelId="{5054E99B-1A0D-4466-9881-8BB22EF95C74}">
      <dsp:nvSpPr>
        <dsp:cNvPr id="0" name=""/>
        <dsp:cNvSpPr/>
      </dsp:nvSpPr>
      <dsp:spPr>
        <a:xfrm>
          <a:off x="0" y="640123"/>
          <a:ext cx="6147503" cy="28690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5183"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baseline="0" dirty="0"/>
            <a:t>Full Database backup once a week</a:t>
          </a:r>
          <a:endParaRPr lang="en-US" sz="1700" kern="1200" dirty="0"/>
        </a:p>
        <a:p>
          <a:pPr marL="171450" lvl="1" indent="-171450" algn="l" defTabSz="755650">
            <a:lnSpc>
              <a:spcPct val="90000"/>
            </a:lnSpc>
            <a:spcBef>
              <a:spcPct val="0"/>
            </a:spcBef>
            <a:spcAft>
              <a:spcPct val="20000"/>
            </a:spcAft>
            <a:buChar char="•"/>
          </a:pPr>
          <a:r>
            <a:rPr lang="en-US" sz="1700" kern="1200" baseline="0" dirty="0"/>
            <a:t>Differential Backups every 12-24 hours</a:t>
          </a:r>
          <a:endParaRPr lang="en-US" sz="1700" kern="1200" dirty="0"/>
        </a:p>
        <a:p>
          <a:pPr marL="171450" lvl="1" indent="-171450" algn="l" defTabSz="755650">
            <a:lnSpc>
              <a:spcPct val="90000"/>
            </a:lnSpc>
            <a:spcBef>
              <a:spcPct val="0"/>
            </a:spcBef>
            <a:spcAft>
              <a:spcPct val="20000"/>
            </a:spcAft>
            <a:buChar char="•"/>
          </a:pPr>
          <a:r>
            <a:rPr lang="en-US" sz="1700" kern="1200" baseline="0" dirty="0"/>
            <a:t>Log Backups every 5-10 minutes</a:t>
          </a:r>
          <a:endParaRPr lang="en-US" sz="1700" kern="1200" dirty="0"/>
        </a:p>
        <a:p>
          <a:pPr marL="171450" lvl="1" indent="-171450" algn="l" defTabSz="755650">
            <a:lnSpc>
              <a:spcPct val="90000"/>
            </a:lnSpc>
            <a:spcBef>
              <a:spcPct val="0"/>
            </a:spcBef>
            <a:spcAft>
              <a:spcPct val="20000"/>
            </a:spcAft>
            <a:buChar char="•"/>
          </a:pPr>
          <a:r>
            <a:rPr lang="en-US" sz="1700" kern="1200" baseline="0" dirty="0"/>
            <a:t>Backup files on Azure storage</a:t>
          </a:r>
          <a:endParaRPr lang="en-US" sz="1700" kern="1200" dirty="0"/>
        </a:p>
        <a:p>
          <a:pPr marL="342900" lvl="2" indent="-171450" algn="l" defTabSz="755650">
            <a:lnSpc>
              <a:spcPct val="90000"/>
            </a:lnSpc>
            <a:spcBef>
              <a:spcPct val="0"/>
            </a:spcBef>
            <a:spcAft>
              <a:spcPct val="20000"/>
            </a:spcAft>
            <a:buChar char="•"/>
          </a:pPr>
          <a:r>
            <a:rPr lang="en-US" sz="1700" kern="1200" baseline="0" dirty="0"/>
            <a:t>Can be LRS, GRS, or ZRS</a:t>
          </a:r>
          <a:endParaRPr lang="en-US" sz="1700" kern="1200" dirty="0"/>
        </a:p>
        <a:p>
          <a:pPr marL="171450" lvl="1" indent="-171450" algn="l" defTabSz="755650">
            <a:lnSpc>
              <a:spcPct val="90000"/>
            </a:lnSpc>
            <a:spcBef>
              <a:spcPct val="0"/>
            </a:spcBef>
            <a:spcAft>
              <a:spcPct val="20000"/>
            </a:spcAft>
            <a:buChar char="•"/>
          </a:pPr>
          <a:r>
            <a:rPr lang="en-US" sz="1700" kern="1200" baseline="0"/>
            <a:t>Backup Integrity checks</a:t>
          </a:r>
          <a:endParaRPr lang="en-US" sz="1700" kern="1200"/>
        </a:p>
        <a:p>
          <a:pPr marL="171450" lvl="1" indent="-171450" algn="l" defTabSz="755650">
            <a:lnSpc>
              <a:spcPct val="90000"/>
            </a:lnSpc>
            <a:spcBef>
              <a:spcPct val="0"/>
            </a:spcBef>
            <a:spcAft>
              <a:spcPct val="20000"/>
            </a:spcAft>
            <a:buChar char="•"/>
          </a:pPr>
          <a:r>
            <a:rPr lang="en-US" sz="1700" kern="1200" baseline="0"/>
            <a:t>Restore to new database</a:t>
          </a:r>
          <a:endParaRPr lang="en-US" sz="1700" kern="1200"/>
        </a:p>
        <a:p>
          <a:pPr marL="171450" lvl="1" indent="-171450" algn="l" defTabSz="755650">
            <a:lnSpc>
              <a:spcPct val="90000"/>
            </a:lnSpc>
            <a:spcBef>
              <a:spcPct val="0"/>
            </a:spcBef>
            <a:spcAft>
              <a:spcPct val="20000"/>
            </a:spcAft>
            <a:buChar char="•"/>
          </a:pPr>
          <a:r>
            <a:rPr lang="en-US" sz="1700" kern="1200" baseline="0"/>
            <a:t>Geo-restore of databases if primary region down</a:t>
          </a:r>
          <a:endParaRPr lang="en-US" sz="1700" kern="1200"/>
        </a:p>
        <a:p>
          <a:pPr marL="171450" lvl="1" indent="-171450" algn="l" defTabSz="755650">
            <a:lnSpc>
              <a:spcPct val="90000"/>
            </a:lnSpc>
            <a:spcBef>
              <a:spcPct val="0"/>
            </a:spcBef>
            <a:spcAft>
              <a:spcPct val="20000"/>
            </a:spcAft>
            <a:buChar char="•"/>
          </a:pPr>
          <a:r>
            <a:rPr lang="en-US" sz="1700" kern="1200" baseline="0" dirty="0"/>
            <a:t>Restore backups of deleted databases</a:t>
          </a:r>
          <a:endParaRPr lang="en-US" sz="1700" kern="1200" dirty="0"/>
        </a:p>
      </dsp:txBody>
      <dsp:txXfrm>
        <a:off x="0" y="640123"/>
        <a:ext cx="6147503" cy="2869020"/>
      </dsp:txXfrm>
    </dsp:sp>
    <dsp:sp modelId="{6516F36E-D582-4558-B74F-42E9089ACAEB}">
      <dsp:nvSpPr>
        <dsp:cNvPr id="0" name=""/>
        <dsp:cNvSpPr/>
      </dsp:nvSpPr>
      <dsp:spPr>
        <a:xfrm>
          <a:off x="0" y="3509143"/>
          <a:ext cx="6147503" cy="5662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dirty="0"/>
            <a:t>Long-term retention (up to 10 years) of backups</a:t>
          </a:r>
          <a:endParaRPr lang="en-US" sz="2200" kern="1200" dirty="0"/>
        </a:p>
      </dsp:txBody>
      <dsp:txXfrm>
        <a:off x="27644" y="3536787"/>
        <a:ext cx="6092215" cy="510992"/>
      </dsp:txXfrm>
    </dsp:sp>
    <dsp:sp modelId="{393A21C5-D9F3-499E-95E8-7DB87553C2F1}">
      <dsp:nvSpPr>
        <dsp:cNvPr id="0" name=""/>
        <dsp:cNvSpPr/>
      </dsp:nvSpPr>
      <dsp:spPr>
        <a:xfrm>
          <a:off x="0" y="4075423"/>
          <a:ext cx="6147503" cy="637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5183"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dirty="0"/>
            <a:t>Retention of a Full Database backup</a:t>
          </a:r>
        </a:p>
        <a:p>
          <a:pPr marL="171450" lvl="1" indent="-171450" algn="l" defTabSz="755650">
            <a:lnSpc>
              <a:spcPct val="90000"/>
            </a:lnSpc>
            <a:spcBef>
              <a:spcPct val="0"/>
            </a:spcBef>
            <a:spcAft>
              <a:spcPct val="20000"/>
            </a:spcAft>
            <a:buChar char="•"/>
          </a:pPr>
          <a:r>
            <a:rPr lang="en-US" sz="1700" kern="1200" dirty="0"/>
            <a:t>Configurable for every week, month, or year</a:t>
          </a:r>
        </a:p>
      </dsp:txBody>
      <dsp:txXfrm>
        <a:off x="0" y="4075423"/>
        <a:ext cx="6147503" cy="63756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3546D4-27AC-4908-AA2C-9C4CAFE6CB68}">
      <dsp:nvSpPr>
        <dsp:cNvPr id="0" name=""/>
        <dsp:cNvSpPr/>
      </dsp:nvSpPr>
      <dsp:spPr>
        <a:xfrm>
          <a:off x="6772" y="1775769"/>
          <a:ext cx="3474606" cy="1389842"/>
        </a:xfrm>
        <a:prstGeom prst="chevron">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a:lnSpc>
              <a:spcPct val="90000"/>
            </a:lnSpc>
            <a:spcBef>
              <a:spcPct val="0"/>
            </a:spcBef>
            <a:spcAft>
              <a:spcPct val="35000"/>
            </a:spcAft>
            <a:buNone/>
          </a:pPr>
          <a:r>
            <a:rPr lang="en-US" sz="2800" kern="1200" baseline="0" dirty="0"/>
            <a:t>DTU based </a:t>
          </a:r>
          <a:endParaRPr lang="en-US" sz="2800" kern="1200" dirty="0"/>
        </a:p>
      </dsp:txBody>
      <dsp:txXfrm>
        <a:off x="701693" y="1775769"/>
        <a:ext cx="2084764" cy="1389842"/>
      </dsp:txXfrm>
    </dsp:sp>
    <dsp:sp modelId="{D828D2B7-B7E9-4A37-B1AE-C80A7E6C30B0}">
      <dsp:nvSpPr>
        <dsp:cNvPr id="0" name=""/>
        <dsp:cNvSpPr/>
      </dsp:nvSpPr>
      <dsp:spPr>
        <a:xfrm>
          <a:off x="3029680" y="1893905"/>
          <a:ext cx="2883923" cy="1153569"/>
        </a:xfrm>
        <a:prstGeom prst="chevron">
          <a:avLst/>
        </a:prstGeom>
        <a:solidFill>
          <a:schemeClr val="dk2">
            <a:alpha val="90000"/>
            <a:tint val="40000"/>
            <a:hueOff val="0"/>
            <a:satOff val="0"/>
            <a:lumOff val="0"/>
            <a:alphaOff val="0"/>
          </a:scheme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Basic</a:t>
          </a:r>
          <a:endParaRPr lang="en-US" sz="2000" kern="1200" dirty="0"/>
        </a:p>
      </dsp:txBody>
      <dsp:txXfrm>
        <a:off x="3606465" y="1893905"/>
        <a:ext cx="1730354" cy="1153569"/>
      </dsp:txXfrm>
    </dsp:sp>
    <dsp:sp modelId="{6679B128-AD39-4BAB-8CF9-168F57776BA2}">
      <dsp:nvSpPr>
        <dsp:cNvPr id="0" name=""/>
        <dsp:cNvSpPr/>
      </dsp:nvSpPr>
      <dsp:spPr>
        <a:xfrm>
          <a:off x="5509855" y="1893905"/>
          <a:ext cx="2883923" cy="1153569"/>
        </a:xfrm>
        <a:prstGeom prst="chevron">
          <a:avLst/>
        </a:prstGeom>
        <a:solidFill>
          <a:schemeClr val="dk2">
            <a:alpha val="90000"/>
            <a:tint val="40000"/>
            <a:hueOff val="0"/>
            <a:satOff val="0"/>
            <a:lumOff val="0"/>
            <a:alphaOff val="0"/>
          </a:scheme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Standard</a:t>
          </a:r>
          <a:endParaRPr lang="en-US" sz="2000" kern="1200" dirty="0"/>
        </a:p>
      </dsp:txBody>
      <dsp:txXfrm>
        <a:off x="6086640" y="1893905"/>
        <a:ext cx="1730354" cy="1153569"/>
      </dsp:txXfrm>
    </dsp:sp>
    <dsp:sp modelId="{F68BEEB1-9633-43E9-8BE2-8EAF9E0B2A3E}">
      <dsp:nvSpPr>
        <dsp:cNvPr id="0" name=""/>
        <dsp:cNvSpPr/>
      </dsp:nvSpPr>
      <dsp:spPr>
        <a:xfrm>
          <a:off x="7990029" y="1893905"/>
          <a:ext cx="2883923" cy="1153569"/>
        </a:xfrm>
        <a:prstGeom prst="chevron">
          <a:avLst/>
        </a:prstGeom>
        <a:solidFill>
          <a:schemeClr val="dk2">
            <a:alpha val="90000"/>
            <a:tint val="40000"/>
            <a:hueOff val="0"/>
            <a:satOff val="0"/>
            <a:lumOff val="0"/>
            <a:alphaOff val="0"/>
          </a:scheme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Premium</a:t>
          </a:r>
          <a:endParaRPr lang="en-US" sz="2000" kern="1200" dirty="0"/>
        </a:p>
      </dsp:txBody>
      <dsp:txXfrm>
        <a:off x="8566814" y="1893905"/>
        <a:ext cx="1730354" cy="1153569"/>
      </dsp:txXfrm>
    </dsp:sp>
    <dsp:sp modelId="{4C260DCB-F5FD-4739-B27A-C3C202058DAC}">
      <dsp:nvSpPr>
        <dsp:cNvPr id="0" name=""/>
        <dsp:cNvSpPr/>
      </dsp:nvSpPr>
      <dsp:spPr>
        <a:xfrm>
          <a:off x="6772" y="3360189"/>
          <a:ext cx="3474606" cy="1389842"/>
        </a:xfrm>
        <a:prstGeom prst="chevron">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a:lnSpc>
              <a:spcPct val="90000"/>
            </a:lnSpc>
            <a:spcBef>
              <a:spcPct val="0"/>
            </a:spcBef>
            <a:spcAft>
              <a:spcPct val="35000"/>
            </a:spcAft>
            <a:buNone/>
          </a:pPr>
          <a:r>
            <a:rPr lang="en-US" sz="2800" kern="1200" baseline="0" dirty="0"/>
            <a:t>vCore based</a:t>
          </a:r>
          <a:endParaRPr lang="en-US" sz="2800" kern="1200" dirty="0"/>
        </a:p>
      </dsp:txBody>
      <dsp:txXfrm>
        <a:off x="701693" y="3360189"/>
        <a:ext cx="2084764" cy="1389842"/>
      </dsp:txXfrm>
    </dsp:sp>
    <dsp:sp modelId="{206D7FF8-F6B9-4500-9E02-2062541EEAD4}">
      <dsp:nvSpPr>
        <dsp:cNvPr id="0" name=""/>
        <dsp:cNvSpPr/>
      </dsp:nvSpPr>
      <dsp:spPr>
        <a:xfrm>
          <a:off x="3029680" y="3478326"/>
          <a:ext cx="2883923" cy="1153569"/>
        </a:xfrm>
        <a:prstGeom prst="chevron">
          <a:avLst/>
        </a:prstGeom>
        <a:solidFill>
          <a:srgbClr val="50E6FF">
            <a:alpha val="90000"/>
          </a:srgb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General purpose</a:t>
          </a:r>
          <a:r>
            <a:rPr lang="en-US" sz="2000" kern="1200" baseline="0" dirty="0"/>
            <a:t>.</a:t>
          </a:r>
          <a:endParaRPr lang="en-US" sz="2000" kern="1200" dirty="0"/>
        </a:p>
      </dsp:txBody>
      <dsp:txXfrm>
        <a:off x="3606465" y="3478326"/>
        <a:ext cx="1730354" cy="1153569"/>
      </dsp:txXfrm>
    </dsp:sp>
    <dsp:sp modelId="{3B623178-8E9D-4A3D-ADEB-54F2F088518A}">
      <dsp:nvSpPr>
        <dsp:cNvPr id="0" name=""/>
        <dsp:cNvSpPr/>
      </dsp:nvSpPr>
      <dsp:spPr>
        <a:xfrm>
          <a:off x="5509855" y="3478326"/>
          <a:ext cx="2883923" cy="1153569"/>
        </a:xfrm>
        <a:prstGeom prst="chevron">
          <a:avLst/>
        </a:prstGeom>
        <a:solidFill>
          <a:srgbClr val="50E6FF">
            <a:alpha val="90000"/>
          </a:srgb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Business critical	</a:t>
          </a:r>
          <a:endParaRPr lang="en-US" sz="2000" kern="1200" dirty="0"/>
        </a:p>
      </dsp:txBody>
      <dsp:txXfrm>
        <a:off x="6086640" y="3478326"/>
        <a:ext cx="1730354" cy="1153569"/>
      </dsp:txXfrm>
    </dsp:sp>
    <dsp:sp modelId="{D64817FE-A4A1-48B6-9EAA-67AC8D3DE931}">
      <dsp:nvSpPr>
        <dsp:cNvPr id="0" name=""/>
        <dsp:cNvSpPr/>
      </dsp:nvSpPr>
      <dsp:spPr>
        <a:xfrm>
          <a:off x="7990029" y="3478326"/>
          <a:ext cx="2883923" cy="1153569"/>
        </a:xfrm>
        <a:prstGeom prst="chevron">
          <a:avLst/>
        </a:prstGeom>
        <a:solidFill>
          <a:schemeClr val="dk2">
            <a:alpha val="90000"/>
            <a:tint val="40000"/>
            <a:hueOff val="0"/>
            <a:satOff val="0"/>
            <a:lumOff val="0"/>
            <a:alphaOff val="0"/>
          </a:scheme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Hyperscale</a:t>
          </a:r>
          <a:endParaRPr lang="en-US" sz="2000" kern="1200" dirty="0"/>
        </a:p>
      </dsp:txBody>
      <dsp:txXfrm>
        <a:off x="8566814" y="3478326"/>
        <a:ext cx="1730354" cy="115356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8B3D66-C13A-4D18-A9F5-B4C57A7DFC1E}">
      <dsp:nvSpPr>
        <dsp:cNvPr id="0" name=""/>
        <dsp:cNvSpPr/>
      </dsp:nvSpPr>
      <dsp:spPr>
        <a:xfrm>
          <a:off x="0" y="138"/>
          <a:ext cx="5576164" cy="73015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spc="0" dirty="0">
              <a:solidFill>
                <a:prstClr val="black"/>
              </a:solidFill>
              <a:cs typeface="Segoe UI Semilight" panose="020B0402040204020203" pitchFamily="34" charset="0"/>
            </a:rPr>
            <a:t>Basic (DTU), Standard (DTU), General Purpose (vCore)</a:t>
          </a:r>
          <a:endParaRPr lang="en-US" sz="1800" kern="1200" dirty="0"/>
        </a:p>
      </dsp:txBody>
      <dsp:txXfrm>
        <a:off x="35643" y="35781"/>
        <a:ext cx="5504878" cy="658866"/>
      </dsp:txXfrm>
    </dsp:sp>
    <dsp:sp modelId="{E36EA90D-00A0-402A-AE8E-6B81F1BF982C}">
      <dsp:nvSpPr>
        <dsp:cNvPr id="0" name=""/>
        <dsp:cNvSpPr/>
      </dsp:nvSpPr>
      <dsp:spPr>
        <a:xfrm>
          <a:off x="0" y="743945"/>
          <a:ext cx="5576164" cy="73015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dirty="0"/>
            <a:t>Behaves like Failover Cluster Instance</a:t>
          </a:r>
          <a:endParaRPr lang="en-US" sz="1800" kern="1200" dirty="0"/>
        </a:p>
      </dsp:txBody>
      <dsp:txXfrm>
        <a:off x="35643" y="779588"/>
        <a:ext cx="5504878" cy="658866"/>
      </dsp:txXfrm>
    </dsp:sp>
    <dsp:sp modelId="{537AC4EA-398B-43C1-BEB6-8CE04874A155}">
      <dsp:nvSpPr>
        <dsp:cNvPr id="0" name=""/>
        <dsp:cNvSpPr/>
      </dsp:nvSpPr>
      <dsp:spPr>
        <a:xfrm>
          <a:off x="0" y="1487752"/>
          <a:ext cx="5576164" cy="73015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dirty="0"/>
            <a:t>Remote storage provides data redundancy</a:t>
          </a:r>
          <a:endParaRPr lang="en-US" sz="1800" kern="1200" dirty="0"/>
        </a:p>
      </dsp:txBody>
      <dsp:txXfrm>
        <a:off x="35643" y="1523395"/>
        <a:ext cx="5504878" cy="658866"/>
      </dsp:txXfrm>
    </dsp:sp>
    <dsp:sp modelId="{3702D849-64F8-4231-B63E-4506249F1CC1}">
      <dsp:nvSpPr>
        <dsp:cNvPr id="0" name=""/>
        <dsp:cNvSpPr/>
      </dsp:nvSpPr>
      <dsp:spPr>
        <a:xfrm>
          <a:off x="0" y="2231559"/>
          <a:ext cx="5576164" cy="73015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dirty="0"/>
            <a:t>Backup files are in a different location with geo-redundancy</a:t>
          </a:r>
          <a:endParaRPr lang="en-US" sz="1800" kern="1200" dirty="0"/>
        </a:p>
      </dsp:txBody>
      <dsp:txXfrm>
        <a:off x="35643" y="2267202"/>
        <a:ext cx="5504878" cy="658866"/>
      </dsp:txXfrm>
    </dsp:sp>
    <dsp:sp modelId="{E5E9969B-1DA8-4403-8189-78DCE572C060}">
      <dsp:nvSpPr>
        <dsp:cNvPr id="0" name=""/>
        <dsp:cNvSpPr/>
      </dsp:nvSpPr>
      <dsp:spPr>
        <a:xfrm>
          <a:off x="0" y="2975366"/>
          <a:ext cx="5576164" cy="73015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dirty="0"/>
            <a:t>Failover decisions based on SQL and Service Fabric</a:t>
          </a:r>
          <a:endParaRPr lang="en-US" sz="1800" kern="1200" dirty="0"/>
        </a:p>
      </dsp:txBody>
      <dsp:txXfrm>
        <a:off x="35643" y="3011009"/>
        <a:ext cx="5504878" cy="658866"/>
      </dsp:txXfrm>
    </dsp:sp>
    <dsp:sp modelId="{AB439D44-51AC-40C7-A2AF-BA9416B69608}">
      <dsp:nvSpPr>
        <dsp:cNvPr id="0" name=""/>
        <dsp:cNvSpPr/>
      </dsp:nvSpPr>
      <dsp:spPr>
        <a:xfrm>
          <a:off x="0" y="3719173"/>
          <a:ext cx="5576164" cy="73015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dirty="0"/>
            <a:t>Recovery time depends on spare capacity</a:t>
          </a:r>
          <a:endParaRPr lang="en-US" sz="1800" kern="1200" dirty="0"/>
        </a:p>
      </dsp:txBody>
      <dsp:txXfrm>
        <a:off x="35643" y="3754816"/>
        <a:ext cx="5504878" cy="658866"/>
      </dsp:txXfrm>
    </dsp:sp>
    <dsp:sp modelId="{DB7A2EDD-92C5-4A6A-B200-2C7B74D1F812}">
      <dsp:nvSpPr>
        <dsp:cNvPr id="0" name=""/>
        <dsp:cNvSpPr/>
      </dsp:nvSpPr>
      <dsp:spPr>
        <a:xfrm>
          <a:off x="0" y="4462981"/>
          <a:ext cx="5576164" cy="730152"/>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dirty="0"/>
            <a:t>Connectivity redirection built-in</a:t>
          </a:r>
          <a:endParaRPr lang="en-US" sz="1800" kern="1200" dirty="0"/>
        </a:p>
      </dsp:txBody>
      <dsp:txXfrm>
        <a:off x="35643" y="4498624"/>
        <a:ext cx="5504878" cy="65886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A3163D-1879-4D8B-9BA2-452BFAE29D63}">
      <dsp:nvSpPr>
        <dsp:cNvPr id="0" name=""/>
        <dsp:cNvSpPr/>
      </dsp:nvSpPr>
      <dsp:spPr>
        <a:xfrm>
          <a:off x="0" y="15757"/>
          <a:ext cx="5942048" cy="759622"/>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Premium (DTU) and Business Critical (vCore) </a:t>
          </a:r>
        </a:p>
      </dsp:txBody>
      <dsp:txXfrm>
        <a:off x="37082" y="52839"/>
        <a:ext cx="5867884" cy="685458"/>
      </dsp:txXfrm>
    </dsp:sp>
    <dsp:sp modelId="{F42CA42F-8213-4F2B-B1C0-130C4E22641A}">
      <dsp:nvSpPr>
        <dsp:cNvPr id="0" name=""/>
        <dsp:cNvSpPr/>
      </dsp:nvSpPr>
      <dsp:spPr>
        <a:xfrm>
          <a:off x="0" y="821459"/>
          <a:ext cx="5942048" cy="759622"/>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High availability is implemented using a technology like SQL Server Always On Availability Groups.</a:t>
          </a:r>
          <a:endParaRPr lang="en-US" sz="1800" kern="1200" dirty="0"/>
        </a:p>
      </dsp:txBody>
      <dsp:txXfrm>
        <a:off x="37082" y="858541"/>
        <a:ext cx="5867884" cy="685458"/>
      </dsp:txXfrm>
    </dsp:sp>
    <dsp:sp modelId="{B06B420D-62A6-45D3-9F81-785F0ECBC258}">
      <dsp:nvSpPr>
        <dsp:cNvPr id="0" name=""/>
        <dsp:cNvSpPr/>
      </dsp:nvSpPr>
      <dsp:spPr>
        <a:xfrm>
          <a:off x="0" y="1627162"/>
          <a:ext cx="5942048" cy="759622"/>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High availability is achieved by replicating both compute and storage to additional nodes.</a:t>
          </a:r>
          <a:endParaRPr lang="en-US" sz="1800" kern="1200" dirty="0"/>
        </a:p>
      </dsp:txBody>
      <dsp:txXfrm>
        <a:off x="37082" y="1664244"/>
        <a:ext cx="5867884" cy="685458"/>
      </dsp:txXfrm>
    </dsp:sp>
    <dsp:sp modelId="{BECA90C4-0169-476B-B9CD-10DC1079713E}">
      <dsp:nvSpPr>
        <dsp:cNvPr id="0" name=""/>
        <dsp:cNvSpPr/>
      </dsp:nvSpPr>
      <dsp:spPr>
        <a:xfrm>
          <a:off x="0" y="2432865"/>
          <a:ext cx="5942048" cy="759622"/>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The cluster includes a single primary replica for read-write workloads, and up to three secondary replicas.</a:t>
          </a:r>
          <a:endParaRPr lang="en-US" sz="1800" kern="1200" dirty="0"/>
        </a:p>
      </dsp:txBody>
      <dsp:txXfrm>
        <a:off x="37082" y="2469947"/>
        <a:ext cx="5867884" cy="685458"/>
      </dsp:txXfrm>
    </dsp:sp>
    <dsp:sp modelId="{830F2B68-0BDA-41F1-B615-45D9E6FFAD20}">
      <dsp:nvSpPr>
        <dsp:cNvPr id="0" name=""/>
        <dsp:cNvSpPr/>
      </dsp:nvSpPr>
      <dsp:spPr>
        <a:xfrm>
          <a:off x="0" y="3238567"/>
          <a:ext cx="5942048" cy="759622"/>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a:t>The failover is initiated by the Azure Service Fabric. </a:t>
          </a:r>
          <a:endParaRPr lang="en-US" sz="1800" kern="1200"/>
        </a:p>
      </dsp:txBody>
      <dsp:txXfrm>
        <a:off x="37082" y="3275649"/>
        <a:ext cx="5867884" cy="685458"/>
      </dsp:txXfrm>
    </dsp:sp>
    <dsp:sp modelId="{B6797D5E-7071-420D-A8A1-F13F83CDA104}">
      <dsp:nvSpPr>
        <dsp:cNvPr id="0" name=""/>
        <dsp:cNvSpPr/>
      </dsp:nvSpPr>
      <dsp:spPr>
        <a:xfrm>
          <a:off x="0" y="4044269"/>
          <a:ext cx="5942048" cy="759622"/>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As an extra benefit, the premium availability model includes Read Scale-Out feature. </a:t>
          </a:r>
          <a:endParaRPr lang="en-US" sz="1800" kern="1200" dirty="0"/>
        </a:p>
      </dsp:txBody>
      <dsp:txXfrm>
        <a:off x="37082" y="4081351"/>
        <a:ext cx="5867884" cy="68545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F58ECE-E330-4A66-8ACD-CC97126ECAFB}">
      <dsp:nvSpPr>
        <dsp:cNvPr id="0" name=""/>
        <dsp:cNvSpPr/>
      </dsp:nvSpPr>
      <dsp:spPr>
        <a:xfrm>
          <a:off x="0" y="29504"/>
          <a:ext cx="6049962" cy="106704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Read Scale-Out redirects the read-only client connections to one of the ready-only replicas available instead of sharing the read-write replica.</a:t>
          </a:r>
          <a:endParaRPr lang="en-US" sz="1800" kern="1200" dirty="0"/>
        </a:p>
      </dsp:txBody>
      <dsp:txXfrm>
        <a:off x="52089" y="81593"/>
        <a:ext cx="5945784" cy="962862"/>
      </dsp:txXfrm>
    </dsp:sp>
    <dsp:sp modelId="{651DBB4B-8CC4-4D09-8D99-D9B8643C675B}">
      <dsp:nvSpPr>
        <dsp:cNvPr id="0" name=""/>
        <dsp:cNvSpPr/>
      </dsp:nvSpPr>
      <dsp:spPr>
        <a:xfrm>
          <a:off x="0" y="1260704"/>
          <a:ext cx="6049962" cy="106704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a:t>Use </a:t>
          </a:r>
          <a:r>
            <a:rPr lang="en-US" sz="1800" b="1" kern="1200" baseline="0"/>
            <a:t>ApplicationIntent=ReadOnly</a:t>
          </a:r>
          <a:r>
            <a:rPr lang="en-US" sz="1800" kern="1200" baseline="0"/>
            <a:t>; to connect to the read-only replica.</a:t>
          </a:r>
          <a:endParaRPr lang="en-US" sz="1800" kern="1200" dirty="0"/>
        </a:p>
      </dsp:txBody>
      <dsp:txXfrm>
        <a:off x="52089" y="1312793"/>
        <a:ext cx="5945784" cy="962862"/>
      </dsp:txXfrm>
    </dsp:sp>
    <dsp:sp modelId="{D3F384AA-85F2-4B08-B574-A483E80232AD}">
      <dsp:nvSpPr>
        <dsp:cNvPr id="0" name=""/>
        <dsp:cNvSpPr/>
      </dsp:nvSpPr>
      <dsp:spPr>
        <a:xfrm>
          <a:off x="0" y="2491905"/>
          <a:ext cx="6049962" cy="106704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Effectively isolate the read-only workload from the main read-write workload and doubles the compute capacity of the database or elastic pool at no additional charge.</a:t>
          </a:r>
          <a:endParaRPr lang="en-US" sz="1800" kern="1200" dirty="0"/>
        </a:p>
      </dsp:txBody>
      <dsp:txXfrm>
        <a:off x="52089" y="2543994"/>
        <a:ext cx="5945784" cy="962862"/>
      </dsp:txXfrm>
    </dsp:sp>
    <dsp:sp modelId="{24E8AE9F-B2AC-4814-AFA5-0F6C69A7DFC0}">
      <dsp:nvSpPr>
        <dsp:cNvPr id="0" name=""/>
        <dsp:cNvSpPr/>
      </dsp:nvSpPr>
      <dsp:spPr>
        <a:xfrm>
          <a:off x="0" y="3723105"/>
          <a:ext cx="6049962" cy="106704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This is ideal to scale-out for complex analytical workloads without affecting the primary OLTP workload.</a:t>
          </a:r>
          <a:endParaRPr lang="en-US" sz="1800" kern="1200" dirty="0"/>
        </a:p>
      </dsp:txBody>
      <dsp:txXfrm>
        <a:off x="52089" y="3775194"/>
        <a:ext cx="5945784" cy="96286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150C90-4557-4E51-9601-49BD483DC06D}">
      <dsp:nvSpPr>
        <dsp:cNvPr id="0" name=""/>
        <dsp:cNvSpPr/>
      </dsp:nvSpPr>
      <dsp:spPr>
        <a:xfrm>
          <a:off x="0" y="307605"/>
          <a:ext cx="5639732" cy="10143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dirty="0"/>
            <a:t>Zone redundant configurations are  available in the Premium, Business Critical, General Purpose and Hyperscale Service Tiers</a:t>
          </a:r>
          <a:endParaRPr lang="en-US" sz="1700" kern="1200" dirty="0"/>
        </a:p>
      </dsp:txBody>
      <dsp:txXfrm>
        <a:off x="49518" y="357123"/>
        <a:ext cx="5540696" cy="915353"/>
      </dsp:txXfrm>
    </dsp:sp>
    <dsp:sp modelId="{BE7AC363-275C-4D69-9598-B69A7310C7CB}">
      <dsp:nvSpPr>
        <dsp:cNvPr id="0" name=""/>
        <dsp:cNvSpPr/>
      </dsp:nvSpPr>
      <dsp:spPr>
        <a:xfrm>
          <a:off x="0" y="1370955"/>
          <a:ext cx="5639732" cy="10143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b="0" i="0" kern="1200" dirty="0"/>
            <a:t>SQL Database can place different replicas of the Business-Critical database to different availability zones in the same region.</a:t>
          </a:r>
          <a:endParaRPr lang="en-US" sz="1700" kern="1200" dirty="0"/>
        </a:p>
      </dsp:txBody>
      <dsp:txXfrm>
        <a:off x="49518" y="1420473"/>
        <a:ext cx="5540696" cy="915353"/>
      </dsp:txXfrm>
    </dsp:sp>
    <dsp:sp modelId="{EA816DA8-16B2-491E-982A-E36D7B2BFC13}">
      <dsp:nvSpPr>
        <dsp:cNvPr id="0" name=""/>
        <dsp:cNvSpPr/>
      </dsp:nvSpPr>
      <dsp:spPr>
        <a:xfrm>
          <a:off x="0" y="2434305"/>
          <a:ext cx="5639732" cy="10143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t>The routing is controlled by Azure Traffic Manager (ATM). </a:t>
          </a:r>
        </a:p>
      </dsp:txBody>
      <dsp:txXfrm>
        <a:off x="49518" y="2483823"/>
        <a:ext cx="5540696" cy="915353"/>
      </dsp:txXfrm>
    </dsp:sp>
    <dsp:sp modelId="{7F4B4DDA-AD1B-47B1-B8C7-B012B21334C2}">
      <dsp:nvSpPr>
        <dsp:cNvPr id="0" name=""/>
        <dsp:cNvSpPr/>
      </dsp:nvSpPr>
      <dsp:spPr>
        <a:xfrm>
          <a:off x="0" y="3497655"/>
          <a:ext cx="5639732" cy="10143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t>The zone redundant databases have replicas in different datacenters with some distance between them, the increased network latency may impact the performance.</a:t>
          </a:r>
        </a:p>
      </dsp:txBody>
      <dsp:txXfrm>
        <a:off x="49518" y="3547173"/>
        <a:ext cx="5540696" cy="91535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B47629-8717-4462-8A97-67BD9CEBE89A}">
      <dsp:nvSpPr>
        <dsp:cNvPr id="0" name=""/>
        <dsp:cNvSpPr/>
      </dsp:nvSpPr>
      <dsp:spPr>
        <a:xfrm>
          <a:off x="0" y="91284"/>
          <a:ext cx="5639732" cy="8928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b="0" i="0" kern="1200" dirty="0"/>
            <a:t>By default, the cluster of nodes for the premium availability model is created in the same datacenter. </a:t>
          </a:r>
          <a:endParaRPr lang="en-US" sz="1500" kern="1200" dirty="0"/>
        </a:p>
      </dsp:txBody>
      <dsp:txXfrm>
        <a:off x="43586" y="134870"/>
        <a:ext cx="5552560" cy="805684"/>
      </dsp:txXfrm>
    </dsp:sp>
    <dsp:sp modelId="{BE7AC363-275C-4D69-9598-B69A7310C7CB}">
      <dsp:nvSpPr>
        <dsp:cNvPr id="0" name=""/>
        <dsp:cNvSpPr/>
      </dsp:nvSpPr>
      <dsp:spPr>
        <a:xfrm>
          <a:off x="0" y="1027340"/>
          <a:ext cx="5639732" cy="8928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b="0" i="0" kern="1200" dirty="0"/>
            <a:t>SQL Database can place different replicas of the Business-Critical database to different availability zones in the same region.</a:t>
          </a:r>
          <a:endParaRPr lang="en-US" sz="1500" kern="1200" dirty="0"/>
        </a:p>
      </dsp:txBody>
      <dsp:txXfrm>
        <a:off x="43586" y="1070926"/>
        <a:ext cx="5552560" cy="805684"/>
      </dsp:txXfrm>
    </dsp:sp>
    <dsp:sp modelId="{EA816DA8-16B2-491E-982A-E36D7B2BFC13}">
      <dsp:nvSpPr>
        <dsp:cNvPr id="0" name=""/>
        <dsp:cNvSpPr/>
      </dsp:nvSpPr>
      <dsp:spPr>
        <a:xfrm>
          <a:off x="0" y="1963396"/>
          <a:ext cx="5639732" cy="8928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dirty="0"/>
            <a:t>The routing is controlled by Azure Traffic Manager (ATM). </a:t>
          </a:r>
        </a:p>
      </dsp:txBody>
      <dsp:txXfrm>
        <a:off x="43586" y="2006982"/>
        <a:ext cx="5552560" cy="805684"/>
      </dsp:txXfrm>
    </dsp:sp>
    <dsp:sp modelId="{7F4B4DDA-AD1B-47B1-B8C7-B012B21334C2}">
      <dsp:nvSpPr>
        <dsp:cNvPr id="0" name=""/>
        <dsp:cNvSpPr/>
      </dsp:nvSpPr>
      <dsp:spPr>
        <a:xfrm>
          <a:off x="0" y="2899453"/>
          <a:ext cx="5639732" cy="8928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dirty="0"/>
            <a:t>The zone redundant databases have replicas in different datacenters with some distance between them, the increased network latency may impact the performance.</a:t>
          </a:r>
        </a:p>
      </dsp:txBody>
      <dsp:txXfrm>
        <a:off x="43586" y="2943039"/>
        <a:ext cx="5552560" cy="805684"/>
      </dsp:txXfrm>
    </dsp:sp>
    <dsp:sp modelId="{08286313-9289-4961-8FE9-CC08C61FA2EE}">
      <dsp:nvSpPr>
        <dsp:cNvPr id="0" name=""/>
        <dsp:cNvSpPr/>
      </dsp:nvSpPr>
      <dsp:spPr>
        <a:xfrm>
          <a:off x="0" y="3835509"/>
          <a:ext cx="5639732" cy="8928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baseline="0" dirty="0"/>
            <a:t>Zone redundant configurations are  available in the Premium, Business Critical, General Purpose and Hyperscale Service Tiers. </a:t>
          </a:r>
          <a:endParaRPr lang="en-US" sz="1500" kern="1200" dirty="0"/>
        </a:p>
      </dsp:txBody>
      <dsp:txXfrm>
        <a:off x="43586" y="3879095"/>
        <a:ext cx="5552560" cy="805684"/>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BA6064-FDE0-48E8-9405-22609F48ED19}" type="datetimeFigureOut">
              <a:rPr lang="en-US" smtClean="0"/>
              <a:t>8/1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E97690-D681-4B47-8FD4-7300C9E579A2}" type="slidenum">
              <a:rPr lang="en-US" smtClean="0"/>
              <a:t>‹#›</a:t>
            </a:fld>
            <a:endParaRPr lang="en-US"/>
          </a:p>
        </p:txBody>
      </p:sp>
    </p:spTree>
    <p:extLst>
      <p:ext uri="{BB962C8B-B14F-4D97-AF65-F5344CB8AC3E}">
        <p14:creationId xmlns:p14="http://schemas.microsoft.com/office/powerpoint/2010/main" val="2462315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azure/availability-zones/az-overview"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docs.microsoft.com/en-us/azure/traffic-manager/traffic-manager-overview"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availability-zones/az-overview"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s://docs.microsoft.com/en-us/azure/traffic-manager/traffic-manager-overview"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sql/database-engine/availability-groups/windows/overview-of-always-on-availability-groups-sql-server"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learn.microsoft.com/en-us/azure/azure-sql/database/standby-replica-how-to-configure?view=azuresql"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azure/sql-database/sql-database-managed-instance-long-term-backup-retention-configure"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sql/database-engine/availability-groups/windows/overview-of-always-on-availability-groups-sql-server"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azure/sql-database/sql-database-high-availability"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sql/database-engine/availability-groups/windows/overview-of-always-on-availability-groups-sql-server"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Segoe UI" panose="020B0502040204020203" pitchFamily="34" charset="0"/>
            </a:endParaRPr>
          </a:p>
        </p:txBody>
      </p:sp>
    </p:spTree>
    <p:extLst>
      <p:ext uri="{BB962C8B-B14F-4D97-AF65-F5344CB8AC3E}">
        <p14:creationId xmlns:p14="http://schemas.microsoft.com/office/powerpoint/2010/main" val="3470079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Each database in the Premium tier (DTU-based purchasing model) or in the Business Critical tier (vCore-based purchasing model) is automatically provisioned with several AlwaysON replicas to support the availability SLA.</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ese replicas are provisioned with the same compute size as the read-write replica used by the regular database connections.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e Read Scale-Out feature allows you to load balance SQL Database read-only workloads using the capacity of one of the read-only replicas instead of sharing the read-write replica.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is way the read-only workload will be isolated from the main read-write workload and will not affect its performance.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e feature is intended for the applications that include logically separated read-only workloads, such as analytics, and therefore could gain performance benefits using this additional capacity at no extra cost.</a:t>
            </a:r>
            <a:endParaRPr lang="nl-BE"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397305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Zone-redundant availability ensures your data is spread across three Azure Availability Zones in the Primary Region. Each availability zone is separate physical location with independent power, cooling and networking.</a:t>
            </a:r>
          </a:p>
          <a:p>
            <a:endParaRPr lang="en-US" sz="800" b="0" i="0" u="none" strike="noStrike" kern="1200" dirty="0">
              <a:solidFill>
                <a:schemeClr val="tx1"/>
              </a:solidFill>
              <a:effectLst/>
              <a:latin typeface="Segoe UI Light" pitchFamily="34" charset="0"/>
              <a:ea typeface="+mn-ea"/>
              <a:cs typeface="+mn-cs"/>
            </a:endParaRPr>
          </a:p>
          <a:p>
            <a:pPr lvl="0"/>
            <a:r>
              <a:rPr lang="en-US" sz="1600" baseline="0" dirty="0"/>
              <a:t>Zone redundant configurations are  available in the Premium, Business Critical, General Purpose and Hyperscale Service Tiers. But not available for Basic and Standard Service tiers of the DTU based purchasing model. Each </a:t>
            </a:r>
            <a:r>
              <a:rPr lang="en-US" sz="1600" baseline="0" dirty="0" err="1"/>
              <a:t>Serivce</a:t>
            </a:r>
            <a:r>
              <a:rPr lang="en-US" sz="1600" baseline="0" dirty="0"/>
              <a:t> tier implements Zone-redundant availability differently.</a:t>
            </a:r>
          </a:p>
          <a:p>
            <a:pPr lvl="0"/>
            <a:endParaRPr lang="en-US" sz="1600" baseline="0" dirty="0"/>
          </a:p>
          <a:p>
            <a:pPr lvl="0"/>
            <a:r>
              <a:rPr lang="en-US" sz="1600" baseline="0" dirty="0"/>
              <a:t>In General purpose service tier, zone-redundant is available for both serverless and provisioned compute for databases in </a:t>
            </a:r>
            <a:r>
              <a:rPr lang="en-US" sz="1600" baseline="0" dirty="0" err="1"/>
              <a:t>vCore</a:t>
            </a:r>
            <a:r>
              <a:rPr lang="en-US" sz="1600" baseline="0" dirty="0"/>
              <a:t> purchasing model. </a:t>
            </a:r>
            <a:endParaRPr lang="en-US" sz="1600" dirty="0"/>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By default, the quorum-set replicas for the local storage configurations are created in the same datacenter. With the introduction of </a:t>
            </a:r>
            <a:r>
              <a:rPr lang="en-US" sz="800" b="0" i="0" u="sng" strike="noStrike" kern="1200" dirty="0">
                <a:solidFill>
                  <a:schemeClr val="tx1"/>
                </a:solidFill>
                <a:effectLst/>
                <a:latin typeface="Segoe UI Light" pitchFamily="34" charset="0"/>
                <a:ea typeface="+mn-ea"/>
                <a:cs typeface="+mn-cs"/>
                <a:hlinkClick r:id="rId3"/>
              </a:rPr>
              <a:t>Azure Availability Zones</a:t>
            </a:r>
            <a:r>
              <a:rPr lang="en-US" sz="800" b="0" i="0" u="none" strike="noStrike" kern="1200" dirty="0">
                <a:solidFill>
                  <a:schemeClr val="tx1"/>
                </a:solidFill>
                <a:effectLst/>
                <a:latin typeface="Segoe UI Light" pitchFamily="34" charset="0"/>
                <a:ea typeface="+mn-ea"/>
                <a:cs typeface="+mn-cs"/>
              </a:rPr>
              <a:t>, you have the ability to place the different replicas in the quorum-sets to different availability zones in the same region. To eliminate a single point of failure, the control ring is also duplicated across multiple zones as three gateway rings (GW). The routing to a specific gateway ring is controlled by </a:t>
            </a:r>
            <a:r>
              <a:rPr lang="en-US" sz="800" b="0" i="0" u="sng" strike="noStrike" kern="1200" dirty="0">
                <a:solidFill>
                  <a:schemeClr val="tx1"/>
                </a:solidFill>
                <a:effectLst/>
                <a:latin typeface="Segoe UI Light" pitchFamily="34" charset="0"/>
                <a:ea typeface="+mn-ea"/>
                <a:cs typeface="+mn-cs"/>
                <a:hlinkClick r:id="rId4"/>
              </a:rPr>
              <a:t>Azure Traffic Manager</a:t>
            </a:r>
            <a:r>
              <a:rPr lang="en-US" sz="800" b="0" i="0" u="none" strike="noStrike" kern="1200" dirty="0">
                <a:solidFill>
                  <a:schemeClr val="tx1"/>
                </a:solidFill>
                <a:effectLst/>
                <a:latin typeface="Segoe UI Light" pitchFamily="34" charset="0"/>
                <a:ea typeface="+mn-ea"/>
                <a:cs typeface="+mn-cs"/>
              </a:rPr>
              <a:t> (ATM). Because the zone redundant configuration does not create additional database redundancy, the use of Availability Zones in the Premium or Business Critical service tiers is available at no extra cost. By selecting a zone redundant for  database, you can make your General-purpose databases resilient to a much larger set of failures, including catastrophic datacenter outages, without any changes of the application logic. </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Because the zone redundant quorum-set has replicas in different datacenters with some distance between them, the increased network latency may increase the commit time and thus impact the performance of some OLTP workloads. You can always return to the single-zone configuration by disabling the zone redundancy setting. This process is a size of data operation and is similar to the regular service level objective (SLO) update. At the end of the process, the database or pool is migrated from a zone redundant ring to a single zone ring or vice versa.</a:t>
            </a:r>
          </a:p>
          <a:p>
            <a:endParaRPr lang="nl-BE"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398943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By default, the quorum-set replicas for the local storage configurations are created in the same datacenter. With the introduction of </a:t>
            </a:r>
            <a:r>
              <a:rPr lang="en-US" sz="800" b="0" i="0" u="sng" strike="noStrike" kern="1200" dirty="0">
                <a:solidFill>
                  <a:schemeClr val="tx1"/>
                </a:solidFill>
                <a:effectLst/>
                <a:latin typeface="Segoe UI Light" pitchFamily="34" charset="0"/>
                <a:ea typeface="+mn-ea"/>
                <a:cs typeface="+mn-cs"/>
                <a:hlinkClick r:id="rId3"/>
              </a:rPr>
              <a:t>Azure Availability Zones</a:t>
            </a:r>
            <a:r>
              <a:rPr lang="en-US" sz="800" b="0" i="0" u="none" strike="noStrike" kern="1200" dirty="0">
                <a:solidFill>
                  <a:schemeClr val="tx1"/>
                </a:solidFill>
                <a:effectLst/>
                <a:latin typeface="Segoe UI Light" pitchFamily="34" charset="0"/>
                <a:ea typeface="+mn-ea"/>
                <a:cs typeface="+mn-cs"/>
              </a:rPr>
              <a:t>, you have the ability to place the different replicas in the quorum-sets to different availability zones in the same region. To eliminate a single point of failure, the control ring is also duplicated across multiple zones as three gateway rings (GW). The routing to a specific gateway ring is controlled by </a:t>
            </a:r>
            <a:r>
              <a:rPr lang="en-US" sz="800" b="0" i="0" u="sng" strike="noStrike" kern="1200" dirty="0">
                <a:solidFill>
                  <a:schemeClr val="tx1"/>
                </a:solidFill>
                <a:effectLst/>
                <a:latin typeface="Segoe UI Light" pitchFamily="34" charset="0"/>
                <a:ea typeface="+mn-ea"/>
                <a:cs typeface="+mn-cs"/>
                <a:hlinkClick r:id="rId4"/>
              </a:rPr>
              <a:t>Azure Traffic Manager</a:t>
            </a:r>
            <a:r>
              <a:rPr lang="en-US" sz="800" b="0" i="0" u="none" strike="noStrike" kern="1200" dirty="0">
                <a:solidFill>
                  <a:schemeClr val="tx1"/>
                </a:solidFill>
                <a:effectLst/>
                <a:latin typeface="Segoe UI Light" pitchFamily="34" charset="0"/>
                <a:ea typeface="+mn-ea"/>
                <a:cs typeface="+mn-cs"/>
              </a:rPr>
              <a:t> (ATM). Because the zone redundant configuration does not create additional database redundancy, the use of Availability Zones in the Premium or Business Critical service tiers is available at no extra cost. By selecting a zone redundant for  database, you can make your Premium or Business Critical databases resilient to a much larger set of failures, including catastrophic datacenter outages, without any changes of the application logic. You can also convert any existing Premium, Business Critical, General Purpose and Hyperscale Service tier databases or pools to the zone redundant configuration.</a:t>
            </a:r>
          </a:p>
          <a:p>
            <a:r>
              <a:rPr lang="en-US" sz="800" b="0" i="0" u="none" strike="noStrike" kern="1200" dirty="0">
                <a:solidFill>
                  <a:schemeClr val="tx1"/>
                </a:solidFill>
                <a:effectLst/>
                <a:latin typeface="Segoe UI Light" pitchFamily="34" charset="0"/>
                <a:ea typeface="+mn-ea"/>
                <a:cs typeface="+mn-cs"/>
              </a:rPr>
              <a:t>It is not available in the Basic and standard service tiers of the DTU-based purchasing model. </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Because the zone redundant quorum-set has replicas in different datacenters with some distance between them, the increased network latency may increase the commit time and thus impact the performance of some OLTP workloads. You can always return to the single-zone configuration by disabling the zone redundancy setting. This process is a size of data operation and is similar to the regular service level objective (SLO) update. At the end of the process, the database or pool is migrated from a zone redundant ring to a single zone ring or vice versa.</a:t>
            </a:r>
          </a:p>
          <a:p>
            <a:endParaRPr lang="nl-BE"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215504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https://learn.microsoft.com/en-us/azure/azure-sql/database/active-geo-replication-overview?view=azuresql</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Active geo-replication is designed as a business continuity solution that allows the application to perform quick disaster recovery in case of a data center scale outage. If geo-replication is enabled, the application can initiate failover to a secondary database in a different Azure region. Up to four secondaries are supported in the same or different regions, and the secondaries can also be used for read-only access queries. The failover must be initiated manually by the application or the user. After failover, the new primary has a different connection end point. </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If you are using active geo-replication and for any reason your primary database fails, or simply needs to be taken offline, you can initiate failover to any of your secondary databases. When failover is activated to one of the secondary databases, all other secondaries are automatically linked to the new primary.</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Active geo-replication leverages the </a:t>
            </a:r>
            <a:r>
              <a:rPr lang="en-US" sz="800" b="0" i="0" u="sng" kern="1200" dirty="0">
                <a:solidFill>
                  <a:schemeClr val="tx1"/>
                </a:solidFill>
                <a:effectLst/>
                <a:latin typeface="Segoe UI Light" pitchFamily="34" charset="0"/>
                <a:ea typeface="+mn-ea"/>
                <a:cs typeface="+mn-cs"/>
                <a:hlinkClick r:id="rId3"/>
              </a:rPr>
              <a:t>Always On</a:t>
            </a:r>
            <a:r>
              <a:rPr lang="en-US" sz="800" b="0" i="0" u="none" strike="noStrike" kern="1200" dirty="0">
                <a:solidFill>
                  <a:schemeClr val="tx1"/>
                </a:solidFill>
                <a:effectLst/>
                <a:latin typeface="Segoe UI Light" pitchFamily="34" charset="0"/>
                <a:ea typeface="+mn-ea"/>
                <a:cs typeface="+mn-cs"/>
              </a:rPr>
              <a:t> technology of SQL Server to asynchronously replicate committed transactions on the primary database to a secondary database using snapshot isolation. Auto-failover groups provide the group semantics on top of active geo-replication but the same asynchronous replication mechanism is used. While at any given point, the secondary database might be slightly behind the primary database, the secondary data is guaranteed to never have partial transactions. Cross-region redundancy enables applications to quickly recover from a permanent loss of an entire datacenter or parts of a datacenter caused by natural disasters, catastrophic human errors, or malicious acts. </a:t>
            </a:r>
            <a:endParaRPr lang="en-US" dirty="0"/>
          </a:p>
          <a:p>
            <a:endParaRPr lang="en-US" dirty="0"/>
          </a:p>
          <a:p>
            <a:r>
              <a:rPr lang="en-US" b="0" i="0" dirty="0">
                <a:solidFill>
                  <a:srgbClr val="161616"/>
                </a:solidFill>
                <a:effectLst/>
                <a:highlight>
                  <a:srgbClr val="FFFFFF"/>
                </a:highlight>
                <a:latin typeface="Segoe UI" panose="020B0502040204020203" pitchFamily="34" charset="0"/>
              </a:rPr>
              <a:t>If your secondary replica is used </a:t>
            </a:r>
            <a:r>
              <a:rPr lang="en-US" b="0" i="1" dirty="0">
                <a:solidFill>
                  <a:srgbClr val="161616"/>
                </a:solidFill>
                <a:effectLst/>
                <a:highlight>
                  <a:srgbClr val="FFFFFF"/>
                </a:highlight>
                <a:latin typeface="Segoe UI" panose="020B0502040204020203" pitchFamily="34" charset="0"/>
              </a:rPr>
              <a:t>only</a:t>
            </a:r>
            <a:r>
              <a:rPr lang="en-US" b="0" i="0" dirty="0">
                <a:solidFill>
                  <a:srgbClr val="161616"/>
                </a:solidFill>
                <a:effectLst/>
                <a:highlight>
                  <a:srgbClr val="FFFFFF"/>
                </a:highlight>
                <a:latin typeface="Segoe UI" panose="020B0502040204020203" pitchFamily="34" charset="0"/>
              </a:rPr>
              <a:t> for disaster recovery (DR) and doesn't have any read or write workloads, you can designate the replica as </a:t>
            </a:r>
            <a:r>
              <a:rPr lang="en-US" b="0" i="0" u="none" strike="noStrike" dirty="0">
                <a:effectLst/>
                <a:highlight>
                  <a:srgbClr val="FFFFFF"/>
                </a:highlight>
                <a:latin typeface="Segoe UI" panose="020B0502040204020203" pitchFamily="34" charset="0"/>
                <a:hlinkClick r:id="rId4"/>
              </a:rPr>
              <a:t>standby</a:t>
            </a:r>
            <a:r>
              <a:rPr lang="en-US" b="0" i="0" dirty="0">
                <a:solidFill>
                  <a:srgbClr val="161616"/>
                </a:solidFill>
                <a:effectLst/>
                <a:highlight>
                  <a:srgbClr val="FFFFFF"/>
                </a:highlight>
                <a:latin typeface="Segoe UI" panose="020B0502040204020203" pitchFamily="34" charset="0"/>
              </a:rPr>
              <a:t> to save on licensing costs. But there are some limitations for example</a:t>
            </a:r>
          </a:p>
          <a:p>
            <a:endParaRPr lang="en-US" b="0" i="0" dirty="0">
              <a:solidFill>
                <a:srgbClr val="161616"/>
              </a:solidFill>
              <a:effectLst/>
              <a:highlight>
                <a:srgbClr val="FFFFFF"/>
              </a:highlight>
              <a:latin typeface="Segoe UI" panose="020B0502040204020203" pitchFamily="34" charset="0"/>
            </a:endParaRPr>
          </a:p>
          <a:p>
            <a:pPr algn="l">
              <a:buFont typeface="Arial" panose="020B0604020202020204" pitchFamily="34" charset="0"/>
              <a:buChar char="•"/>
            </a:pPr>
            <a:r>
              <a:rPr lang="en-US" b="0" i="0" dirty="0">
                <a:solidFill>
                  <a:srgbClr val="161616"/>
                </a:solidFill>
                <a:effectLst/>
                <a:highlight>
                  <a:srgbClr val="FFFFFF"/>
                </a:highlight>
                <a:latin typeface="Segoe UI" panose="020B0502040204020203" pitchFamily="34" charset="0"/>
              </a:rPr>
              <a:t>Only one secondary database replica can be designated for standby.</a:t>
            </a:r>
          </a:p>
          <a:p>
            <a:pPr algn="l">
              <a:buFont typeface="Arial" panose="020B0604020202020204" pitchFamily="34" charset="0"/>
              <a:buChar char="•"/>
            </a:pPr>
            <a:r>
              <a:rPr lang="en-US" b="0" i="0" dirty="0">
                <a:solidFill>
                  <a:srgbClr val="161616"/>
                </a:solidFill>
                <a:effectLst/>
                <a:highlight>
                  <a:srgbClr val="FFFFFF"/>
                </a:highlight>
                <a:latin typeface="Segoe UI" panose="020B0502040204020203" pitchFamily="34" charset="0"/>
              </a:rPr>
              <a:t>The serverless compute tier isn't supported. Standby replica can't be enabled if the primary or secondary database is in the serverless compute tier.</a:t>
            </a:r>
          </a:p>
          <a:p>
            <a:pPr algn="l">
              <a:buFont typeface="Arial" panose="020B0604020202020204" pitchFamily="34" charset="0"/>
              <a:buChar char="•"/>
            </a:pPr>
            <a:r>
              <a:rPr lang="en-US" b="0" i="0" dirty="0">
                <a:solidFill>
                  <a:srgbClr val="161616"/>
                </a:solidFill>
                <a:effectLst/>
                <a:highlight>
                  <a:srgbClr val="FFFFFF"/>
                </a:highlight>
                <a:latin typeface="Segoe UI" panose="020B0502040204020203" pitchFamily="34" charset="0"/>
              </a:rPr>
              <a:t>The DTU purchasing model isn't supported. You can enable a standby replica for databases using the </a:t>
            </a:r>
            <a:r>
              <a:rPr lang="en-US" b="0" i="0" dirty="0" err="1">
                <a:solidFill>
                  <a:srgbClr val="161616"/>
                </a:solidFill>
                <a:effectLst/>
                <a:highlight>
                  <a:srgbClr val="FFFFFF"/>
                </a:highlight>
                <a:latin typeface="Segoe UI" panose="020B0502040204020203" pitchFamily="34" charset="0"/>
              </a:rPr>
              <a:t>vCore</a:t>
            </a:r>
            <a:r>
              <a:rPr lang="en-US" b="0" i="0" dirty="0">
                <a:solidFill>
                  <a:srgbClr val="161616"/>
                </a:solidFill>
                <a:effectLst/>
                <a:highlight>
                  <a:srgbClr val="FFFFFF"/>
                </a:highlight>
                <a:latin typeface="Segoe UI" panose="020B0502040204020203" pitchFamily="34" charset="0"/>
              </a:rPr>
              <a:t> purchasing model only.</a:t>
            </a:r>
          </a:p>
          <a:p>
            <a:pPr algn="l">
              <a:buFont typeface="Arial" panose="020B0604020202020204" pitchFamily="34" charset="0"/>
              <a:buChar char="•"/>
            </a:pPr>
            <a:r>
              <a:rPr lang="en-US" b="0" i="0" dirty="0">
                <a:solidFill>
                  <a:srgbClr val="161616"/>
                </a:solidFill>
                <a:effectLst/>
                <a:highlight>
                  <a:srgbClr val="FFFFFF"/>
                </a:highlight>
                <a:latin typeface="Segoe UI" panose="020B0502040204020203" pitchFamily="34" charset="0"/>
              </a:rPr>
              <a:t>The Hyperscale service tier isn't supported. Only databases in the General Purpose and Business Critical service tiers can be designated for standby.</a:t>
            </a:r>
          </a:p>
          <a:p>
            <a:endParaRPr lang="en-US" b="0" i="0" dirty="0">
              <a:solidFill>
                <a:srgbClr val="161616"/>
              </a:solidFill>
              <a:effectLst/>
              <a:highlight>
                <a:srgbClr val="FFFFFF"/>
              </a:highlight>
              <a:latin typeface="Segoe UI" panose="020B0502040204020203" pitchFamily="34" charset="0"/>
            </a:endParaRPr>
          </a:p>
          <a:p>
            <a:r>
              <a:rPr lang="en-US" b="0" i="0" dirty="0">
                <a:solidFill>
                  <a:srgbClr val="161616"/>
                </a:solidFill>
                <a:effectLst/>
                <a:highlight>
                  <a:srgbClr val="FFFFFF"/>
                </a:highlight>
                <a:latin typeface="Segoe UI" panose="020B0502040204020203" pitchFamily="34" charset="0"/>
              </a:rPr>
              <a:t>For more detail check the documentation page</a:t>
            </a:r>
          </a:p>
          <a:p>
            <a:r>
              <a:rPr lang="en-US" dirty="0"/>
              <a:t>https://learn.microsoft.com/en-us/azure/azure-sql/database/standby-replica-how-to-configure?view=azuresql&amp;tabs=azure-portal</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5</a:t>
            </a:fld>
            <a:endParaRPr lang="en-US" noProof="0"/>
          </a:p>
        </p:txBody>
      </p:sp>
    </p:spTree>
    <p:extLst>
      <p:ext uri="{BB962C8B-B14F-4D97-AF65-F5344CB8AC3E}">
        <p14:creationId xmlns:p14="http://schemas.microsoft.com/office/powerpoint/2010/main" val="29260431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Auto-failover groups is an extension of active geo-replication. It is designed to manage the failover of multiple geo-replicated databases simultaneously using an application initiated failover or by delegating failover to be done by the SQL Database service based on a user defined criteria. It allows you to automatically recover multiple related databases in a secondary region after a catastrophic failure or other unplanned event that results in full or partial loss of the SQL Database service’s availability in the primary region. Additionally, you can use the readable secondary databases to offload read-only query workloads. Because auto-failover groups involve multiple databases, these databases must be configured on the primary server. </a:t>
            </a:r>
            <a:r>
              <a:rPr lang="en-US" sz="800" b="0" i="0" u="none" strike="sngStrike" kern="1200" dirty="0">
                <a:solidFill>
                  <a:schemeClr val="tx1"/>
                </a:solidFill>
                <a:effectLst/>
                <a:latin typeface="Segoe UI Light" pitchFamily="34" charset="0"/>
                <a:ea typeface="+mn-ea"/>
                <a:cs typeface="+mn-cs"/>
              </a:rPr>
              <a:t>Both primary and secondary servers for the databases in the failover group must be in the same subscription</a:t>
            </a:r>
            <a:r>
              <a:rPr lang="en-US" sz="800" b="0" i="0" u="none" strike="noStrike" kern="1200" dirty="0">
                <a:solidFill>
                  <a:schemeClr val="tx1"/>
                </a:solidFill>
                <a:effectLst/>
                <a:latin typeface="Segoe UI Light" pitchFamily="34" charset="0"/>
                <a:ea typeface="+mn-ea"/>
                <a:cs typeface="+mn-cs"/>
              </a:rPr>
              <a:t>. </a:t>
            </a:r>
            <a:r>
              <a:rPr lang="en-US" sz="1600" b="0" i="0" dirty="0">
                <a:solidFill>
                  <a:srgbClr val="161616"/>
                </a:solidFill>
                <a:effectLst/>
                <a:highlight>
                  <a:srgbClr val="EFD9FD"/>
                </a:highlight>
                <a:latin typeface="Segoe UI" panose="020B0502040204020203" pitchFamily="34" charset="0"/>
              </a:rPr>
              <a:t>t's possible to deploy your failover group across subscriptions by using the </a:t>
            </a:r>
            <a:r>
              <a:rPr lang="en-US" sz="1600" dirty="0"/>
              <a:t>-</a:t>
            </a:r>
            <a:r>
              <a:rPr lang="en-US" sz="1600" dirty="0" err="1"/>
              <a:t>PartnerSubscriptionId</a:t>
            </a:r>
            <a:r>
              <a:rPr lang="en-US" sz="1600" b="0" i="0" dirty="0">
                <a:solidFill>
                  <a:srgbClr val="161616"/>
                </a:solidFill>
                <a:effectLst/>
                <a:highlight>
                  <a:srgbClr val="EFD9FD"/>
                </a:highlight>
                <a:latin typeface="Segoe UI" panose="020B0502040204020203" pitchFamily="34" charset="0"/>
              </a:rPr>
              <a:t> parameter in Azure </a:t>
            </a:r>
            <a:r>
              <a:rPr lang="en-US" sz="1600" b="0" i="0" dirty="0" err="1">
                <a:solidFill>
                  <a:srgbClr val="161616"/>
                </a:solidFill>
                <a:effectLst/>
                <a:highlight>
                  <a:srgbClr val="EFD9FD"/>
                </a:highlight>
                <a:latin typeface="Segoe UI" panose="020B0502040204020203" pitchFamily="34" charset="0"/>
              </a:rPr>
              <a:t>Powershell</a:t>
            </a:r>
            <a:r>
              <a:rPr lang="en-US" sz="1600" b="0" i="0" dirty="0">
                <a:solidFill>
                  <a:srgbClr val="161616"/>
                </a:solidFill>
                <a:effectLst/>
                <a:highlight>
                  <a:srgbClr val="EFD9FD"/>
                </a:highlight>
                <a:latin typeface="Segoe UI" panose="020B0502040204020203" pitchFamily="34" charset="0"/>
              </a:rPr>
              <a:t> starting with </a:t>
            </a:r>
            <a:r>
              <a:rPr lang="en-US" sz="1600" b="0" i="0" dirty="0" err="1">
                <a:solidFill>
                  <a:srgbClr val="161616"/>
                </a:solidFill>
                <a:effectLst/>
                <a:highlight>
                  <a:srgbClr val="EFD9FD"/>
                </a:highlight>
                <a:latin typeface="Segoe UI" panose="020B0502040204020203" pitchFamily="34" charset="0"/>
              </a:rPr>
              <a:t>Az.SQL</a:t>
            </a:r>
            <a:r>
              <a:rPr lang="en-US" sz="1600" b="0" i="0" dirty="0">
                <a:solidFill>
                  <a:srgbClr val="161616"/>
                </a:solidFill>
                <a:effectLst/>
                <a:highlight>
                  <a:srgbClr val="EFD9FD"/>
                </a:highlight>
                <a:latin typeface="Segoe UI" panose="020B0502040204020203" pitchFamily="34" charset="0"/>
              </a:rPr>
              <a:t> 3.11.0.  </a:t>
            </a:r>
            <a:r>
              <a:rPr lang="en-US" sz="800" b="0" i="0" u="none" strike="noStrike" kern="1200" dirty="0">
                <a:solidFill>
                  <a:schemeClr val="tx1"/>
                </a:solidFill>
                <a:effectLst/>
                <a:latin typeface="Segoe UI Light" pitchFamily="34" charset="0"/>
                <a:ea typeface="+mn-ea"/>
                <a:cs typeface="+mn-cs"/>
              </a:rPr>
              <a:t>Auto-failover groups support replication of all databases in the group to only one secondary server in a different region.</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If you are using auto-failover groups to manage database recovery and any outage that impacts one or several of the databases in the group results in automatic failover. You can configure the auto-failover policy that best meets your application needs, or you can opt out and use manual activation. In addition, auto-failover groups provide read-write and read-only listener end-points that remain unchanged during failovers. Whether you use manual or automatic failover activation, failover switches all secondary databases in the group to primary. After the database failover is completed, the DNS record is automatically updated to redirect the end-points to the new region.</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a:p>
        </p:txBody>
      </p:sp>
    </p:spTree>
    <p:extLst>
      <p:ext uri="{BB962C8B-B14F-4D97-AF65-F5344CB8AC3E}">
        <p14:creationId xmlns:p14="http://schemas.microsoft.com/office/powerpoint/2010/main" val="37595101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Layout: Desktop Only</a:t>
            </a:r>
          </a:p>
          <a:p>
            <a:endParaRPr lang="en-US" sz="1000" b="1" dirty="0"/>
          </a:p>
          <a:p>
            <a:r>
              <a:rPr lang="en-US" sz="1000" dirty="0">
                <a:latin typeface="Segoe UI" panose="020B0502040204020203" pitchFamily="34" charset="0"/>
                <a:cs typeface="Segoe UI" panose="020B0502040204020203" pitchFamily="34" charset="0"/>
              </a:rPr>
              <a:t>Anna lead in to architecture.</a:t>
            </a:r>
          </a:p>
          <a:p>
            <a:r>
              <a:rPr lang="en-US" sz="1000" dirty="0">
                <a:latin typeface="Segoe UI" panose="020B0502040204020203" pitchFamily="34" charset="0"/>
                <a:cs typeface="Segoe UI" panose="020B0502040204020203" pitchFamily="34" charset="0"/>
              </a:rPr>
              <a:t>Anna: Remember to mention Geo-replication now available for Hyperscale in Public Preview</a:t>
            </a:r>
          </a:p>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7188273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5/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ssion we will discuss What Accelerated Database Recovery is and how to enable the feature in SQL Server 2019. Then we will look at the Current Database Recovery process and some of the issues that occur based on the existing recovery design. Next, we walk through the four core components of ADR before walking through the new Accelerated Database Recovery Process. Finally, we will have a demonstration on all the awesomeness that is of ADR!</a:t>
            </a:r>
          </a:p>
        </p:txBody>
      </p:sp>
      <p:sp>
        <p:nvSpPr>
          <p:cNvPr id="4" name="Slide Number Placeholder 3"/>
          <p:cNvSpPr>
            <a:spLocks noGrp="1"/>
          </p:cNvSpPr>
          <p:nvPr>
            <p:ph type="sldNum" sz="quarter" idx="5"/>
          </p:nvPr>
        </p:nvSpPr>
        <p:spPr/>
        <p:txBody>
          <a:bodyPr/>
          <a:lstStyle/>
          <a:p>
            <a:fld id="{56E97690-D681-4B47-8FD4-7300C9E579A2}" type="slidenum">
              <a:rPr lang="en-US" smtClean="0"/>
              <a:t>3</a:t>
            </a:fld>
            <a:endParaRPr lang="en-US"/>
          </a:p>
        </p:txBody>
      </p:sp>
    </p:spTree>
    <p:extLst>
      <p:ext uri="{BB962C8B-B14F-4D97-AF65-F5344CB8AC3E}">
        <p14:creationId xmlns:p14="http://schemas.microsoft.com/office/powerpoint/2010/main" val="27497685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min</a:t>
            </a:r>
            <a:br>
              <a:rPr lang="en-US" dirty="0"/>
            </a:br>
            <a:br>
              <a:rPr lang="en-US" dirty="0"/>
            </a:br>
            <a:r>
              <a:rPr lang="en-US" dirty="0"/>
              <a:t>Speaker instructions: Edit this slide to introduce the context of the session. Ideally this topic will focus on the customer’s problem domain, not any specific current or future technology. </a:t>
            </a:r>
          </a:p>
          <a:p>
            <a:endParaRPr lang="en-US" dirty="0"/>
          </a:p>
          <a:p>
            <a:r>
              <a:rPr lang="en-US" sz="1800" b="1" dirty="0">
                <a:solidFill>
                  <a:srgbClr val="000000"/>
                </a:solidFill>
                <a:effectLst/>
                <a:latin typeface="Calibri" panose="020F0502020204030204" pitchFamily="34" charset="0"/>
              </a:rPr>
              <a:t>Example from previous CAB events:</a:t>
            </a:r>
          </a:p>
          <a:p>
            <a:endParaRPr lang="en-US" sz="1800" b="1" dirty="0">
              <a:solidFill>
                <a:srgbClr val="000000"/>
              </a:solidFill>
              <a:effectLst/>
              <a:latin typeface="Calibri" panose="020F0502020204030204" pitchFamily="34" charset="0"/>
            </a:endParaRPr>
          </a:p>
          <a:p>
            <a:r>
              <a:rPr lang="en-US" dirty="0"/>
              <a:t>https://msit.microsoftstream.com/video/1fb40840-98dc-ac1e-0fd8-f1ed5f9b1a11?st=74 </a:t>
            </a:r>
          </a:p>
          <a:p>
            <a:r>
              <a:rPr lang="en-US" dirty="0"/>
              <a:t>and</a:t>
            </a:r>
          </a:p>
          <a:p>
            <a:r>
              <a:rPr lang="en-US" dirty="0"/>
              <a:t>https://msit.microsoftstream.com/video/1fb40840-98dc-ac1e-0fd8-f1ed5f9b1a11?st=162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5/2024 8:1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4508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min</a:t>
            </a:r>
            <a:br>
              <a:rPr lang="en-US" dirty="0"/>
            </a:br>
            <a:br>
              <a:rPr lang="en-US" dirty="0"/>
            </a:br>
            <a:r>
              <a:rPr lang="en-US" dirty="0"/>
              <a:t>Speaker instructions: Edit this slide to introduce the context of the session. Ideally this topic will focus on the customer’s problem domain, not any specific current or future technology. </a:t>
            </a:r>
          </a:p>
          <a:p>
            <a:endParaRPr lang="en-US" dirty="0"/>
          </a:p>
          <a:p>
            <a:r>
              <a:rPr lang="en-US" sz="1800" b="1" dirty="0">
                <a:solidFill>
                  <a:srgbClr val="000000"/>
                </a:solidFill>
                <a:effectLst/>
                <a:latin typeface="Calibri" panose="020F0502020204030204" pitchFamily="34" charset="0"/>
              </a:rPr>
              <a:t>Example from previous CAB events:</a:t>
            </a:r>
          </a:p>
          <a:p>
            <a:endParaRPr lang="en-US" sz="1800" b="1" dirty="0">
              <a:solidFill>
                <a:srgbClr val="000000"/>
              </a:solidFill>
              <a:effectLst/>
              <a:latin typeface="Calibri" panose="020F0502020204030204" pitchFamily="34" charset="0"/>
            </a:endParaRPr>
          </a:p>
          <a:p>
            <a:r>
              <a:rPr lang="en-US" dirty="0"/>
              <a:t>https://msit.microsoftstream.com/video/1fb40840-98dc-ac1e-0fd8-f1ed5f9b1a11?st=74 </a:t>
            </a:r>
          </a:p>
          <a:p>
            <a:r>
              <a:rPr lang="en-US" dirty="0"/>
              <a:t>and</a:t>
            </a:r>
          </a:p>
          <a:p>
            <a:r>
              <a:rPr lang="en-US" dirty="0"/>
              <a:t>https://msit.microsoftstream.com/video/1fb40840-98dc-ac1e-0fd8-f1ed5f9b1a11?st=162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5/2024 8:3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02187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rgbClr val="171717"/>
                </a:solidFill>
                <a:effectLst/>
                <a:latin typeface="Segoe UI" panose="020B0502040204020203" pitchFamily="34" charset="0"/>
              </a:rPr>
              <a:t>By default, a full database backup is taken once a week, with log backups every 5-10 minutes, and differential backups every 12 hours. These backup files are stored in Azure Storage on read-access geo-redundant storage (RA-GRS). On an ongoing basis, the Azure SQL engineering team automatically tests the restore of automated databases backups of databases placed in logical servers and Elastic pools. For migrating to Azure SQL Managed Instance, an automatic initial backup with CHECKSUM of databases restored with the native RESTORE command or the Azure Database Migration Service is completed. Additionally, in Azure SQL Managed Instance, you can take a native COPY_ONLY backup and store it in Azure Blob storage.</a:t>
            </a:r>
            <a:endParaRPr lang="en-US" dirty="0"/>
          </a:p>
          <a:p>
            <a:endParaRPr lang="en-US" dirty="0"/>
          </a:p>
          <a:p>
            <a:r>
              <a:rPr lang="en-US" dirty="0"/>
              <a:t>Details for Backup Integrity Checks</a:t>
            </a:r>
          </a:p>
          <a:p>
            <a:endParaRPr lang="en-US" dirty="0"/>
          </a:p>
          <a:p>
            <a:r>
              <a:rPr lang="en-US" sz="882" b="0" i="0" kern="1200" dirty="0">
                <a:solidFill>
                  <a:schemeClr val="tx1"/>
                </a:solidFill>
                <a:effectLst/>
                <a:latin typeface="Segoe UI Light" pitchFamily="34" charset="0"/>
                <a:ea typeface="+mn-ea"/>
                <a:cs typeface="+mn-cs"/>
              </a:rPr>
              <a:t>On an ongoing basis, the Azure SQL Database engineering team automatically tests the restore of automated database backups of databases placed in logical servers and elastic database pools. (This testing isn't available in managed instance.) Upon point-in-time restore, databases also receive DBCC CHECKDB integrity checks.</a:t>
            </a:r>
          </a:p>
          <a:p>
            <a:r>
              <a:rPr lang="en-US" sz="882" b="0" i="0" kern="1200" dirty="0">
                <a:solidFill>
                  <a:schemeClr val="tx1"/>
                </a:solidFill>
                <a:effectLst/>
                <a:latin typeface="Segoe UI Light" pitchFamily="34" charset="0"/>
                <a:ea typeface="+mn-ea"/>
                <a:cs typeface="+mn-cs"/>
              </a:rPr>
              <a:t>Managed instance takes automatic initial backup with CHECKSUM of databases restored with the native RESTORE command or with Azure Data Migration Service after the migration is completed.</a:t>
            </a:r>
          </a:p>
          <a:p>
            <a:endParaRPr lang="en-US" sz="882" b="0" i="0" kern="1200" dirty="0">
              <a:solidFill>
                <a:schemeClr val="tx1"/>
              </a:solidFill>
              <a:effectLst/>
              <a:latin typeface="Segoe UI Light" pitchFamily="34" charset="0"/>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t>Restore to new database</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You can deploy a new database also based on a backup</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Notes on LTR backups</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If you enable LTR policy, the weekly full backups are automatically copied to a different RA-GRS storage container. To meet various compliance requirements, you can select different retention periods for weekly, monthly, and/or yearly backups</a:t>
            </a:r>
          </a:p>
          <a:p>
            <a:r>
              <a:rPr lang="en-US" sz="882" b="0" i="0" kern="1200" dirty="0">
                <a:solidFill>
                  <a:schemeClr val="tx1"/>
                </a:solidFill>
                <a:effectLst/>
                <a:latin typeface="Segoe UI Light" pitchFamily="34" charset="0"/>
                <a:ea typeface="+mn-ea"/>
                <a:cs typeface="+mn-cs"/>
              </a:rPr>
              <a:t>LTR not supported on Hyperscale today</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Current limits for LTR of backups for Managed Instance</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Using long-term backup retention with an Azure SQL Database managed instances has the following limitations:</a:t>
            </a:r>
          </a:p>
          <a:p>
            <a:r>
              <a:rPr lang="en-US" sz="882" b="1" i="0" kern="1200" dirty="0">
                <a:solidFill>
                  <a:schemeClr val="tx1"/>
                </a:solidFill>
                <a:effectLst/>
                <a:latin typeface="Segoe UI Light" pitchFamily="34" charset="0"/>
                <a:ea typeface="+mn-ea"/>
                <a:cs typeface="+mn-cs"/>
              </a:rPr>
              <a:t>Limited public preview</a:t>
            </a:r>
            <a:r>
              <a:rPr lang="en-US" sz="882" b="0" i="0" kern="1200" dirty="0">
                <a:solidFill>
                  <a:schemeClr val="tx1"/>
                </a:solidFill>
                <a:effectLst/>
                <a:latin typeface="Segoe UI Light" pitchFamily="34" charset="0"/>
                <a:ea typeface="+mn-ea"/>
                <a:cs typeface="+mn-cs"/>
              </a:rPr>
              <a:t> - This preview is only available to EA and CSP subscriptions and is subject to limited availability.</a:t>
            </a:r>
          </a:p>
          <a:p>
            <a:r>
              <a:rPr lang="en-US" sz="882" b="1" i="0" u="none" strike="noStrike" kern="1200" dirty="0">
                <a:solidFill>
                  <a:schemeClr val="tx1"/>
                </a:solidFill>
                <a:effectLst/>
                <a:latin typeface="Segoe UI Light" pitchFamily="34" charset="0"/>
                <a:ea typeface="+mn-ea"/>
                <a:cs typeface="+mn-cs"/>
                <a:hlinkClick r:id="rId3"/>
              </a:rPr>
              <a:t>PowerShell only</a:t>
            </a:r>
            <a:r>
              <a:rPr lang="en-US" sz="882" b="0" i="0" kern="1200" dirty="0">
                <a:solidFill>
                  <a:schemeClr val="tx1"/>
                </a:solidFill>
                <a:effectLst/>
                <a:latin typeface="Segoe UI Light" pitchFamily="34" charset="0"/>
                <a:ea typeface="+mn-ea"/>
                <a:cs typeface="+mn-cs"/>
              </a:rPr>
              <a:t> - There is currently no Azure portal support. LTR must be enabled using PowerShell.</a:t>
            </a:r>
          </a:p>
          <a:p>
            <a:endParaRPr lang="en-US" sz="882" b="0" i="0" kern="1200" dirty="0">
              <a:solidFill>
                <a:schemeClr val="tx1"/>
              </a:solidFill>
              <a:effectLst/>
              <a:latin typeface="Segoe UI Light" pitchFamily="34" charset="0"/>
              <a:ea typeface="+mn-ea"/>
              <a:cs typeface="+mn-cs"/>
            </a:endParaRPr>
          </a:p>
          <a:p>
            <a:r>
              <a:rPr lang="en-US" dirty="0"/>
              <a:t>Restore deleted databases</a:t>
            </a:r>
          </a:p>
          <a:p>
            <a:endParaRPr lang="en-US" dirty="0"/>
          </a:p>
          <a:p>
            <a:r>
              <a:rPr lang="en-US" dirty="0"/>
              <a:t>You cannot restore a deletion of a logical server or managed instance. The portal only allows you to restore a deleted database back to the deletion time. You need </a:t>
            </a:r>
            <a:r>
              <a:rPr lang="en-US" dirty="0" err="1"/>
              <a:t>Powershell</a:t>
            </a:r>
            <a:r>
              <a:rPr lang="en-US" dirty="0"/>
              <a:t> or REST to restore a backup of a deleted database from an earlier point of time based on backup retention.</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5/2024 8: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8947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sz="2000" b="0" i="0" dirty="0">
                <a:solidFill>
                  <a:srgbClr val="E6E6E6"/>
                </a:solidFill>
                <a:effectLst/>
                <a:latin typeface="Segoe UI" panose="020B0502040204020203" pitchFamily="34" charset="0"/>
              </a:rPr>
              <a:t>Locally redundant price = published price</a:t>
            </a:r>
          </a:p>
          <a:p>
            <a:pPr algn="l">
              <a:buFont typeface="Arial" panose="020B0604020202020204" pitchFamily="34" charset="0"/>
              <a:buChar char="•"/>
            </a:pPr>
            <a:r>
              <a:rPr lang="en-US" sz="2000" b="0" i="0" dirty="0">
                <a:solidFill>
                  <a:srgbClr val="E6E6E6"/>
                </a:solidFill>
                <a:effectLst/>
                <a:latin typeface="Segoe UI" panose="020B0502040204020203" pitchFamily="34" charset="0"/>
              </a:rPr>
              <a:t>Zone-redundant price = published price x 1.25</a:t>
            </a:r>
          </a:p>
          <a:p>
            <a:pPr algn="l">
              <a:buFont typeface="Arial" panose="020B0604020202020204" pitchFamily="34" charset="0"/>
              <a:buChar char="•"/>
            </a:pPr>
            <a:r>
              <a:rPr lang="en-US" sz="2000" b="0" i="0" dirty="0">
                <a:solidFill>
                  <a:srgbClr val="E6E6E6"/>
                </a:solidFill>
                <a:effectLst/>
                <a:latin typeface="Segoe UI" panose="020B0502040204020203" pitchFamily="34" charset="0"/>
              </a:rPr>
              <a:t>Geo-redundant price = published price x 2</a:t>
            </a:r>
          </a:p>
          <a:p>
            <a:pPr algn="l">
              <a:buFont typeface="Arial" panose="020B0604020202020204" pitchFamily="34" charset="0"/>
              <a:buChar char="•"/>
            </a:pPr>
            <a:r>
              <a:rPr lang="en-US" sz="2000" b="0" i="0" dirty="0">
                <a:solidFill>
                  <a:srgbClr val="E6E6E6"/>
                </a:solidFill>
                <a:effectLst/>
                <a:latin typeface="Segoe UI" panose="020B0502040204020203" pitchFamily="34" charset="0"/>
              </a:rPr>
              <a:t>Geo-zone-redundant price = published price x 3.4</a:t>
            </a:r>
          </a:p>
          <a:p>
            <a:endParaRPr lang="en-US" sz="14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CE064-7369-417B-A65C-55689CDB12D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15793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676C46-995B-DB51-01CD-C15214FDF6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D7B0FA-BB96-44F6-2BAA-F4DC018CCF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07AB96-304E-0407-9DEC-78B9129426D5}"/>
              </a:ext>
            </a:extLst>
          </p:cNvPr>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Premium availability is enabled in Premium tier of Azure SQL Database and it is designed for intensive workloads that cannot tolerate any performance impact due to the ongoing maintenance operations.</a:t>
            </a:r>
          </a:p>
          <a:p>
            <a:r>
              <a:rPr lang="en-US" sz="800" b="0" i="0" u="none" strike="noStrike" kern="1200" dirty="0">
                <a:solidFill>
                  <a:schemeClr val="tx1"/>
                </a:solidFill>
                <a:effectLst/>
                <a:latin typeface="Segoe UI Light" pitchFamily="34" charset="0"/>
                <a:ea typeface="+mn-ea"/>
                <a:cs typeface="+mn-cs"/>
              </a:rPr>
              <a:t>In the premium model, Azure SQL database integrates compute and storage on the single node. Both the SQL Server Database Engine process and underlying </a:t>
            </a:r>
            <a:r>
              <a:rPr lang="en-US" sz="800" b="0" i="0" u="none" strike="noStrike" kern="1200" dirty="0" err="1">
                <a:solidFill>
                  <a:schemeClr val="tx1"/>
                </a:solidFill>
                <a:effectLst/>
                <a:latin typeface="Segoe UI Light" pitchFamily="34" charset="0"/>
                <a:ea typeface="+mn-ea"/>
                <a:cs typeface="+mn-cs"/>
              </a:rPr>
              <a:t>mdf</a:t>
            </a:r>
            <a:r>
              <a:rPr lang="en-US" sz="800" b="0" i="0" u="none" strike="noStrike" kern="1200" dirty="0">
                <a:solidFill>
                  <a:schemeClr val="tx1"/>
                </a:solidFill>
                <a:effectLst/>
                <a:latin typeface="Segoe UI Light" pitchFamily="34" charset="0"/>
                <a:ea typeface="+mn-ea"/>
                <a:cs typeface="+mn-cs"/>
              </a:rPr>
              <a:t>/</a:t>
            </a:r>
            <a:r>
              <a:rPr lang="en-US" sz="800" b="0" i="0" u="none" strike="noStrike" kern="1200" dirty="0" err="1">
                <a:solidFill>
                  <a:schemeClr val="tx1"/>
                </a:solidFill>
                <a:effectLst/>
                <a:latin typeface="Segoe UI Light" pitchFamily="34" charset="0"/>
                <a:ea typeface="+mn-ea"/>
                <a:cs typeface="+mn-cs"/>
              </a:rPr>
              <a:t>ldf</a:t>
            </a:r>
            <a:r>
              <a:rPr lang="en-US" sz="800" b="0" i="0" u="none" strike="noStrike" kern="1200" dirty="0">
                <a:solidFill>
                  <a:schemeClr val="tx1"/>
                </a:solidFill>
                <a:effectLst/>
                <a:latin typeface="Segoe UI Light" pitchFamily="34" charset="0"/>
                <a:ea typeface="+mn-ea"/>
                <a:cs typeface="+mn-cs"/>
              </a:rPr>
              <a:t> files are placed on the same node with locally attached SSD storage providing low latency to your workload.</a:t>
            </a:r>
          </a:p>
          <a:p>
            <a:r>
              <a:rPr lang="en-US" sz="800" b="0" i="0" u="none" strike="noStrike" kern="1200" dirty="0">
                <a:solidFill>
                  <a:schemeClr val="tx1"/>
                </a:solidFill>
                <a:effectLst/>
                <a:latin typeface="Segoe UI Light" pitchFamily="34" charset="0"/>
                <a:ea typeface="+mn-ea"/>
                <a:cs typeface="+mn-cs"/>
              </a:rPr>
              <a:t>High availability is implemented using standard </a:t>
            </a:r>
            <a:r>
              <a:rPr lang="en-US" sz="800" b="0" i="0" u="sng" strike="noStrike" kern="1200" dirty="0">
                <a:solidFill>
                  <a:schemeClr val="tx1"/>
                </a:solidFill>
                <a:effectLst/>
                <a:latin typeface="Segoe UI Light" pitchFamily="34" charset="0"/>
                <a:ea typeface="+mn-ea"/>
                <a:cs typeface="+mn-cs"/>
                <a:hlinkClick r:id="rId3"/>
              </a:rPr>
              <a:t>Always On Availability Groups</a:t>
            </a:r>
            <a:r>
              <a:rPr lang="en-US" sz="800" b="0" i="0" u="none" strike="noStrike" kern="1200" dirty="0">
                <a:solidFill>
                  <a:schemeClr val="tx1"/>
                </a:solidFill>
                <a:effectLst/>
                <a:latin typeface="Segoe UI Light" pitchFamily="34" charset="0"/>
                <a:ea typeface="+mn-ea"/>
                <a:cs typeface="+mn-cs"/>
              </a:rPr>
              <a:t>. Every database is a cluster of database nodes with one primary database that is accessible for customer workload, and a few secondary processes containing copies of data. The primary node constantly pushes the changes to secondary nodes in order to ensure that the data is available on secondary replicas if the primary node crashes for any reason. Failover is handled by the SQL Server Database Engine – one secondary replica becomes the primary node and a new secondary replica is created to ensure enough nodes in the cluster. The workload is automatically redirected to the new primary node. Failover time is measured in milliseconds and the new primary instance is immediately ready to continue serving requests.</a:t>
            </a:r>
          </a:p>
          <a:p>
            <a:endParaRPr lang="nl-BE" dirty="0"/>
          </a:p>
          <a:p>
            <a:endParaRPr lang="en-US" dirty="0"/>
          </a:p>
        </p:txBody>
      </p:sp>
      <p:sp>
        <p:nvSpPr>
          <p:cNvPr id="4" name="Footer Placeholder 3">
            <a:extLst>
              <a:ext uri="{FF2B5EF4-FFF2-40B4-BE49-F238E27FC236}">
                <a16:creationId xmlns:a16="http://schemas.microsoft.com/office/drawing/2014/main" id="{94C4150A-682E-7D9B-473D-FDC1B8C6D3CA}"/>
              </a:ext>
            </a:extLst>
          </p:cNvPr>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D65F423D-F790-E8ED-B45B-D53EFCE20E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661046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hlinkClick r:id="rId3"/>
              </a:rPr>
              <a:t>https://docs.microsoft.com/en-us/azure/sql-database/sql-database-high-availability</a:t>
            </a:r>
            <a:endParaRPr lang="en-US" sz="1800" dirty="0"/>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Standard availability refers to 99.99% SLA that is applied in Standard/Basic/General Purpose tiers. Availability is achieved by separation of compute and storage layers. In the standard availability model we have two layers:</a:t>
            </a:r>
          </a:p>
          <a:p>
            <a:r>
              <a:rPr lang="en-US" sz="900" b="0" i="0" u="none" strike="noStrike" kern="1200" dirty="0">
                <a:solidFill>
                  <a:schemeClr val="tx1"/>
                </a:solidFill>
                <a:effectLst/>
                <a:latin typeface="Segoe UI Light" pitchFamily="34" charset="0"/>
                <a:ea typeface="+mn-ea"/>
                <a:cs typeface="+mn-cs"/>
              </a:rPr>
              <a:t>A stateless compute layer that is running the sqlserver.exe process and contains only transient and cached data (for example – plan cache, buffer pool, column store pool). This stateless SQL Server node is operated by Azure Service Fabric that initializes process, controls health of the node, and performs failover to another place if necessary.</a:t>
            </a:r>
          </a:p>
          <a:p>
            <a:r>
              <a:rPr lang="en-US" sz="900" b="0" i="0" u="none" strike="noStrike" kern="1200" dirty="0">
                <a:solidFill>
                  <a:schemeClr val="tx1"/>
                </a:solidFill>
                <a:effectLst/>
                <a:latin typeface="Segoe UI Light" pitchFamily="34" charset="0"/>
                <a:ea typeface="+mn-ea"/>
                <a:cs typeface="+mn-cs"/>
              </a:rPr>
              <a:t>A stateful data layer with database files (.</a:t>
            </a:r>
            <a:r>
              <a:rPr lang="en-US" sz="900" b="0" i="0" u="none" strike="noStrike" kern="1200" dirty="0" err="1">
                <a:solidFill>
                  <a:schemeClr val="tx1"/>
                </a:solidFill>
                <a:effectLst/>
                <a:latin typeface="Segoe UI Light" pitchFamily="34" charset="0"/>
                <a:ea typeface="+mn-ea"/>
                <a:cs typeface="+mn-cs"/>
              </a:rPr>
              <a:t>mdf</a:t>
            </a:r>
            <a:r>
              <a:rPr lang="en-US" sz="900" b="0" i="0" u="none" strike="noStrike" kern="1200" dirty="0">
                <a:solidFill>
                  <a:schemeClr val="tx1"/>
                </a:solidFill>
                <a:effectLst/>
                <a:latin typeface="Segoe UI Light" pitchFamily="34" charset="0"/>
                <a:ea typeface="+mn-ea"/>
                <a:cs typeface="+mn-cs"/>
              </a:rPr>
              <a:t>/.</a:t>
            </a:r>
            <a:r>
              <a:rPr lang="en-US" sz="900" b="0" i="0" u="none" strike="noStrike" kern="1200" dirty="0" err="1">
                <a:solidFill>
                  <a:schemeClr val="tx1"/>
                </a:solidFill>
                <a:effectLst/>
                <a:latin typeface="Segoe UI Light" pitchFamily="34" charset="0"/>
                <a:ea typeface="+mn-ea"/>
                <a:cs typeface="+mn-cs"/>
              </a:rPr>
              <a:t>ldf</a:t>
            </a:r>
            <a:r>
              <a:rPr lang="en-US" sz="900" b="0" i="0" u="none" strike="noStrike" kern="1200" dirty="0">
                <a:solidFill>
                  <a:schemeClr val="tx1"/>
                </a:solidFill>
                <a:effectLst/>
                <a:latin typeface="Segoe UI Light" pitchFamily="34" charset="0"/>
                <a:ea typeface="+mn-ea"/>
                <a:cs typeface="+mn-cs"/>
              </a:rPr>
              <a:t>) that are stored in Azure Premium Storage Disks. Azure Storage guarantees that there will be no data loss of any record that is placed in any database file. Azure Storage has built-in data availability/redundancy that ensures that every record in log file or page in data file will be preserved even if SQL Server process crashes.</a:t>
            </a:r>
          </a:p>
          <a:p>
            <a:r>
              <a:rPr lang="en-US" sz="900" b="0" i="0" u="none" strike="noStrike" kern="1200" dirty="0">
                <a:solidFill>
                  <a:schemeClr val="tx1"/>
                </a:solidFill>
                <a:effectLst/>
                <a:latin typeface="Segoe UI Light" pitchFamily="34" charset="0"/>
                <a:ea typeface="+mn-ea"/>
                <a:cs typeface="+mn-cs"/>
              </a:rPr>
              <a:t>Whenever database engine or operating system is upgraded, or if some critical issue is detected in </a:t>
            </a:r>
            <a:r>
              <a:rPr lang="en-US" sz="900" b="0" i="0" u="none" strike="noStrike" kern="1200" dirty="0" err="1">
                <a:solidFill>
                  <a:schemeClr val="tx1"/>
                </a:solidFill>
                <a:effectLst/>
                <a:latin typeface="Segoe UI Light" pitchFamily="34" charset="0"/>
                <a:ea typeface="+mn-ea"/>
                <a:cs typeface="+mn-cs"/>
              </a:rPr>
              <a:t>Sql</a:t>
            </a:r>
            <a:r>
              <a:rPr lang="en-US" sz="900" b="0" i="0" u="none" strike="noStrike" kern="1200" dirty="0">
                <a:solidFill>
                  <a:schemeClr val="tx1"/>
                </a:solidFill>
                <a:effectLst/>
                <a:latin typeface="Segoe UI Light" pitchFamily="34" charset="0"/>
                <a:ea typeface="+mn-ea"/>
                <a:cs typeface="+mn-cs"/>
              </a:rPr>
              <a:t> Server process, Azure Service Fabric will move the stateless SQL Server process to another stateless compute node. Data in Azure Storage layer is not affected, and data/log files are attached to newly initialized SQL Server process. Expected failover time can be measured in seconds. This process guarantees 99.99% availability, but it might have some performance impacts on heavy workload that are running due to transition time and the fact the new SQL Server node starts with cold cache.</a:t>
            </a:r>
          </a:p>
          <a:p>
            <a:pPr marL="457183" lvl="1" indent="0">
              <a:buFont typeface="Arial" panose="020B0604020202020204" pitchFamily="34" charset="0"/>
              <a:buNone/>
            </a:pPr>
            <a:endParaRPr lang="en-US" sz="2000" dirty="0">
              <a:gradFill>
                <a:gsLst>
                  <a:gs pos="2917">
                    <a:schemeClr val="tx1"/>
                  </a:gs>
                  <a:gs pos="30000">
                    <a:schemeClr val="tx1"/>
                  </a:gs>
                </a:gsLst>
                <a:lin ang="5400000" scaled="0"/>
              </a:gradFill>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5/2024 8:0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342274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Premium availability is enabled in Premium tier of Azure SQL Database and it is designed for intensive workloads that cannot tolerate any performance impact due to the ongoing maintenance operations.</a:t>
            </a:r>
          </a:p>
          <a:p>
            <a:r>
              <a:rPr lang="en-US" sz="800" b="0" i="0" u="none" strike="noStrike" kern="1200" dirty="0">
                <a:solidFill>
                  <a:schemeClr val="tx1"/>
                </a:solidFill>
                <a:effectLst/>
                <a:latin typeface="Segoe UI Light" pitchFamily="34" charset="0"/>
                <a:ea typeface="+mn-ea"/>
                <a:cs typeface="+mn-cs"/>
              </a:rPr>
              <a:t>In the premium model, Azure SQL database integrates compute and storage on the single node. Both the SQL Server Database Engine process and underlying </a:t>
            </a:r>
            <a:r>
              <a:rPr lang="en-US" sz="800" b="0" i="0" u="none" strike="noStrike" kern="1200" dirty="0" err="1">
                <a:solidFill>
                  <a:schemeClr val="tx1"/>
                </a:solidFill>
                <a:effectLst/>
                <a:latin typeface="Segoe UI Light" pitchFamily="34" charset="0"/>
                <a:ea typeface="+mn-ea"/>
                <a:cs typeface="+mn-cs"/>
              </a:rPr>
              <a:t>mdf</a:t>
            </a:r>
            <a:r>
              <a:rPr lang="en-US" sz="800" b="0" i="0" u="none" strike="noStrike" kern="1200" dirty="0">
                <a:solidFill>
                  <a:schemeClr val="tx1"/>
                </a:solidFill>
                <a:effectLst/>
                <a:latin typeface="Segoe UI Light" pitchFamily="34" charset="0"/>
                <a:ea typeface="+mn-ea"/>
                <a:cs typeface="+mn-cs"/>
              </a:rPr>
              <a:t>/</a:t>
            </a:r>
            <a:r>
              <a:rPr lang="en-US" sz="800" b="0" i="0" u="none" strike="noStrike" kern="1200" dirty="0" err="1">
                <a:solidFill>
                  <a:schemeClr val="tx1"/>
                </a:solidFill>
                <a:effectLst/>
                <a:latin typeface="Segoe UI Light" pitchFamily="34" charset="0"/>
                <a:ea typeface="+mn-ea"/>
                <a:cs typeface="+mn-cs"/>
              </a:rPr>
              <a:t>ldf</a:t>
            </a:r>
            <a:r>
              <a:rPr lang="en-US" sz="800" b="0" i="0" u="none" strike="noStrike" kern="1200" dirty="0">
                <a:solidFill>
                  <a:schemeClr val="tx1"/>
                </a:solidFill>
                <a:effectLst/>
                <a:latin typeface="Segoe UI Light" pitchFamily="34" charset="0"/>
                <a:ea typeface="+mn-ea"/>
                <a:cs typeface="+mn-cs"/>
              </a:rPr>
              <a:t> files are placed on the same node with locally attached SSD storage providing low latency to your workload.</a:t>
            </a:r>
          </a:p>
          <a:p>
            <a:r>
              <a:rPr lang="en-US" sz="800" b="0" i="0" u="none" strike="noStrike" kern="1200" dirty="0">
                <a:solidFill>
                  <a:schemeClr val="tx1"/>
                </a:solidFill>
                <a:effectLst/>
                <a:latin typeface="Segoe UI Light" pitchFamily="34" charset="0"/>
                <a:ea typeface="+mn-ea"/>
                <a:cs typeface="+mn-cs"/>
              </a:rPr>
              <a:t>High availability is implemented using standard </a:t>
            </a:r>
            <a:r>
              <a:rPr lang="en-US" sz="800" b="0" i="0" u="sng" strike="noStrike" kern="1200" dirty="0">
                <a:solidFill>
                  <a:schemeClr val="tx1"/>
                </a:solidFill>
                <a:effectLst/>
                <a:latin typeface="Segoe UI Light" pitchFamily="34" charset="0"/>
                <a:ea typeface="+mn-ea"/>
                <a:cs typeface="+mn-cs"/>
                <a:hlinkClick r:id="rId3"/>
              </a:rPr>
              <a:t>Always On Availability Groups</a:t>
            </a:r>
            <a:r>
              <a:rPr lang="en-US" sz="800" b="0" i="0" u="none" strike="noStrike" kern="1200" dirty="0">
                <a:solidFill>
                  <a:schemeClr val="tx1"/>
                </a:solidFill>
                <a:effectLst/>
                <a:latin typeface="Segoe UI Light" pitchFamily="34" charset="0"/>
                <a:ea typeface="+mn-ea"/>
                <a:cs typeface="+mn-cs"/>
              </a:rPr>
              <a:t>. Every database is a cluster of database nodes with one primary database that is accessible for customer workload, and a few secondary processes containing copies of data. The primary node constantly pushes the changes to secondary nodes in order to ensure that the data is available on secondary replicas if the primary node crashes for any reason. Failover is handled by the SQL Server Database Engine – one secondary replica becomes the primary node and a new secondary replica is created to ensure enough nodes in the cluster. The workload is automatically redirected to the new primary node. Failover time is measured in milliseconds and the new primary instance is immediately ready to continue serving requests.</a:t>
            </a:r>
          </a:p>
          <a:p>
            <a:endParaRPr lang="nl-BE"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7434881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6.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Master" Target="../slideMasters/slideMaster3.xml"/><Relationship Id="rId1" Type="http://schemas.openxmlformats.org/officeDocument/2006/relationships/tags" Target="../tags/tag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Master" Target="../slideMasters/slideMaster3.xml"/><Relationship Id="rId1" Type="http://schemas.openxmlformats.org/officeDocument/2006/relationships/tags" Target="../tags/tag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1516877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3418666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5453495"/>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5672148"/>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029016580"/>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5353947"/>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Tree>
    <p:extLst>
      <p:ext uri="{BB962C8B-B14F-4D97-AF65-F5344CB8AC3E}">
        <p14:creationId xmlns:p14="http://schemas.microsoft.com/office/powerpoint/2010/main" val="142747178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91662754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525442730"/>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57559823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dirty="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70397594"/>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74915019"/>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874692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93470374"/>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38334238"/>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194132253"/>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25742457"/>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33054155"/>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949142675"/>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872951626"/>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196349103"/>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039413"/>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44875318"/>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1310642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4258713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69941428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41826499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68883614"/>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55595550"/>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514176519"/>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85082189"/>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40882936"/>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5946829"/>
      </p:ext>
    </p:extLst>
  </p:cSld>
  <p:clrMapOvr>
    <a:masterClrMapping/>
  </p:clrMapOvr>
  <p:hf sldNum="0" hdr="0" ftr="0" dt="0"/>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683147"/>
      </p:ext>
    </p:extLst>
  </p:cSld>
  <p:clrMapOvr>
    <a:masterClrMapping/>
  </p:clrMapOvr>
  <p:hf sldNum="0" hdr="0" ft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91440026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364475538"/>
      </p:ext>
    </p:extLst>
  </p:cSld>
  <p:clrMapOvr>
    <a:masterClrMapping/>
  </p:clrMapOvr>
  <p:hf sldNum="0" hdr="0" ftr="0" dt="0"/>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02567215"/>
      </p:ext>
    </p:extLst>
  </p:cSld>
  <p:clrMapOvr>
    <a:masterClrMapping/>
  </p:clrMapOvr>
  <p:hf sldNum="0" hdr="0" ftr="0" dt="0"/>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528076384"/>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6668459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6495035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5950479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272162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97811238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63936911"/>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67325842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B7899E10-A5AD-4F10-B12D-0B5A23C4BFEA}"/>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6809331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631523235"/>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02986192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34649735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09838313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09130128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1638261"/>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510872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80496302"/>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29997246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2492614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4BAEA856-D6E1-42A4-9356-6BE13B26CF23}" type="datetimeFigureOut">
              <a:rPr lang="en-US" smtClean="0">
                <a:solidFill>
                  <a:prstClr val="black">
                    <a:tint val="75000"/>
                  </a:prstClr>
                </a:solidFill>
              </a:rPr>
              <a:pPr/>
              <a:t>8/15/2024</a:t>
            </a:fld>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
        <p:nvSpPr>
          <p:cNvPr id="7" name="Title 5">
            <a:extLst>
              <a:ext uri="{FF2B5EF4-FFF2-40B4-BE49-F238E27FC236}">
                <a16:creationId xmlns:a16="http://schemas.microsoft.com/office/drawing/2014/main" id="{B358B76C-5071-47D4-9FDA-3D4BD8A3AF71}"/>
              </a:ext>
            </a:extLst>
          </p:cNvPr>
          <p:cNvSpPr txBox="1">
            <a:spLocks/>
          </p:cNvSpPr>
          <p:nvPr userDrawn="1"/>
        </p:nvSpPr>
        <p:spPr>
          <a:xfrm>
            <a:off x="269238" y="174885"/>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4400" b="0" i="0" u="none" strike="noStrike" kern="1200" cap="none" spc="0" normalizeH="0" baseline="0">
                <a:ln>
                  <a:noFill/>
                </a:ln>
                <a:solidFill>
                  <a:schemeClr val="accent4">
                    <a:lumMod val="50000"/>
                  </a:schemeClr>
                </a:solidFill>
                <a:effectLst/>
                <a:uLnTx/>
                <a:uFillTx/>
                <a:latin typeface="+mj-lt"/>
                <a:ea typeface="+mj-ea"/>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32082194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97816666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89388745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5533331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39912487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547605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25901194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6546177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88368232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047490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223711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63939503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9691424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64104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715597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1282619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82439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536951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653869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600">
                <a:solidFill>
                  <a:schemeClr val="tx2"/>
                </a:solidFill>
              </a:defRPr>
            </a:lvl1pPr>
          </a:lstStyle>
          <a:p>
            <a:r>
              <a:rPr lang="en-US"/>
              <a:t>Title</a:t>
            </a:r>
          </a:p>
        </p:txBody>
      </p:sp>
    </p:spTree>
    <p:extLst>
      <p:ext uri="{BB962C8B-B14F-4D97-AF65-F5344CB8AC3E}">
        <p14:creationId xmlns:p14="http://schemas.microsoft.com/office/powerpoint/2010/main" val="246780958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115997267"/>
      </p:ext>
    </p:extLst>
  </p:cSld>
  <p:clrMapOvr>
    <a:masterClrMapping/>
  </p:clrMapOvr>
  <p:transition>
    <p:fade/>
  </p:transition>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73560577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C72D31-A613-4575-8C30-1B5C8526389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461A2B3-F991-45BD-8BA7-FA0CE24140A3}"/>
              </a:ext>
            </a:extLst>
          </p:cNvPr>
          <p:cNvSpPr>
            <a:spLocks noGrp="1"/>
          </p:cNvSpPr>
          <p:nvPr>
            <p:ph type="body" sz="quarter" idx="10"/>
          </p:nvPr>
        </p:nvSpPr>
        <p:spPr>
          <a:xfrm>
            <a:off x="588263" y="1044575"/>
            <a:ext cx="11018520" cy="307777"/>
          </a:xfrm>
        </p:spPr>
        <p:txBody>
          <a:bodyPr wrap="square" lIns="0" tIns="0" rIns="0" bIns="0">
            <a:spAutoFit/>
          </a:bodyPr>
          <a:lstStyle>
            <a:lvl1pPr marL="0" indent="0">
              <a:buNone/>
              <a:defRPr lang="en-US" sz="2000" dirty="0" smtClean="0">
                <a:solidFill>
                  <a:schemeClr val="accent1"/>
                </a:solidFill>
                <a:latin typeface="+mj-lt"/>
                <a:cs typeface="+mn-cs"/>
              </a:defRPr>
            </a:lvl1pPr>
          </a:lstStyle>
          <a:p>
            <a:pPr marL="0" lvl="0" defTabSz="914367"/>
            <a:r>
              <a:rPr lang="en-US"/>
              <a:t>Click to edit Master text styles</a:t>
            </a:r>
          </a:p>
        </p:txBody>
      </p:sp>
    </p:spTree>
    <p:extLst>
      <p:ext uri="{BB962C8B-B14F-4D97-AF65-F5344CB8AC3E}">
        <p14:creationId xmlns:p14="http://schemas.microsoft.com/office/powerpoint/2010/main" val="208901904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E851B-53DD-42DE-B98F-EF9833BA21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51F285-23AA-4DB8-8E36-C7A353394BB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C06130-252F-4873-AC60-0DEC35F31A95}"/>
              </a:ext>
            </a:extLst>
          </p:cNvPr>
          <p:cNvSpPr>
            <a:spLocks noGrp="1"/>
          </p:cNvSpPr>
          <p:nvPr>
            <p:ph type="dt" sz="half" idx="10"/>
          </p:nvPr>
        </p:nvSpPr>
        <p:spPr/>
        <p:txBody>
          <a:bodyPr/>
          <a:lstStyle/>
          <a:p>
            <a:fld id="{A8085009-E053-4CFC-B70B-71D82C275186}" type="datetimeFigureOut">
              <a:rPr lang="en-US" smtClean="0"/>
              <a:t>8/15/2024</a:t>
            </a:fld>
            <a:endParaRPr lang="en-US"/>
          </a:p>
        </p:txBody>
      </p:sp>
      <p:sp>
        <p:nvSpPr>
          <p:cNvPr id="5" name="Footer Placeholder 4">
            <a:extLst>
              <a:ext uri="{FF2B5EF4-FFF2-40B4-BE49-F238E27FC236}">
                <a16:creationId xmlns:a16="http://schemas.microsoft.com/office/drawing/2014/main" id="{5BBA483F-3C5E-46A7-A561-676168E035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77CB13-327A-4D39-9F62-1B27D551CDEC}"/>
              </a:ext>
            </a:extLst>
          </p:cNvPr>
          <p:cNvSpPr>
            <a:spLocks noGrp="1"/>
          </p:cNvSpPr>
          <p:nvPr>
            <p:ph type="sldNum" sz="quarter" idx="12"/>
          </p:nvPr>
        </p:nvSpPr>
        <p:spPr/>
        <p:txBody>
          <a:bodyPr/>
          <a:lstStyle/>
          <a:p>
            <a:fld id="{1A311F4F-3675-466E-9388-734BB41532D3}" type="slidenum">
              <a:rPr lang="en-US" smtClean="0"/>
              <a:t>‹#›</a:t>
            </a:fld>
            <a:endParaRPr lang="en-US"/>
          </a:p>
        </p:txBody>
      </p:sp>
    </p:spTree>
    <p:extLst>
      <p:ext uri="{BB962C8B-B14F-4D97-AF65-F5344CB8AC3E}">
        <p14:creationId xmlns:p14="http://schemas.microsoft.com/office/powerpoint/2010/main" val="64398927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4800037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254082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1807603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301282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nk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9215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30211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05326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6797666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tx1"/>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1" y="680536"/>
            <a:ext cx="12206593" cy="36426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9"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6" y="738715"/>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5" y="2530090"/>
            <a:ext cx="5042927" cy="1793105"/>
          </a:xfrm>
          <a:noFill/>
        </p:spPr>
        <p:txBody>
          <a:bodyPr lIns="149216" tIns="111912" rIns="149216" bIns="111912">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1501061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8263" y="2271760"/>
            <a:ext cx="4896264" cy="1157240"/>
          </a:xfrm>
        </p:spPr>
        <p:txBody>
          <a:bodyPr wrap="square">
            <a:spAutoFit/>
          </a:bodyPr>
          <a:lstStyle>
            <a:lvl1pPr marL="0" indent="0">
              <a:lnSpc>
                <a:spcPct val="110000"/>
              </a:lnSpc>
              <a:spcBef>
                <a:spcPts val="1800"/>
              </a:spcBef>
              <a:buFont typeface="Arial" panose="020B0604020202020204" pitchFamily="34" charset="0"/>
              <a:buNone/>
              <a:defRPr sz="1600">
                <a:latin typeface="+mn-lt"/>
              </a:defRPr>
            </a:lvl1pPr>
            <a:lvl2pPr marL="228600" indent="0">
              <a:buFont typeface="Arial" panose="020B0604020202020204" pitchFamily="34" charset="0"/>
              <a:buNone/>
              <a:defRPr sz="1400"/>
            </a:lvl2pPr>
            <a:lvl3pPr marL="457200" indent="0">
              <a:buFont typeface="Arial" panose="020B0604020202020204" pitchFamily="34" charset="0"/>
              <a:buNone/>
              <a:defRPr sz="1100"/>
            </a:lvl3pPr>
            <a:lvl4pPr marL="685800" indent="0">
              <a:buFont typeface="Arial" panose="020B0604020202020204" pitchFamily="34" charset="0"/>
              <a:buNone/>
              <a:defRPr sz="1050"/>
            </a:lvl4pPr>
            <a:lvl5pPr marL="914400" indent="0">
              <a:buFont typeface="Arial" panose="020B0604020202020204" pitchFamily="34" charset="0"/>
              <a:buNone/>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5EBC9C4-692B-4264-85A6-FAA30AA09ECB}"/>
              </a:ext>
            </a:extLst>
          </p:cNvPr>
          <p:cNvSpPr>
            <a:spLocks noGrp="1"/>
          </p:cNvSpPr>
          <p:nvPr>
            <p:ph type="title"/>
          </p:nvPr>
        </p:nvSpPr>
        <p:spPr>
          <a:xfrm>
            <a:off x="588263" y="457200"/>
            <a:ext cx="4896264" cy="984885"/>
          </a:xfrm>
        </p:spPr>
        <p:txBody>
          <a:bodyPr>
            <a:spAutoFit/>
          </a:bodyPr>
          <a:lstStyle>
            <a:lvl1pPr>
              <a:defRPr sz="3200"/>
            </a:lvl1pPr>
          </a:lstStyle>
          <a:p>
            <a:r>
              <a:rPr lang="en-US"/>
              <a:t>Click to edit Master title style</a:t>
            </a:r>
          </a:p>
        </p:txBody>
      </p:sp>
    </p:spTree>
    <p:extLst>
      <p:ext uri="{BB962C8B-B14F-4D97-AF65-F5344CB8AC3E}">
        <p14:creationId xmlns:p14="http://schemas.microsoft.com/office/powerpoint/2010/main" val="3099670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913164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78611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6078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55763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1"/>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1"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430901"/>
          </a:xfrm>
        </p:spPr>
        <p:txBody>
          <a:bodyPr/>
          <a:lstStyle/>
          <a:p>
            <a:endParaRPr lang="en-US"/>
          </a:p>
        </p:txBody>
      </p:sp>
    </p:spTree>
    <p:extLst>
      <p:ext uri="{BB962C8B-B14F-4D97-AF65-F5344CB8AC3E}">
        <p14:creationId xmlns:p14="http://schemas.microsoft.com/office/powerpoint/2010/main" val="6821645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1"/>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9377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513950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28500" y="697656"/>
            <a:ext cx="3654814" cy="1107996"/>
          </a:xfrm>
        </p:spPr>
        <p:txBody>
          <a:bodyPr wrap="square"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085797" y="617634"/>
            <a:ext cx="4616560" cy="1268039"/>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77545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32428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41453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560644"/>
            <a:ext cx="4898137" cy="1239122"/>
          </a:xfrm>
        </p:spPr>
        <p:txBody>
          <a:bodyPr wrap="square">
            <a:spAutoFit/>
          </a:bodyPr>
          <a:lstStyle>
            <a:lvl1pPr marL="0" indent="0">
              <a:lnSpc>
                <a:spcPct val="110000"/>
              </a:lnSpc>
              <a:spcBef>
                <a:spcPts val="1200"/>
              </a:spcBef>
              <a:buNone/>
              <a:defRPr sz="1800">
                <a:latin typeface="+mn-lt"/>
              </a:defRPr>
            </a:lvl1pPr>
            <a:lvl2pPr marL="228556" indent="0">
              <a:buNone/>
              <a:defRPr sz="1600"/>
            </a:lvl2pPr>
            <a:lvl3pPr marL="457112" indent="0">
              <a:buNone/>
              <a:defRPr sz="1200"/>
            </a:lvl3pPr>
            <a:lvl4pPr marL="685668" indent="0">
              <a:buNone/>
              <a:defRPr sz="1100"/>
            </a:lvl4pPr>
            <a:lvl5pPr marL="914225"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58517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217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612070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248479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74704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181989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748463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99849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7422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76080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60107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99913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38762183"/>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60436283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188498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4700620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745" b="0" spc="0" baseline="0">
                <a:solidFill>
                  <a:schemeClr val="tx2"/>
                </a:soli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3"/>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custDataLst>
      <p:tags r:id="rId1"/>
    </p:custDataLst>
    <p:extLst>
      <p:ext uri="{BB962C8B-B14F-4D97-AF65-F5344CB8AC3E}">
        <p14:creationId xmlns:p14="http://schemas.microsoft.com/office/powerpoint/2010/main" val="3968165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20767195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D6B94F-EEA5-4205-A309-AEEAEEC6D173}"/>
              </a:ext>
            </a:extLst>
          </p:cNvPr>
          <p:cNvSpPr>
            <a:spLocks noGrp="1"/>
          </p:cNvSpPr>
          <p:nvPr>
            <p:ph type="title"/>
          </p:nvPr>
        </p:nvSpPr>
        <p:spPr>
          <a:xfrm>
            <a:off x="361461" y="-95982"/>
            <a:ext cx="10515600" cy="1325563"/>
          </a:xfrm>
        </p:spPr>
        <p:txBody>
          <a:bodyPr>
            <a:normAutofit/>
          </a:bodyPr>
          <a:lstStyle>
            <a:lvl1pPr>
              <a:defRPr sz="4000"/>
            </a:lvl1pPr>
          </a:lstStyle>
          <a:p>
            <a:r>
              <a:rPr lang="en-US"/>
              <a:t>Click to edit Master title style</a:t>
            </a:r>
          </a:p>
        </p:txBody>
      </p:sp>
      <p:sp>
        <p:nvSpPr>
          <p:cNvPr id="3" name="Content Placeholder 2">
            <a:extLst>
              <a:ext uri="{FF2B5EF4-FFF2-40B4-BE49-F238E27FC236}">
                <a16:creationId xmlns:a16="http://schemas.microsoft.com/office/drawing/2014/main" id="{84A8E4C1-FE2A-49D2-9F5A-CDA486EEA1F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475511-96E1-4DE1-8B58-AFEBFF1569C6}"/>
              </a:ext>
            </a:extLst>
          </p:cNvPr>
          <p:cNvSpPr>
            <a:spLocks noGrp="1"/>
          </p:cNvSpPr>
          <p:nvPr>
            <p:ph type="dt" sz="half" idx="10"/>
          </p:nvPr>
        </p:nvSpPr>
        <p:spPr>
          <a:xfrm>
            <a:off x="838200" y="6434500"/>
            <a:ext cx="2743200" cy="365125"/>
          </a:xfrm>
        </p:spPr>
        <p:txBody>
          <a:bodyPr/>
          <a:lstStyle/>
          <a:p>
            <a:fld id="{EE44F65B-CC9D-4BDD-81E2-3372B226916A}" type="datetime1">
              <a:rPr lang="en-US" smtClean="0"/>
              <a:t>8/15/2024</a:t>
            </a:fld>
            <a:endParaRPr lang="en-US"/>
          </a:p>
        </p:txBody>
      </p:sp>
      <p:sp>
        <p:nvSpPr>
          <p:cNvPr id="5" name="Footer Placeholder 4">
            <a:extLst>
              <a:ext uri="{FF2B5EF4-FFF2-40B4-BE49-F238E27FC236}">
                <a16:creationId xmlns:a16="http://schemas.microsoft.com/office/drawing/2014/main" id="{3181A1A0-1D75-44BB-9964-99EEF7D866B2}"/>
              </a:ext>
            </a:extLst>
          </p:cNvPr>
          <p:cNvSpPr>
            <a:spLocks noGrp="1"/>
          </p:cNvSpPr>
          <p:nvPr>
            <p:ph type="ftr" sz="quarter" idx="11"/>
          </p:nvPr>
        </p:nvSpPr>
        <p:spPr>
          <a:xfrm>
            <a:off x="4038600" y="6434500"/>
            <a:ext cx="4114800" cy="365125"/>
          </a:xfrm>
        </p:spPr>
        <p:txBody>
          <a:bodyPr/>
          <a:lstStyle/>
          <a:p>
            <a:r>
              <a:rPr lang="en-US"/>
              <a:t>Microsoft Confidential – distributed under NDA</a:t>
            </a:r>
          </a:p>
        </p:txBody>
      </p:sp>
      <p:sp>
        <p:nvSpPr>
          <p:cNvPr id="6" name="Slide Number Placeholder 5">
            <a:extLst>
              <a:ext uri="{FF2B5EF4-FFF2-40B4-BE49-F238E27FC236}">
                <a16:creationId xmlns:a16="http://schemas.microsoft.com/office/drawing/2014/main" id="{A3ADB874-2844-42CA-9CC0-14F4A54B4FA0}"/>
              </a:ext>
            </a:extLst>
          </p:cNvPr>
          <p:cNvSpPr>
            <a:spLocks noGrp="1"/>
          </p:cNvSpPr>
          <p:nvPr>
            <p:ph type="sldNum" sz="quarter" idx="12"/>
          </p:nvPr>
        </p:nvSpPr>
        <p:spPr>
          <a:xfrm>
            <a:off x="8610600" y="6434500"/>
            <a:ext cx="2743200" cy="365125"/>
          </a:xfrm>
        </p:spPr>
        <p:txBody>
          <a:bodyPr/>
          <a:lstStyle/>
          <a:p>
            <a:fld id="{11C2705A-8B10-48AD-867E-31A6C7C9622F}" type="slidenum">
              <a:rPr lang="en-US" smtClean="0"/>
              <a:t>‹#›</a:t>
            </a:fld>
            <a:endParaRPr lang="en-US"/>
          </a:p>
        </p:txBody>
      </p:sp>
    </p:spTree>
    <p:extLst>
      <p:ext uri="{BB962C8B-B14F-4D97-AF65-F5344CB8AC3E}">
        <p14:creationId xmlns:p14="http://schemas.microsoft.com/office/powerpoint/2010/main" val="295140143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solidFill>
                  <a:schemeClr val="tx2"/>
                </a:soli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3"/>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custDataLst>
      <p:tags r:id="rId1"/>
    </p:custDataLst>
    <p:extLst>
      <p:ext uri="{BB962C8B-B14F-4D97-AF65-F5344CB8AC3E}">
        <p14:creationId xmlns:p14="http://schemas.microsoft.com/office/powerpoint/2010/main" val="360065338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465356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250714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7238650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4638673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346773281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223412766"/>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873153803"/>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2993672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76668351"/>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dirty="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72337576"/>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167003987"/>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762324238"/>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008279355"/>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80575209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9" Type="http://schemas.openxmlformats.org/officeDocument/2006/relationships/slideLayout" Target="../slideLayouts/slideLayout48.xml"/><Relationship Id="rId21" Type="http://schemas.openxmlformats.org/officeDocument/2006/relationships/slideLayout" Target="../slideLayouts/slideLayout30.xml"/><Relationship Id="rId34" Type="http://schemas.openxmlformats.org/officeDocument/2006/relationships/slideLayout" Target="../slideLayouts/slideLayout43.xml"/><Relationship Id="rId42" Type="http://schemas.openxmlformats.org/officeDocument/2006/relationships/slideLayout" Target="../slideLayouts/slideLayout51.xml"/><Relationship Id="rId47" Type="http://schemas.openxmlformats.org/officeDocument/2006/relationships/slideLayout" Target="../slideLayouts/slideLayout56.xml"/><Relationship Id="rId50" Type="http://schemas.openxmlformats.org/officeDocument/2006/relationships/slideLayout" Target="../slideLayouts/slideLayout59.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9" Type="http://schemas.openxmlformats.org/officeDocument/2006/relationships/slideLayout" Target="../slideLayouts/slideLayout38.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40" Type="http://schemas.openxmlformats.org/officeDocument/2006/relationships/slideLayout" Target="../slideLayouts/slideLayout49.xml"/><Relationship Id="rId45" Type="http://schemas.openxmlformats.org/officeDocument/2006/relationships/slideLayout" Target="../slideLayouts/slideLayout54.xml"/><Relationship Id="rId53" Type="http://schemas.openxmlformats.org/officeDocument/2006/relationships/image" Target="../media/image3.png"/><Relationship Id="rId5" Type="http://schemas.openxmlformats.org/officeDocument/2006/relationships/slideLayout" Target="../slideLayouts/slideLayout14.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4" Type="http://schemas.openxmlformats.org/officeDocument/2006/relationships/slideLayout" Target="../slideLayouts/slideLayout53.xml"/><Relationship Id="rId52" Type="http://schemas.openxmlformats.org/officeDocument/2006/relationships/image" Target="../media/image2.emf"/><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43" Type="http://schemas.openxmlformats.org/officeDocument/2006/relationships/slideLayout" Target="../slideLayouts/slideLayout52.xml"/><Relationship Id="rId48" Type="http://schemas.openxmlformats.org/officeDocument/2006/relationships/slideLayout" Target="../slideLayouts/slideLayout57.xml"/><Relationship Id="rId8" Type="http://schemas.openxmlformats.org/officeDocument/2006/relationships/slideLayout" Target="../slideLayouts/slideLayout17.xml"/><Relationship Id="rId51" Type="http://schemas.openxmlformats.org/officeDocument/2006/relationships/theme" Target="../theme/theme2.xml"/><Relationship Id="rId3" Type="http://schemas.openxmlformats.org/officeDocument/2006/relationships/slideLayout" Target="../slideLayouts/slideLayout12.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38" Type="http://schemas.openxmlformats.org/officeDocument/2006/relationships/slideLayout" Target="../slideLayouts/slideLayout47.xml"/><Relationship Id="rId46" Type="http://schemas.openxmlformats.org/officeDocument/2006/relationships/slideLayout" Target="../slideLayouts/slideLayout55.xml"/><Relationship Id="rId20" Type="http://schemas.openxmlformats.org/officeDocument/2006/relationships/slideLayout" Target="../slideLayouts/slideLayout29.xml"/><Relationship Id="rId41" Type="http://schemas.openxmlformats.org/officeDocument/2006/relationships/slideLayout" Target="../slideLayouts/slideLayout50.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slideLayout" Target="../slideLayouts/slideLayout45.xml"/><Relationship Id="rId49"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image" Target="../media/image17.emf"/><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9" Type="http://schemas.openxmlformats.org/officeDocument/2006/relationships/slideLayout" Target="../slideLayouts/slideLayout127.xml"/><Relationship Id="rId21" Type="http://schemas.openxmlformats.org/officeDocument/2006/relationships/slideLayout" Target="../slideLayouts/slideLayout109.xml"/><Relationship Id="rId34" Type="http://schemas.openxmlformats.org/officeDocument/2006/relationships/slideLayout" Target="../slideLayouts/slideLayout122.xml"/><Relationship Id="rId42" Type="http://schemas.openxmlformats.org/officeDocument/2006/relationships/slideLayout" Target="../slideLayouts/slideLayout130.xml"/><Relationship Id="rId47" Type="http://schemas.openxmlformats.org/officeDocument/2006/relationships/tags" Target="../tags/tag3.xml"/><Relationship Id="rId50" Type="http://schemas.openxmlformats.org/officeDocument/2006/relationships/image" Target="../media/image21.emf"/><Relationship Id="rId7" Type="http://schemas.openxmlformats.org/officeDocument/2006/relationships/slideLayout" Target="../slideLayouts/slideLayout9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9" Type="http://schemas.openxmlformats.org/officeDocument/2006/relationships/slideLayout" Target="../slideLayouts/slideLayout117.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slideLayout" Target="../slideLayouts/slideLayout120.xml"/><Relationship Id="rId37" Type="http://schemas.openxmlformats.org/officeDocument/2006/relationships/slideLayout" Target="../slideLayouts/slideLayout125.xml"/><Relationship Id="rId40" Type="http://schemas.openxmlformats.org/officeDocument/2006/relationships/slideLayout" Target="../slideLayouts/slideLayout128.xml"/><Relationship Id="rId45" Type="http://schemas.openxmlformats.org/officeDocument/2006/relationships/slideLayout" Target="../slideLayouts/slideLayout133.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36" Type="http://schemas.openxmlformats.org/officeDocument/2006/relationships/slideLayout" Target="../slideLayouts/slideLayout124.xml"/><Relationship Id="rId49" Type="http://schemas.openxmlformats.org/officeDocument/2006/relationships/tags" Target="../tags/tag5.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slideLayout" Target="../slideLayouts/slideLayout119.xml"/><Relationship Id="rId44" Type="http://schemas.openxmlformats.org/officeDocument/2006/relationships/slideLayout" Target="../slideLayouts/slideLayout132.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35" Type="http://schemas.openxmlformats.org/officeDocument/2006/relationships/slideLayout" Target="../slideLayouts/slideLayout123.xml"/><Relationship Id="rId43" Type="http://schemas.openxmlformats.org/officeDocument/2006/relationships/slideLayout" Target="../slideLayouts/slideLayout131.xml"/><Relationship Id="rId48" Type="http://schemas.openxmlformats.org/officeDocument/2006/relationships/tags" Target="../tags/tag4.xml"/><Relationship Id="rId8" Type="http://schemas.openxmlformats.org/officeDocument/2006/relationships/slideLayout" Target="../slideLayouts/slideLayout96.xml"/><Relationship Id="rId3" Type="http://schemas.openxmlformats.org/officeDocument/2006/relationships/slideLayout" Target="../slideLayouts/slideLayout91.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slideLayout" Target="../slideLayouts/slideLayout121.xml"/><Relationship Id="rId38" Type="http://schemas.openxmlformats.org/officeDocument/2006/relationships/slideLayout" Target="../slideLayouts/slideLayout126.xml"/><Relationship Id="rId46" Type="http://schemas.openxmlformats.org/officeDocument/2006/relationships/theme" Target="../theme/theme4.xml"/><Relationship Id="rId20" Type="http://schemas.openxmlformats.org/officeDocument/2006/relationships/slideLayout" Target="../slideLayouts/slideLayout108.xml"/><Relationship Id="rId41" Type="http://schemas.openxmlformats.org/officeDocument/2006/relationships/slideLayout" Target="../slideLayouts/slideLayout129.xml"/><Relationship Id="rId1" Type="http://schemas.openxmlformats.org/officeDocument/2006/relationships/slideLayout" Target="../slideLayouts/slideLayout89.xml"/><Relationship Id="rId6" Type="http://schemas.openxmlformats.org/officeDocument/2006/relationships/slideLayout" Target="../slideLayouts/slideLayout9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7" name="Rectangle 6">
            <a:extLst>
              <a:ext uri="{FF2B5EF4-FFF2-40B4-BE49-F238E27FC236}">
                <a16:creationId xmlns:a16="http://schemas.microsoft.com/office/drawing/2014/main" id="{86B374D5-5744-4147-B311-13B6E1E8798F}"/>
              </a:ext>
            </a:extLst>
          </p:cNvPr>
          <p:cNvSpPr/>
          <p:nvPr userDrawn="1"/>
        </p:nvSpPr>
        <p:spPr>
          <a:xfrm>
            <a:off x="18149" y="6531751"/>
            <a:ext cx="5542142" cy="307777"/>
          </a:xfrm>
          <a:prstGeom prst="rect">
            <a:avLst/>
          </a:prstGeom>
          <a:noFill/>
          <a:ln>
            <a:noFill/>
          </a:ln>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0160">
                  <a:solidFill>
                    <a:schemeClr val="accent4">
                      <a:lumMod val="75000"/>
                    </a:schemeClr>
                  </a:solidFill>
                  <a:prstDash val="solid"/>
                </a:ln>
                <a:solidFill>
                  <a:schemeClr val="bg1"/>
                </a:solidFill>
                <a:effectLst>
                  <a:outerShdw blurRad="38100" dist="22860" dir="5400000" algn="tl" rotWithShape="0">
                    <a:srgbClr val="000000">
                      <a:alpha val="30000"/>
                    </a:srgbClr>
                  </a:outerShdw>
                </a:effectLst>
                <a:uLnTx/>
                <a:uFillTx/>
                <a:latin typeface="Segoe UI"/>
                <a:ea typeface="+mn-ea"/>
                <a:cs typeface="+mn-cs"/>
              </a:rPr>
              <a:t>Business Continuity and Disaster Recovery in Azure SQL</a:t>
            </a:r>
          </a:p>
        </p:txBody>
      </p:sp>
    </p:spTree>
    <p:extLst>
      <p:ext uri="{BB962C8B-B14F-4D97-AF65-F5344CB8AC3E}">
        <p14:creationId xmlns:p14="http://schemas.microsoft.com/office/powerpoint/2010/main" val="296159685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4870" r:id="rId4"/>
    <p:sldLayoutId id="2147484871" r:id="rId5"/>
    <p:sldLayoutId id="2147484872" r:id="rId6"/>
    <p:sldLayoutId id="2147484873" r:id="rId7"/>
    <p:sldLayoutId id="2147484927" r:id="rId8"/>
    <p:sldLayoutId id="2147484929" r:id="rId9"/>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2"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3"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163223"/>
      </p:ext>
    </p:extLst>
  </p:cSld>
  <p:clrMap bg1="lt1" tx1="dk1" bg2="lt2" tx2="dk2" accent1="accent1" accent2="accent2" accent3="accent3" accent4="accent4" accent5="accent5" accent6="accent6" hlink="hlink" folHlink="folHlink"/>
  <p:sldLayoutIdLst>
    <p:sldLayoutId id="2147484875" r:id="rId1"/>
    <p:sldLayoutId id="2147484876" r:id="rId2"/>
    <p:sldLayoutId id="2147484877" r:id="rId3"/>
    <p:sldLayoutId id="2147484878" r:id="rId4"/>
    <p:sldLayoutId id="2147484879" r:id="rId5"/>
    <p:sldLayoutId id="2147484880" r:id="rId6"/>
    <p:sldLayoutId id="2147484881" r:id="rId7"/>
    <p:sldLayoutId id="2147484882" r:id="rId8"/>
    <p:sldLayoutId id="2147484883" r:id="rId9"/>
    <p:sldLayoutId id="2147484884" r:id="rId10"/>
    <p:sldLayoutId id="2147484885" r:id="rId11"/>
    <p:sldLayoutId id="2147484886" r:id="rId12"/>
    <p:sldLayoutId id="2147484887" r:id="rId13"/>
    <p:sldLayoutId id="2147484888" r:id="rId14"/>
    <p:sldLayoutId id="2147484889" r:id="rId15"/>
    <p:sldLayoutId id="2147484890" r:id="rId16"/>
    <p:sldLayoutId id="2147484891" r:id="rId17"/>
    <p:sldLayoutId id="2147484892" r:id="rId18"/>
    <p:sldLayoutId id="2147484893" r:id="rId19"/>
    <p:sldLayoutId id="2147484894" r:id="rId20"/>
    <p:sldLayoutId id="2147484895" r:id="rId21"/>
    <p:sldLayoutId id="2147484896" r:id="rId22"/>
    <p:sldLayoutId id="2147484897" r:id="rId23"/>
    <p:sldLayoutId id="2147484898" r:id="rId24"/>
    <p:sldLayoutId id="2147484899" r:id="rId25"/>
    <p:sldLayoutId id="2147484900" r:id="rId26"/>
    <p:sldLayoutId id="2147484901" r:id="rId27"/>
    <p:sldLayoutId id="2147484902" r:id="rId28"/>
    <p:sldLayoutId id="2147484903" r:id="rId29"/>
    <p:sldLayoutId id="2147484904" r:id="rId30"/>
    <p:sldLayoutId id="2147484905" r:id="rId31"/>
    <p:sldLayoutId id="2147484906" r:id="rId32"/>
    <p:sldLayoutId id="2147484907" r:id="rId33"/>
    <p:sldLayoutId id="2147484908" r:id="rId34"/>
    <p:sldLayoutId id="2147484909" r:id="rId35"/>
    <p:sldLayoutId id="2147484910" r:id="rId36"/>
    <p:sldLayoutId id="2147484911" r:id="rId37"/>
    <p:sldLayoutId id="2147484912" r:id="rId38"/>
    <p:sldLayoutId id="2147484913" r:id="rId39"/>
    <p:sldLayoutId id="2147484914" r:id="rId40"/>
    <p:sldLayoutId id="2147484915" r:id="rId41"/>
    <p:sldLayoutId id="2147484916" r:id="rId42"/>
    <p:sldLayoutId id="2147484917" r:id="rId43"/>
    <p:sldLayoutId id="2147484918" r:id="rId44"/>
    <p:sldLayoutId id="2147484919" r:id="rId45"/>
    <p:sldLayoutId id="2147484920" r:id="rId46"/>
    <p:sldLayoutId id="2147484921" r:id="rId47"/>
    <p:sldLayoutId id="2147484922" r:id="rId48"/>
    <p:sldLayoutId id="2147484923" r:id="rId49"/>
    <p:sldLayoutId id="2147484930" r:id="rId50"/>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1"/>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4649736"/>
      </p:ext>
    </p:extLst>
  </p:cSld>
  <p:clrMap bg1="lt1" tx1="dk1" bg2="lt2" tx2="dk2" accent1="accent1" accent2="accent2" accent3="accent3" accent4="accent4" accent5="accent5" accent6="accent6" hlink="hlink" folHlink="folHlink"/>
  <p:sldLayoutIdLst>
    <p:sldLayoutId id="2147485074" r:id="rId1"/>
    <p:sldLayoutId id="2147485075" r:id="rId2"/>
    <p:sldLayoutId id="2147485076" r:id="rId3"/>
    <p:sldLayoutId id="2147485077" r:id="rId4"/>
    <p:sldLayoutId id="2147485078" r:id="rId5"/>
    <p:sldLayoutId id="2147485079" r:id="rId6"/>
    <p:sldLayoutId id="2147485080" r:id="rId7"/>
    <p:sldLayoutId id="2147485081" r:id="rId8"/>
    <p:sldLayoutId id="2147485082" r:id="rId9"/>
    <p:sldLayoutId id="2147485083" r:id="rId10"/>
    <p:sldLayoutId id="2147485084" r:id="rId11"/>
    <p:sldLayoutId id="2147485085" r:id="rId12"/>
    <p:sldLayoutId id="2147485086" r:id="rId13"/>
    <p:sldLayoutId id="2147485087" r:id="rId14"/>
    <p:sldLayoutId id="2147485088" r:id="rId15"/>
    <p:sldLayoutId id="2147485089" r:id="rId16"/>
    <p:sldLayoutId id="2147485090" r:id="rId17"/>
    <p:sldLayoutId id="2147485091" r:id="rId18"/>
    <p:sldLayoutId id="2147485092" r:id="rId19"/>
    <p:sldLayoutId id="2147485093" r:id="rId20"/>
    <p:sldLayoutId id="2147485094" r:id="rId21"/>
    <p:sldLayoutId id="2147485095" r:id="rId22"/>
    <p:sldLayoutId id="2147485096" r:id="rId23"/>
    <p:sldLayoutId id="2147485097" r:id="rId24"/>
    <p:sldLayoutId id="2147485098" r:id="rId25"/>
    <p:sldLayoutId id="2147485099" r:id="rId26"/>
    <p:sldLayoutId id="2147485100" r:id="rId27"/>
    <p:sldLayoutId id="2147485101" r:id="rId28"/>
    <p:sldLayoutId id="2147485149" r:id="rId29"/>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81181506"/>
      </p:ext>
    </p:extLst>
  </p:cSld>
  <p:clrMap bg1="lt1" tx1="dk1" bg2="lt2" tx2="dk2" accent1="accent1" accent2="accent2" accent3="accent3" accent4="accent4" accent5="accent5" accent6="accent6" hlink="hlink" folHlink="folHlink"/>
  <p:sldLayoutIdLst>
    <p:sldLayoutId id="2147485103" r:id="rId1"/>
    <p:sldLayoutId id="2147485104" r:id="rId2"/>
    <p:sldLayoutId id="2147485105" r:id="rId3"/>
    <p:sldLayoutId id="2147485106" r:id="rId4"/>
    <p:sldLayoutId id="2147485107" r:id="rId5"/>
    <p:sldLayoutId id="2147485108" r:id="rId6"/>
    <p:sldLayoutId id="2147485109" r:id="rId7"/>
    <p:sldLayoutId id="2147485110" r:id="rId8"/>
    <p:sldLayoutId id="2147485111" r:id="rId9"/>
    <p:sldLayoutId id="2147485112" r:id="rId10"/>
    <p:sldLayoutId id="2147485113" r:id="rId11"/>
    <p:sldLayoutId id="2147485114" r:id="rId12"/>
    <p:sldLayoutId id="2147485115" r:id="rId13"/>
    <p:sldLayoutId id="2147485116" r:id="rId14"/>
    <p:sldLayoutId id="2147485117" r:id="rId15"/>
    <p:sldLayoutId id="2147485118" r:id="rId16"/>
    <p:sldLayoutId id="2147485119" r:id="rId17"/>
    <p:sldLayoutId id="2147485120" r:id="rId18"/>
    <p:sldLayoutId id="2147485121" r:id="rId19"/>
    <p:sldLayoutId id="2147485122" r:id="rId20"/>
    <p:sldLayoutId id="2147485123" r:id="rId21"/>
    <p:sldLayoutId id="2147485124" r:id="rId22"/>
    <p:sldLayoutId id="2147485125" r:id="rId23"/>
    <p:sldLayoutId id="2147485126" r:id="rId24"/>
    <p:sldLayoutId id="2147485127" r:id="rId25"/>
    <p:sldLayoutId id="2147485128" r:id="rId26"/>
    <p:sldLayoutId id="2147485129" r:id="rId27"/>
    <p:sldLayoutId id="2147485130" r:id="rId28"/>
    <p:sldLayoutId id="2147485131" r:id="rId29"/>
    <p:sldLayoutId id="2147485132" r:id="rId30"/>
    <p:sldLayoutId id="2147485133" r:id="rId31"/>
    <p:sldLayoutId id="2147485134" r:id="rId32"/>
    <p:sldLayoutId id="2147485135" r:id="rId33"/>
    <p:sldLayoutId id="2147485136" r:id="rId34"/>
    <p:sldLayoutId id="2147485137" r:id="rId35"/>
    <p:sldLayoutId id="2147485138" r:id="rId36"/>
    <p:sldLayoutId id="2147485139" r:id="rId37"/>
    <p:sldLayoutId id="2147485140" r:id="rId38"/>
    <p:sldLayoutId id="2147485141" r:id="rId39"/>
    <p:sldLayoutId id="2147485142" r:id="rId40"/>
    <p:sldLayoutId id="2147485143" r:id="rId41"/>
    <p:sldLayoutId id="2147485144" r:id="rId42"/>
    <p:sldLayoutId id="2147485145" r:id="rId43"/>
    <p:sldLayoutId id="2147485146" r:id="rId44"/>
    <p:sldLayoutId id="2147485147" r:id="rId45"/>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0.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96.xml"/><Relationship Id="rId4" Type="http://schemas.openxmlformats.org/officeDocument/2006/relationships/image" Target="../media/image39.svg"/></Relationships>
</file>

<file path=ppt/slides/_rels/slide17.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image" Target="../media/image38.png"/><Relationship Id="rId7" Type="http://schemas.openxmlformats.org/officeDocument/2006/relationships/diagramQuickStyle" Target="../diagrams/quickStyle5.xml"/><Relationship Id="rId2" Type="http://schemas.openxmlformats.org/officeDocument/2006/relationships/notesSlide" Target="../notesSlides/notesSlide8.xml"/><Relationship Id="rId1" Type="http://schemas.openxmlformats.org/officeDocument/2006/relationships/slideLayout" Target="../slideLayouts/slideLayout70.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image" Target="../media/image39.svg"/><Relationship Id="rId9" Type="http://schemas.microsoft.com/office/2007/relationships/diagramDrawing" Target="../diagrams/drawing5.xml"/></Relationships>
</file>

<file path=ppt/slides/_rels/slide1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9.xml"/><Relationship Id="rId1" Type="http://schemas.openxmlformats.org/officeDocument/2006/relationships/slideLayout" Target="../slideLayouts/slideLayout96.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 Id="rId9" Type="http://schemas.openxmlformats.org/officeDocument/2006/relationships/image" Target="../media/image39.svg"/></Relationships>
</file>

<file path=ppt/slides/_rels/slide19.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image" Target="../media/image40.png"/><Relationship Id="rId7" Type="http://schemas.openxmlformats.org/officeDocument/2006/relationships/diagramColors" Target="../diagrams/colors7.xml"/><Relationship Id="rId2" Type="http://schemas.openxmlformats.org/officeDocument/2006/relationships/notesSlide" Target="../notesSlides/notesSlide10.xml"/><Relationship Id="rId1" Type="http://schemas.openxmlformats.org/officeDocument/2006/relationships/slideLayout" Target="../slideLayouts/slideLayout96.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jpg"/><Relationship Id="rId7"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59.xml"/><Relationship Id="rId6" Type="http://schemas.openxmlformats.org/officeDocument/2006/relationships/image" Target="../media/image26.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1.xml"/><Relationship Id="rId1" Type="http://schemas.openxmlformats.org/officeDocument/2006/relationships/slideLayout" Target="../slideLayouts/slideLayout96.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2.xml"/><Relationship Id="rId1" Type="http://schemas.openxmlformats.org/officeDocument/2006/relationships/slideLayout" Target="../slideLayouts/slideLayout96.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 Id="rId9" Type="http://schemas.openxmlformats.org/officeDocument/2006/relationships/image" Target="../media/image39.sv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7.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4.xml"/><Relationship Id="rId1" Type="http://schemas.openxmlformats.org/officeDocument/2006/relationships/slideLayout" Target="../slideLayouts/slideLayout97.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8.xml"/><Relationship Id="rId1" Type="http://schemas.openxmlformats.org/officeDocument/2006/relationships/tags" Target="../tags/tag6.xml"/><Relationship Id="rId4" Type="http://schemas.openxmlformats.org/officeDocument/2006/relationships/image" Target="../media/image4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13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3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7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88.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734428" y="2537398"/>
            <a:ext cx="4344412" cy="2215991"/>
          </a:xfrm>
        </p:spPr>
        <p:txBody>
          <a:bodyPr/>
          <a:lstStyle/>
          <a:p>
            <a:pPr algn="ctr"/>
            <a:r>
              <a:rPr lang="en-US" dirty="0"/>
              <a:t>Introduction to</a:t>
            </a:r>
            <a:br>
              <a:rPr lang="en-US" dirty="0"/>
            </a:br>
            <a:r>
              <a:rPr lang="en-US" dirty="0"/>
              <a:t>Business Continuity in Azure SQL</a:t>
            </a:r>
            <a:br>
              <a:rPr lang="en-US" dirty="0"/>
            </a:br>
            <a:br>
              <a:rPr lang="en-US" dirty="0"/>
            </a:br>
            <a:r>
              <a:rPr lang="en-US" dirty="0"/>
              <a:t>John Deardurff</a:t>
            </a:r>
          </a:p>
        </p:txBody>
      </p:sp>
    </p:spTree>
    <p:extLst>
      <p:ext uri="{BB962C8B-B14F-4D97-AF65-F5344CB8AC3E}">
        <p14:creationId xmlns:p14="http://schemas.microsoft.com/office/powerpoint/2010/main" val="41257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62564-FA0D-0E97-F2AF-E3D0F0A4400F}"/>
              </a:ext>
            </a:extLst>
          </p:cNvPr>
          <p:cNvSpPr>
            <a:spLocks noGrp="1"/>
          </p:cNvSpPr>
          <p:nvPr>
            <p:ph type="title"/>
          </p:nvPr>
        </p:nvSpPr>
        <p:spPr>
          <a:xfrm>
            <a:off x="456828" y="275735"/>
            <a:ext cx="11018520" cy="553998"/>
          </a:xfrm>
        </p:spPr>
        <p:txBody>
          <a:bodyPr/>
          <a:lstStyle/>
          <a:p>
            <a:r>
              <a:rPr lang="en-US" dirty="0"/>
              <a:t>Setting Backup Policies</a:t>
            </a:r>
          </a:p>
        </p:txBody>
      </p:sp>
      <p:grpSp>
        <p:nvGrpSpPr>
          <p:cNvPr id="8" name="Group 7">
            <a:extLst>
              <a:ext uri="{FF2B5EF4-FFF2-40B4-BE49-F238E27FC236}">
                <a16:creationId xmlns:a16="http://schemas.microsoft.com/office/drawing/2014/main" id="{81B1A061-0721-82BB-9E20-5E271D7FA41B}"/>
              </a:ext>
            </a:extLst>
          </p:cNvPr>
          <p:cNvGrpSpPr/>
          <p:nvPr/>
        </p:nvGrpSpPr>
        <p:grpSpPr>
          <a:xfrm>
            <a:off x="456828" y="1222875"/>
            <a:ext cx="11278341" cy="5082391"/>
            <a:chOff x="456828" y="1222875"/>
            <a:chExt cx="11278341" cy="5082391"/>
          </a:xfrm>
        </p:grpSpPr>
        <p:pic>
          <p:nvPicPr>
            <p:cNvPr id="4" name="Picture 3">
              <a:extLst>
                <a:ext uri="{FF2B5EF4-FFF2-40B4-BE49-F238E27FC236}">
                  <a16:creationId xmlns:a16="http://schemas.microsoft.com/office/drawing/2014/main" id="{91D012A6-7C77-BBCE-26C0-C4495FC29CCD}"/>
                </a:ext>
              </a:extLst>
            </p:cNvPr>
            <p:cNvPicPr>
              <a:picLocks noChangeAspect="1"/>
            </p:cNvPicPr>
            <p:nvPr/>
          </p:nvPicPr>
          <p:blipFill>
            <a:blip r:embed="rId2"/>
            <a:stretch>
              <a:fillRect/>
            </a:stretch>
          </p:blipFill>
          <p:spPr>
            <a:xfrm>
              <a:off x="456828" y="1222875"/>
              <a:ext cx="11278341" cy="5082391"/>
            </a:xfrm>
            <a:prstGeom prst="rect">
              <a:avLst/>
            </a:prstGeom>
            <a:ln>
              <a:noFill/>
            </a:ln>
            <a:effectLst>
              <a:outerShdw blurRad="190500" algn="tl" rotWithShape="0">
                <a:srgbClr val="000000">
                  <a:alpha val="70000"/>
                </a:srgbClr>
              </a:outerShdw>
            </a:effectLst>
          </p:spPr>
        </p:pic>
        <p:sp>
          <p:nvSpPr>
            <p:cNvPr id="5" name="Rectangle 4">
              <a:extLst>
                <a:ext uri="{FF2B5EF4-FFF2-40B4-BE49-F238E27FC236}">
                  <a16:creationId xmlns:a16="http://schemas.microsoft.com/office/drawing/2014/main" id="{051DF215-D001-213E-E315-02CEA25BAA05}"/>
                </a:ext>
              </a:extLst>
            </p:cNvPr>
            <p:cNvSpPr/>
            <p:nvPr/>
          </p:nvSpPr>
          <p:spPr bwMode="auto">
            <a:xfrm>
              <a:off x="4339988" y="2463420"/>
              <a:ext cx="1214651" cy="354842"/>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Arrow: Right 5">
              <a:extLst>
                <a:ext uri="{FF2B5EF4-FFF2-40B4-BE49-F238E27FC236}">
                  <a16:creationId xmlns:a16="http://schemas.microsoft.com/office/drawing/2014/main" id="{44BA42C6-021E-DDA6-95EB-DC21D5058B66}"/>
                </a:ext>
              </a:extLst>
            </p:cNvPr>
            <p:cNvSpPr/>
            <p:nvPr/>
          </p:nvSpPr>
          <p:spPr bwMode="auto">
            <a:xfrm>
              <a:off x="5759355" y="2463420"/>
              <a:ext cx="878008" cy="35484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Arrow: Right 6">
              <a:extLst>
                <a:ext uri="{FF2B5EF4-FFF2-40B4-BE49-F238E27FC236}">
                  <a16:creationId xmlns:a16="http://schemas.microsoft.com/office/drawing/2014/main" id="{D35DB2CA-3958-3838-D1A5-E927E9CAE926}"/>
                </a:ext>
              </a:extLst>
            </p:cNvPr>
            <p:cNvSpPr/>
            <p:nvPr/>
          </p:nvSpPr>
          <p:spPr bwMode="auto">
            <a:xfrm>
              <a:off x="2045841" y="2463420"/>
              <a:ext cx="878008" cy="35484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 name="Rectangle 2">
            <a:extLst>
              <a:ext uri="{FF2B5EF4-FFF2-40B4-BE49-F238E27FC236}">
                <a16:creationId xmlns:a16="http://schemas.microsoft.com/office/drawing/2014/main" id="{04BC90C8-19C7-F5F0-096C-9A7D8BFD11D6}"/>
              </a:ext>
            </a:extLst>
          </p:cNvPr>
          <p:cNvSpPr/>
          <p:nvPr/>
        </p:nvSpPr>
        <p:spPr bwMode="auto">
          <a:xfrm>
            <a:off x="831191" y="1808990"/>
            <a:ext cx="845210" cy="248410"/>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5020456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8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69953" rtl="0" eaLnBrk="1" fontAlgn="base" latinLnBrk="0" hangingPunct="1">
              <a:lnSpc>
                <a:spcPct val="90000"/>
              </a:lnSpc>
              <a:spcBef>
                <a:spcPct val="0"/>
              </a:spcBef>
              <a:spcAft>
                <a:spcPct val="0"/>
              </a:spcAft>
              <a:buClrTx/>
              <a:buSzTx/>
              <a:buFontTx/>
              <a:buNone/>
              <a:tabLst/>
              <a:defRPr/>
            </a:pPr>
            <a:r>
              <a:rPr kumimoji="0" lang="en-US" sz="8800" b="0" i="0" u="none" strike="noStrike" kern="0" cap="none" spc="0" normalizeH="0" baseline="0" noProof="0" dirty="0">
                <a:ln>
                  <a:noFill/>
                </a:ln>
                <a:solidFill>
                  <a:srgbClr val="2098D5">
                    <a:lumMod val="75000"/>
                  </a:srgbClr>
                </a:solidFill>
                <a:effectLst/>
                <a:uLnTx/>
                <a:uFillTx/>
                <a:latin typeface="Segoe UI"/>
                <a:ea typeface="Segoe UI" pitchFamily="34" charset="0"/>
                <a:cs typeface="Segoe UI" pitchFamily="34" charset="0"/>
              </a:rPr>
              <a:t>Demo Time</a:t>
            </a:r>
          </a:p>
        </p:txBody>
      </p:sp>
    </p:spTree>
    <p:extLst>
      <p:ext uri="{BB962C8B-B14F-4D97-AF65-F5344CB8AC3E}">
        <p14:creationId xmlns:p14="http://schemas.microsoft.com/office/powerpoint/2010/main" val="31032290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680640" y="3122922"/>
            <a:ext cx="4344412" cy="886397"/>
          </a:xfrm>
        </p:spPr>
        <p:txBody>
          <a:bodyPr/>
          <a:lstStyle/>
          <a:p>
            <a:pPr algn="ctr"/>
            <a:r>
              <a:rPr lang="en-US" dirty="0"/>
              <a:t>What are Service Tiers in Azure SQL?</a:t>
            </a:r>
          </a:p>
        </p:txBody>
      </p:sp>
    </p:spTree>
    <p:extLst>
      <p:ext uri="{BB962C8B-B14F-4D97-AF65-F5344CB8AC3E}">
        <p14:creationId xmlns:p14="http://schemas.microsoft.com/office/powerpoint/2010/main" val="2265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62564-FA0D-0E97-F2AF-E3D0F0A4400F}"/>
              </a:ext>
            </a:extLst>
          </p:cNvPr>
          <p:cNvSpPr>
            <a:spLocks noGrp="1"/>
          </p:cNvSpPr>
          <p:nvPr>
            <p:ph type="title"/>
          </p:nvPr>
        </p:nvSpPr>
        <p:spPr/>
        <p:txBody>
          <a:bodyPr/>
          <a:lstStyle/>
          <a:p>
            <a:r>
              <a:rPr lang="en-US" dirty="0"/>
              <a:t>Overview of Service Tiers</a:t>
            </a:r>
          </a:p>
        </p:txBody>
      </p:sp>
      <p:graphicFrame>
        <p:nvGraphicFramePr>
          <p:cNvPr id="9" name="Content Placeholder 8">
            <a:extLst>
              <a:ext uri="{FF2B5EF4-FFF2-40B4-BE49-F238E27FC236}">
                <a16:creationId xmlns:a16="http://schemas.microsoft.com/office/drawing/2014/main" id="{0B7EB9B6-1477-7BEE-EA65-E2F23BC9B77E}"/>
              </a:ext>
            </a:extLst>
          </p:cNvPr>
          <p:cNvGraphicFramePr>
            <a:graphicFrameLocks/>
          </p:cNvGraphicFramePr>
          <p:nvPr>
            <p:extLst>
              <p:ext uri="{D42A27DB-BD31-4B8C-83A1-F6EECF244321}">
                <p14:modId xmlns:p14="http://schemas.microsoft.com/office/powerpoint/2010/main" val="272287145"/>
              </p:ext>
            </p:extLst>
          </p:nvPr>
        </p:nvGraphicFramePr>
        <p:xfrm>
          <a:off x="723011" y="79130"/>
          <a:ext cx="10880726" cy="65258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Rectangle 9">
            <a:extLst>
              <a:ext uri="{FF2B5EF4-FFF2-40B4-BE49-F238E27FC236}">
                <a16:creationId xmlns:a16="http://schemas.microsoft.com/office/drawing/2014/main" id="{BE34B77C-EA71-0695-6FCC-129D18EC2ECD}"/>
              </a:ext>
            </a:extLst>
          </p:cNvPr>
          <p:cNvSpPr/>
          <p:nvPr/>
        </p:nvSpPr>
        <p:spPr bwMode="auto">
          <a:xfrm>
            <a:off x="3841903" y="4689294"/>
            <a:ext cx="4807132" cy="8194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Segoe UI"/>
                <a:ea typeface="+mn-ea"/>
                <a:cs typeface="+mn-cs"/>
              </a:rPr>
              <a:t>Managed Instance Service Tiers</a:t>
            </a:r>
          </a:p>
        </p:txBody>
      </p:sp>
    </p:spTree>
    <p:extLst>
      <p:ext uri="{BB962C8B-B14F-4D97-AF65-F5344CB8AC3E}">
        <p14:creationId xmlns:p14="http://schemas.microsoft.com/office/powerpoint/2010/main" val="29204364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62564-FA0D-0E97-F2AF-E3D0F0A4400F}"/>
              </a:ext>
            </a:extLst>
          </p:cNvPr>
          <p:cNvSpPr>
            <a:spLocks noGrp="1"/>
          </p:cNvSpPr>
          <p:nvPr>
            <p:ph type="title"/>
          </p:nvPr>
        </p:nvSpPr>
        <p:spPr>
          <a:xfrm>
            <a:off x="403624" y="281353"/>
            <a:ext cx="11018520" cy="553998"/>
          </a:xfrm>
        </p:spPr>
        <p:txBody>
          <a:bodyPr/>
          <a:lstStyle/>
          <a:p>
            <a:r>
              <a:rPr lang="en-US" dirty="0"/>
              <a:t>Changing Service Tiers</a:t>
            </a:r>
          </a:p>
        </p:txBody>
      </p:sp>
      <p:sp>
        <p:nvSpPr>
          <p:cNvPr id="3" name="Rectangle 2">
            <a:extLst>
              <a:ext uri="{FF2B5EF4-FFF2-40B4-BE49-F238E27FC236}">
                <a16:creationId xmlns:a16="http://schemas.microsoft.com/office/drawing/2014/main" id="{6D63CE3E-481C-F3F9-B2C7-27F59548314D}"/>
              </a:ext>
            </a:extLst>
          </p:cNvPr>
          <p:cNvSpPr/>
          <p:nvPr/>
        </p:nvSpPr>
        <p:spPr bwMode="auto">
          <a:xfrm>
            <a:off x="4655396" y="2390326"/>
            <a:ext cx="5544218" cy="3031354"/>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 name="Group 3">
            <a:extLst>
              <a:ext uri="{FF2B5EF4-FFF2-40B4-BE49-F238E27FC236}">
                <a16:creationId xmlns:a16="http://schemas.microsoft.com/office/drawing/2014/main" id="{182D5AED-8450-0B1F-05D9-999B67F5C6F4}"/>
              </a:ext>
            </a:extLst>
          </p:cNvPr>
          <p:cNvGrpSpPr/>
          <p:nvPr/>
        </p:nvGrpSpPr>
        <p:grpSpPr>
          <a:xfrm>
            <a:off x="1853143" y="1259541"/>
            <a:ext cx="8485713" cy="4693024"/>
            <a:chOff x="4755157" y="1447800"/>
            <a:chExt cx="7114311" cy="3962400"/>
          </a:xfrm>
        </p:grpSpPr>
        <p:pic>
          <p:nvPicPr>
            <p:cNvPr id="5" name="Picture 4">
              <a:extLst>
                <a:ext uri="{FF2B5EF4-FFF2-40B4-BE49-F238E27FC236}">
                  <a16:creationId xmlns:a16="http://schemas.microsoft.com/office/drawing/2014/main" id="{15BE4DDC-C785-6858-31F5-A63E81071E5C}"/>
                </a:ext>
              </a:extLst>
            </p:cNvPr>
            <p:cNvPicPr>
              <a:picLocks noChangeAspect="1"/>
            </p:cNvPicPr>
            <p:nvPr/>
          </p:nvPicPr>
          <p:blipFill>
            <a:blip r:embed="rId2"/>
            <a:stretch>
              <a:fillRect/>
            </a:stretch>
          </p:blipFill>
          <p:spPr>
            <a:xfrm>
              <a:off x="4755157" y="1447800"/>
              <a:ext cx="7114311" cy="3962400"/>
            </a:xfrm>
            <a:prstGeom prst="rect">
              <a:avLst/>
            </a:prstGeom>
            <a:ln>
              <a:noFill/>
            </a:ln>
            <a:effectLst>
              <a:outerShdw blurRad="190500" algn="tl" rotWithShape="0">
                <a:srgbClr val="000000">
                  <a:alpha val="70000"/>
                </a:srgbClr>
              </a:outerShdw>
            </a:effectLst>
          </p:spPr>
        </p:pic>
        <p:sp>
          <p:nvSpPr>
            <p:cNvPr id="6" name="Rectangle 5">
              <a:extLst>
                <a:ext uri="{FF2B5EF4-FFF2-40B4-BE49-F238E27FC236}">
                  <a16:creationId xmlns:a16="http://schemas.microsoft.com/office/drawing/2014/main" id="{26EE9106-7A1E-5313-2BE3-B4A3893C8DED}"/>
                </a:ext>
              </a:extLst>
            </p:cNvPr>
            <p:cNvSpPr/>
            <p:nvPr/>
          </p:nvSpPr>
          <p:spPr bwMode="auto">
            <a:xfrm>
              <a:off x="7104529" y="2402541"/>
              <a:ext cx="4648200" cy="2559424"/>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416099488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653745" y="2985801"/>
            <a:ext cx="4344412" cy="886397"/>
          </a:xfrm>
        </p:spPr>
        <p:txBody>
          <a:bodyPr/>
          <a:lstStyle/>
          <a:p>
            <a:pPr algn="ctr"/>
            <a:r>
              <a:rPr lang="en-US" dirty="0"/>
              <a:t>High Availability in Azure SQL</a:t>
            </a:r>
          </a:p>
        </p:txBody>
      </p:sp>
    </p:spTree>
    <p:extLst>
      <p:ext uri="{BB962C8B-B14F-4D97-AF65-F5344CB8AC3E}">
        <p14:creationId xmlns:p14="http://schemas.microsoft.com/office/powerpoint/2010/main" val="3520203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AC61D4-CAB3-87BE-05A9-C2091F3319C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5BC1244-7C3B-3A90-4C7B-3289EE390B7B}"/>
              </a:ext>
            </a:extLst>
          </p:cNvPr>
          <p:cNvSpPr>
            <a:spLocks noGrp="1"/>
          </p:cNvSpPr>
          <p:nvPr>
            <p:ph type="title"/>
          </p:nvPr>
        </p:nvSpPr>
        <p:spPr>
          <a:xfrm>
            <a:off x="458750" y="320040"/>
            <a:ext cx="11077614" cy="461665"/>
          </a:xfrm>
        </p:spPr>
        <p:txBody>
          <a:bodyPr/>
          <a:lstStyle/>
          <a:p>
            <a:r>
              <a:rPr lang="en-US" dirty="0"/>
              <a:t>High Availability: General Purpose vs Business Critical</a:t>
            </a:r>
          </a:p>
        </p:txBody>
      </p:sp>
      <p:grpSp>
        <p:nvGrpSpPr>
          <p:cNvPr id="183" name="Group 182">
            <a:extLst>
              <a:ext uri="{FF2B5EF4-FFF2-40B4-BE49-F238E27FC236}">
                <a16:creationId xmlns:a16="http://schemas.microsoft.com/office/drawing/2014/main" id="{A174059E-BA31-C269-DD04-BC83ECB093C5}"/>
              </a:ext>
            </a:extLst>
          </p:cNvPr>
          <p:cNvGrpSpPr/>
          <p:nvPr/>
        </p:nvGrpSpPr>
        <p:grpSpPr>
          <a:xfrm>
            <a:off x="288013" y="1292770"/>
            <a:ext cx="5454529" cy="4918279"/>
            <a:chOff x="288013" y="1292770"/>
            <a:chExt cx="5454529" cy="4918279"/>
          </a:xfrm>
        </p:grpSpPr>
        <p:grpSp>
          <p:nvGrpSpPr>
            <p:cNvPr id="180" name="Group 179">
              <a:extLst>
                <a:ext uri="{FF2B5EF4-FFF2-40B4-BE49-F238E27FC236}">
                  <a16:creationId xmlns:a16="http://schemas.microsoft.com/office/drawing/2014/main" id="{AC52694B-150F-62C5-5C3F-94C6EC5E7958}"/>
                </a:ext>
              </a:extLst>
            </p:cNvPr>
            <p:cNvGrpSpPr/>
            <p:nvPr/>
          </p:nvGrpSpPr>
          <p:grpSpPr>
            <a:xfrm>
              <a:off x="288013" y="1292770"/>
              <a:ext cx="5020045" cy="4393773"/>
              <a:chOff x="462434" y="1442628"/>
              <a:chExt cx="5020045" cy="4393773"/>
            </a:xfrm>
          </p:grpSpPr>
          <p:grpSp>
            <p:nvGrpSpPr>
              <p:cNvPr id="4" name="Group 3">
                <a:extLst>
                  <a:ext uri="{FF2B5EF4-FFF2-40B4-BE49-F238E27FC236}">
                    <a16:creationId xmlns:a16="http://schemas.microsoft.com/office/drawing/2014/main" id="{A65F789A-DF35-EE48-870C-EC911F0E2A77}"/>
                  </a:ext>
                </a:extLst>
              </p:cNvPr>
              <p:cNvGrpSpPr/>
              <p:nvPr/>
            </p:nvGrpSpPr>
            <p:grpSpPr>
              <a:xfrm>
                <a:off x="2350925" y="1834182"/>
                <a:ext cx="2114900" cy="860018"/>
                <a:chOff x="8335500" y="1722517"/>
                <a:chExt cx="2114900" cy="860018"/>
              </a:xfrm>
            </p:grpSpPr>
            <p:sp>
              <p:nvSpPr>
                <p:cNvPr id="6" name="Oval 5">
                  <a:extLst>
                    <a:ext uri="{FF2B5EF4-FFF2-40B4-BE49-F238E27FC236}">
                      <a16:creationId xmlns:a16="http://schemas.microsoft.com/office/drawing/2014/main" id="{DCA553F5-8DAD-CE01-95EF-FF37C480A9FA}"/>
                    </a:ext>
                  </a:extLst>
                </p:cNvPr>
                <p:cNvSpPr/>
                <p:nvPr/>
              </p:nvSpPr>
              <p:spPr bwMode="auto">
                <a:xfrm>
                  <a:off x="8439695" y="1972502"/>
                  <a:ext cx="1803930" cy="532629"/>
                </a:xfrm>
                <a:prstGeom prst="ellipse">
                  <a:avLst/>
                </a:prstGeom>
                <a:noFill/>
                <a:ln w="1905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a:extLst>
                    <a:ext uri="{FF2B5EF4-FFF2-40B4-BE49-F238E27FC236}">
                      <a16:creationId xmlns:a16="http://schemas.microsoft.com/office/drawing/2014/main" id="{747D3778-EEA8-540F-DF3B-D7F4E328631C}"/>
                    </a:ext>
                  </a:extLst>
                </p:cNvPr>
                <p:cNvSpPr/>
                <p:nvPr/>
              </p:nvSpPr>
              <p:spPr bwMode="auto">
                <a:xfrm>
                  <a:off x="8391306" y="2072432"/>
                  <a:ext cx="2059094" cy="510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C3B18C06-C29C-6C3C-9128-E0ED0636E295}"/>
                    </a:ext>
                  </a:extLst>
                </p:cNvPr>
                <p:cNvSpPr/>
                <p:nvPr/>
              </p:nvSpPr>
              <p:spPr bwMode="auto">
                <a:xfrm>
                  <a:off x="8448284" y="1971478"/>
                  <a:ext cx="1803930" cy="532629"/>
                </a:xfrm>
                <a:prstGeom prst="ellipse">
                  <a:avLst/>
                </a:prstGeom>
                <a:noFill/>
                <a:ln w="28575"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TextBox 90">
                  <a:extLst>
                    <a:ext uri="{FF2B5EF4-FFF2-40B4-BE49-F238E27FC236}">
                      <a16:creationId xmlns:a16="http://schemas.microsoft.com/office/drawing/2014/main" id="{2C4872E3-38E1-D566-6FF4-0D493A65B679}"/>
                    </a:ext>
                  </a:extLst>
                </p:cNvPr>
                <p:cNvSpPr txBox="1"/>
                <p:nvPr/>
              </p:nvSpPr>
              <p:spPr>
                <a:xfrm>
                  <a:off x="8335500" y="1803120"/>
                  <a:ext cx="20839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GW</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92" name="TextBox 91">
                  <a:extLst>
                    <a:ext uri="{FF2B5EF4-FFF2-40B4-BE49-F238E27FC236}">
                      <a16:creationId xmlns:a16="http://schemas.microsoft.com/office/drawing/2014/main" id="{48C377CD-610E-9AB7-DCFC-D97ABB5F5DFD}"/>
                    </a:ext>
                  </a:extLst>
                </p:cNvPr>
                <p:cNvSpPr txBox="1"/>
                <p:nvPr/>
              </p:nvSpPr>
              <p:spPr>
                <a:xfrm>
                  <a:off x="8880939" y="1722517"/>
                  <a:ext cx="20839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GW</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93" name="TextBox 92">
                  <a:extLst>
                    <a:ext uri="{FF2B5EF4-FFF2-40B4-BE49-F238E27FC236}">
                      <a16:creationId xmlns:a16="http://schemas.microsoft.com/office/drawing/2014/main" id="{C6263B81-D66D-C450-A9F6-7607C043B446}"/>
                    </a:ext>
                  </a:extLst>
                </p:cNvPr>
                <p:cNvSpPr txBox="1"/>
                <p:nvPr/>
              </p:nvSpPr>
              <p:spPr>
                <a:xfrm>
                  <a:off x="9531416" y="1790221"/>
                  <a:ext cx="20839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GW</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94" name="TextBox 93">
                  <a:extLst>
                    <a:ext uri="{FF2B5EF4-FFF2-40B4-BE49-F238E27FC236}">
                      <a16:creationId xmlns:a16="http://schemas.microsoft.com/office/drawing/2014/main" id="{FA90D237-DC92-FEA9-24B8-A401A821DA1A}"/>
                    </a:ext>
                  </a:extLst>
                </p:cNvPr>
                <p:cNvSpPr txBox="1"/>
                <p:nvPr/>
              </p:nvSpPr>
              <p:spPr>
                <a:xfrm>
                  <a:off x="9007830" y="2208618"/>
                  <a:ext cx="711733"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Control Ring</a:t>
                  </a:r>
                </a:p>
              </p:txBody>
            </p:sp>
            <p:grpSp>
              <p:nvGrpSpPr>
                <p:cNvPr id="95" name="Group 94">
                  <a:extLst>
                    <a:ext uri="{FF2B5EF4-FFF2-40B4-BE49-F238E27FC236}">
                      <a16:creationId xmlns:a16="http://schemas.microsoft.com/office/drawing/2014/main" id="{1CA5546D-96DE-73AC-EC4C-FB0714A6CA61}"/>
                    </a:ext>
                  </a:extLst>
                </p:cNvPr>
                <p:cNvGrpSpPr/>
                <p:nvPr/>
              </p:nvGrpSpPr>
              <p:grpSpPr>
                <a:xfrm>
                  <a:off x="8539400" y="1903464"/>
                  <a:ext cx="241171" cy="250651"/>
                  <a:chOff x="13071009" y="3404199"/>
                  <a:chExt cx="369615" cy="384144"/>
                </a:xfrm>
              </p:grpSpPr>
              <p:sp>
                <p:nvSpPr>
                  <p:cNvPr id="111" name="Rectangle 110">
                    <a:extLst>
                      <a:ext uri="{FF2B5EF4-FFF2-40B4-BE49-F238E27FC236}">
                        <a16:creationId xmlns:a16="http://schemas.microsoft.com/office/drawing/2014/main" id="{657F07CF-44EF-D3CC-220F-13FC88B16E65}"/>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2" name="Group 111">
                    <a:extLst>
                      <a:ext uri="{FF2B5EF4-FFF2-40B4-BE49-F238E27FC236}">
                        <a16:creationId xmlns:a16="http://schemas.microsoft.com/office/drawing/2014/main" id="{60496A37-316B-0047-9916-3673907429E1}"/>
                      </a:ext>
                    </a:extLst>
                  </p:cNvPr>
                  <p:cNvGrpSpPr/>
                  <p:nvPr/>
                </p:nvGrpSpPr>
                <p:grpSpPr>
                  <a:xfrm>
                    <a:off x="13124976" y="3422562"/>
                    <a:ext cx="263000" cy="365781"/>
                    <a:chOff x="12590745" y="5672000"/>
                    <a:chExt cx="522378" cy="726522"/>
                  </a:xfrm>
                </p:grpSpPr>
                <p:sp>
                  <p:nvSpPr>
                    <p:cNvPr id="113" name="Freeform 134">
                      <a:extLst>
                        <a:ext uri="{FF2B5EF4-FFF2-40B4-BE49-F238E27FC236}">
                          <a16:creationId xmlns:a16="http://schemas.microsoft.com/office/drawing/2014/main" id="{2EA1D28F-68BA-85DD-F8E7-79F69CDC56C0}"/>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Down Arrow 135">
                      <a:extLst>
                        <a:ext uri="{FF2B5EF4-FFF2-40B4-BE49-F238E27FC236}">
                          <a16:creationId xmlns:a16="http://schemas.microsoft.com/office/drawing/2014/main" id="{FD09BD2C-2A71-7ECC-FB26-87E87B75FC7D}"/>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Down Arrow 136">
                      <a:extLst>
                        <a:ext uri="{FF2B5EF4-FFF2-40B4-BE49-F238E27FC236}">
                          <a16:creationId xmlns:a16="http://schemas.microsoft.com/office/drawing/2014/main" id="{6FEE67CC-F917-5948-F3F8-3957673F5B6E}"/>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Down Arrow 137">
                      <a:extLst>
                        <a:ext uri="{FF2B5EF4-FFF2-40B4-BE49-F238E27FC236}">
                          <a16:creationId xmlns:a16="http://schemas.microsoft.com/office/drawing/2014/main" id="{4F778F83-9742-B4F6-642C-E2D300A6B3E9}"/>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96" name="Group 95">
                  <a:extLst>
                    <a:ext uri="{FF2B5EF4-FFF2-40B4-BE49-F238E27FC236}">
                      <a16:creationId xmlns:a16="http://schemas.microsoft.com/office/drawing/2014/main" id="{6191B422-3498-DF24-7325-88B84C8FDD36}"/>
                    </a:ext>
                  </a:extLst>
                </p:cNvPr>
                <p:cNvGrpSpPr/>
                <p:nvPr/>
              </p:nvGrpSpPr>
              <p:grpSpPr>
                <a:xfrm>
                  <a:off x="9116048" y="1821085"/>
                  <a:ext cx="241171" cy="250651"/>
                  <a:chOff x="13071009" y="3404199"/>
                  <a:chExt cx="369615" cy="384144"/>
                </a:xfrm>
              </p:grpSpPr>
              <p:sp>
                <p:nvSpPr>
                  <p:cNvPr id="105" name="Rectangle 104">
                    <a:extLst>
                      <a:ext uri="{FF2B5EF4-FFF2-40B4-BE49-F238E27FC236}">
                        <a16:creationId xmlns:a16="http://schemas.microsoft.com/office/drawing/2014/main" id="{3941904E-835D-20C1-A26E-64C9209031D9}"/>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6" name="Group 105">
                    <a:extLst>
                      <a:ext uri="{FF2B5EF4-FFF2-40B4-BE49-F238E27FC236}">
                        <a16:creationId xmlns:a16="http://schemas.microsoft.com/office/drawing/2014/main" id="{39085E7D-09C1-16F8-C8CD-73BABAA9E6EC}"/>
                      </a:ext>
                    </a:extLst>
                  </p:cNvPr>
                  <p:cNvGrpSpPr/>
                  <p:nvPr/>
                </p:nvGrpSpPr>
                <p:grpSpPr>
                  <a:xfrm>
                    <a:off x="13124976" y="3422562"/>
                    <a:ext cx="263000" cy="365781"/>
                    <a:chOff x="12590745" y="5672000"/>
                    <a:chExt cx="522378" cy="726522"/>
                  </a:xfrm>
                </p:grpSpPr>
                <p:sp>
                  <p:nvSpPr>
                    <p:cNvPr id="107" name="Freeform 141">
                      <a:extLst>
                        <a:ext uri="{FF2B5EF4-FFF2-40B4-BE49-F238E27FC236}">
                          <a16:creationId xmlns:a16="http://schemas.microsoft.com/office/drawing/2014/main" id="{DDED817C-66CE-9494-F123-CB7129E778B1}"/>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Down Arrow 142">
                      <a:extLst>
                        <a:ext uri="{FF2B5EF4-FFF2-40B4-BE49-F238E27FC236}">
                          <a16:creationId xmlns:a16="http://schemas.microsoft.com/office/drawing/2014/main" id="{988785C3-C859-4441-DA42-78D894DAC283}"/>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Down Arrow 143">
                      <a:extLst>
                        <a:ext uri="{FF2B5EF4-FFF2-40B4-BE49-F238E27FC236}">
                          <a16:creationId xmlns:a16="http://schemas.microsoft.com/office/drawing/2014/main" id="{80B4BA00-F428-3574-C4BA-92A3F38DBE80}"/>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Down Arrow 144">
                      <a:extLst>
                        <a:ext uri="{FF2B5EF4-FFF2-40B4-BE49-F238E27FC236}">
                          <a16:creationId xmlns:a16="http://schemas.microsoft.com/office/drawing/2014/main" id="{647B784B-E6F8-0445-15F8-670B1A0AC102}"/>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97" name="Group 96">
                  <a:extLst>
                    <a:ext uri="{FF2B5EF4-FFF2-40B4-BE49-F238E27FC236}">
                      <a16:creationId xmlns:a16="http://schemas.microsoft.com/office/drawing/2014/main" id="{E0C0D52B-09DC-76C9-5EF0-69B6D5C26A1B}"/>
                    </a:ext>
                  </a:extLst>
                </p:cNvPr>
                <p:cNvGrpSpPr/>
                <p:nvPr/>
              </p:nvGrpSpPr>
              <p:grpSpPr>
                <a:xfrm>
                  <a:off x="9733886" y="1903464"/>
                  <a:ext cx="241171" cy="250651"/>
                  <a:chOff x="13071009" y="3404199"/>
                  <a:chExt cx="369615" cy="384144"/>
                </a:xfrm>
              </p:grpSpPr>
              <p:sp>
                <p:nvSpPr>
                  <p:cNvPr id="98" name="Rectangle 97">
                    <a:extLst>
                      <a:ext uri="{FF2B5EF4-FFF2-40B4-BE49-F238E27FC236}">
                        <a16:creationId xmlns:a16="http://schemas.microsoft.com/office/drawing/2014/main" id="{4820FEC4-1933-BD40-494E-EE84BFA9BDA6}"/>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0" name="Group 99">
                    <a:extLst>
                      <a:ext uri="{FF2B5EF4-FFF2-40B4-BE49-F238E27FC236}">
                        <a16:creationId xmlns:a16="http://schemas.microsoft.com/office/drawing/2014/main" id="{8B29AD51-4487-C625-F100-E50E3109DC85}"/>
                      </a:ext>
                    </a:extLst>
                  </p:cNvPr>
                  <p:cNvGrpSpPr/>
                  <p:nvPr/>
                </p:nvGrpSpPr>
                <p:grpSpPr>
                  <a:xfrm>
                    <a:off x="13124976" y="3422562"/>
                    <a:ext cx="263000" cy="365781"/>
                    <a:chOff x="12590745" y="5672000"/>
                    <a:chExt cx="522378" cy="726522"/>
                  </a:xfrm>
                </p:grpSpPr>
                <p:sp>
                  <p:nvSpPr>
                    <p:cNvPr id="101" name="Freeform 148">
                      <a:extLst>
                        <a:ext uri="{FF2B5EF4-FFF2-40B4-BE49-F238E27FC236}">
                          <a16:creationId xmlns:a16="http://schemas.microsoft.com/office/drawing/2014/main" id="{231E9B55-A038-3200-D1D1-FEFE244EFF64}"/>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Down Arrow 149">
                      <a:extLst>
                        <a:ext uri="{FF2B5EF4-FFF2-40B4-BE49-F238E27FC236}">
                          <a16:creationId xmlns:a16="http://schemas.microsoft.com/office/drawing/2014/main" id="{63EC97C8-CE18-D39B-D327-A79B88F4D1E7}"/>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Down Arrow 150">
                      <a:extLst>
                        <a:ext uri="{FF2B5EF4-FFF2-40B4-BE49-F238E27FC236}">
                          <a16:creationId xmlns:a16="http://schemas.microsoft.com/office/drawing/2014/main" id="{5B52B5F0-7EFA-5442-F97E-6DF75EB79766}"/>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Down Arrow 151">
                      <a:extLst>
                        <a:ext uri="{FF2B5EF4-FFF2-40B4-BE49-F238E27FC236}">
                          <a16:creationId xmlns:a16="http://schemas.microsoft.com/office/drawing/2014/main" id="{9B660A75-D70B-DD25-9FD1-53B0B86D8C74}"/>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cxnSp>
            <p:nvCxnSpPr>
              <p:cNvPr id="117" name="Straight Arrow Connector 116">
                <a:extLst>
                  <a:ext uri="{FF2B5EF4-FFF2-40B4-BE49-F238E27FC236}">
                    <a16:creationId xmlns:a16="http://schemas.microsoft.com/office/drawing/2014/main" id="{2553350F-F1F3-9CAD-833D-9F546AE83B83}"/>
                  </a:ext>
                </a:extLst>
              </p:cNvPr>
              <p:cNvCxnSpPr/>
              <p:nvPr/>
            </p:nvCxnSpPr>
            <p:spPr>
              <a:xfrm>
                <a:off x="937519" y="2331720"/>
                <a:ext cx="1511875"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8" name="Elbow Connector 89">
                <a:extLst>
                  <a:ext uri="{FF2B5EF4-FFF2-40B4-BE49-F238E27FC236}">
                    <a16:creationId xmlns:a16="http://schemas.microsoft.com/office/drawing/2014/main" id="{FB303E23-7365-6424-A7A5-603DDD2F27A8}"/>
                  </a:ext>
                </a:extLst>
              </p:cNvPr>
              <p:cNvCxnSpPr>
                <a:cxnSpLocks/>
                <a:endCxn id="120" idx="0"/>
              </p:cNvCxnSpPr>
              <p:nvPr/>
            </p:nvCxnSpPr>
            <p:spPr>
              <a:xfrm>
                <a:off x="2225990" y="3027485"/>
                <a:ext cx="1817734" cy="220450"/>
              </a:xfrm>
              <a:prstGeom prst="bentConnector2">
                <a:avLst/>
              </a:prstGeom>
              <a:ln w="12700">
                <a:solidFill>
                  <a:srgbClr val="C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19" name="Rectangle 118">
                <a:extLst>
                  <a:ext uri="{FF2B5EF4-FFF2-40B4-BE49-F238E27FC236}">
                    <a16:creationId xmlns:a16="http://schemas.microsoft.com/office/drawing/2014/main" id="{DEC78536-6DBA-0125-A124-050F6886801D}"/>
                  </a:ext>
                </a:extLst>
              </p:cNvPr>
              <p:cNvSpPr/>
              <p:nvPr/>
            </p:nvSpPr>
            <p:spPr bwMode="auto">
              <a:xfrm>
                <a:off x="1368250" y="5125917"/>
                <a:ext cx="4114229" cy="71048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0" name="Graphic 119">
                <a:extLst>
                  <a:ext uri="{FF2B5EF4-FFF2-40B4-BE49-F238E27FC236}">
                    <a16:creationId xmlns:a16="http://schemas.microsoft.com/office/drawing/2014/main" id="{1903A522-1446-4E72-4B75-4B818323E41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09882" y="3247935"/>
                <a:ext cx="467684" cy="467684"/>
              </a:xfrm>
              <a:prstGeom prst="rect">
                <a:avLst/>
              </a:prstGeom>
            </p:spPr>
          </p:pic>
          <p:pic>
            <p:nvPicPr>
              <p:cNvPr id="121" name="Graphic 120">
                <a:extLst>
                  <a:ext uri="{FF2B5EF4-FFF2-40B4-BE49-F238E27FC236}">
                    <a16:creationId xmlns:a16="http://schemas.microsoft.com/office/drawing/2014/main" id="{AAEE3853-2974-4D0A-9DE7-9CB2D66222A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98141" y="3368958"/>
                <a:ext cx="467684" cy="467684"/>
              </a:xfrm>
              <a:prstGeom prst="rect">
                <a:avLst/>
              </a:prstGeom>
            </p:spPr>
          </p:pic>
          <p:sp>
            <p:nvSpPr>
              <p:cNvPr id="122" name="TextBox 121">
                <a:extLst>
                  <a:ext uri="{FF2B5EF4-FFF2-40B4-BE49-F238E27FC236}">
                    <a16:creationId xmlns:a16="http://schemas.microsoft.com/office/drawing/2014/main" id="{5CCBDF84-643A-9601-97C3-55BDA3ADF209}"/>
                  </a:ext>
                </a:extLst>
              </p:cNvPr>
              <p:cNvSpPr txBox="1"/>
              <p:nvPr/>
            </p:nvSpPr>
            <p:spPr>
              <a:xfrm>
                <a:off x="1401349" y="1442628"/>
                <a:ext cx="966996"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a:ea typeface="+mn-ea"/>
                    <a:cs typeface="+mn-cs"/>
                  </a:rPr>
                  <a:t>Azure Region</a:t>
                </a:r>
              </a:p>
            </p:txBody>
          </p:sp>
          <p:sp>
            <p:nvSpPr>
              <p:cNvPr id="123" name="TextBox 122">
                <a:extLst>
                  <a:ext uri="{FF2B5EF4-FFF2-40B4-BE49-F238E27FC236}">
                    <a16:creationId xmlns:a16="http://schemas.microsoft.com/office/drawing/2014/main" id="{04DAC6A8-6EFA-4FD4-0580-EE083680BF3D}"/>
                  </a:ext>
                </a:extLst>
              </p:cNvPr>
              <p:cNvSpPr txBox="1"/>
              <p:nvPr/>
            </p:nvSpPr>
            <p:spPr>
              <a:xfrm>
                <a:off x="462434" y="1956297"/>
                <a:ext cx="64120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Application</a:t>
                </a:r>
              </a:p>
            </p:txBody>
          </p:sp>
          <p:sp>
            <p:nvSpPr>
              <p:cNvPr id="124" name="TextBox 123">
                <a:extLst>
                  <a:ext uri="{FF2B5EF4-FFF2-40B4-BE49-F238E27FC236}">
                    <a16:creationId xmlns:a16="http://schemas.microsoft.com/office/drawing/2014/main" id="{07560DC2-2B34-0260-52FF-2C085D959649}"/>
                  </a:ext>
                </a:extLst>
              </p:cNvPr>
              <p:cNvSpPr txBox="1"/>
              <p:nvPr/>
            </p:nvSpPr>
            <p:spPr>
              <a:xfrm>
                <a:off x="1418800" y="2854477"/>
                <a:ext cx="466474"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Primary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Replica</a:t>
                </a:r>
              </a:p>
            </p:txBody>
          </p:sp>
          <p:sp>
            <p:nvSpPr>
              <p:cNvPr id="125" name="Rectangle 124">
                <a:extLst>
                  <a:ext uri="{FF2B5EF4-FFF2-40B4-BE49-F238E27FC236}">
                    <a16:creationId xmlns:a16="http://schemas.microsoft.com/office/drawing/2014/main" id="{17D572CB-1FEB-617C-3A0D-40D244B1EC8C}"/>
                  </a:ext>
                </a:extLst>
              </p:cNvPr>
              <p:cNvSpPr/>
              <p:nvPr/>
            </p:nvSpPr>
            <p:spPr bwMode="auto">
              <a:xfrm>
                <a:off x="1707521" y="3381470"/>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Segoe UI" pitchFamily="34" charset="0"/>
                    <a:cs typeface="Segoe UI" pitchFamily="34" charset="0"/>
                  </a:rPr>
                  <a:t>SSD, tempdb</a:t>
                </a:r>
              </a:p>
            </p:txBody>
          </p:sp>
          <p:sp>
            <p:nvSpPr>
              <p:cNvPr id="126" name="Rectangle 125">
                <a:extLst>
                  <a:ext uri="{FF2B5EF4-FFF2-40B4-BE49-F238E27FC236}">
                    <a16:creationId xmlns:a16="http://schemas.microsoft.com/office/drawing/2014/main" id="{53892297-F5CA-5BB8-D4A3-E172BDB3741C}"/>
                  </a:ext>
                </a:extLst>
              </p:cNvPr>
              <p:cNvSpPr/>
              <p:nvPr/>
            </p:nvSpPr>
            <p:spPr bwMode="auto">
              <a:xfrm>
                <a:off x="3931944" y="3970426"/>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Segoe UI" pitchFamily="34" charset="0"/>
                    <a:cs typeface="Segoe UI" pitchFamily="34" charset="0"/>
                  </a:rPr>
                  <a:t>SSD, tempdb</a:t>
                </a:r>
              </a:p>
            </p:txBody>
          </p:sp>
          <p:pic>
            <p:nvPicPr>
              <p:cNvPr id="127" name="Graphic 126">
                <a:extLst>
                  <a:ext uri="{FF2B5EF4-FFF2-40B4-BE49-F238E27FC236}">
                    <a16:creationId xmlns:a16="http://schemas.microsoft.com/office/drawing/2014/main" id="{B24A9D36-586F-F4A0-DD56-CEE2CA4D4D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97590" y="2964629"/>
                <a:ext cx="467684" cy="467684"/>
              </a:xfrm>
              <a:prstGeom prst="rect">
                <a:avLst/>
              </a:prstGeom>
            </p:spPr>
          </p:pic>
          <p:pic>
            <p:nvPicPr>
              <p:cNvPr id="128" name="Graphic 127">
                <a:extLst>
                  <a:ext uri="{FF2B5EF4-FFF2-40B4-BE49-F238E27FC236}">
                    <a16:creationId xmlns:a16="http://schemas.microsoft.com/office/drawing/2014/main" id="{F62529BA-C08F-1A34-03D3-F2442557434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72952" y="3530323"/>
                <a:ext cx="467684" cy="467684"/>
              </a:xfrm>
              <a:prstGeom prst="rect">
                <a:avLst/>
              </a:prstGeom>
            </p:spPr>
          </p:pic>
          <p:grpSp>
            <p:nvGrpSpPr>
              <p:cNvPr id="129" name="Group 128">
                <a:extLst>
                  <a:ext uri="{FF2B5EF4-FFF2-40B4-BE49-F238E27FC236}">
                    <a16:creationId xmlns:a16="http://schemas.microsoft.com/office/drawing/2014/main" id="{AD60CCF3-66B3-79A7-45DE-D77C89DA90AB}"/>
                  </a:ext>
                </a:extLst>
              </p:cNvPr>
              <p:cNvGrpSpPr/>
              <p:nvPr/>
            </p:nvGrpSpPr>
            <p:grpSpPr>
              <a:xfrm>
                <a:off x="1574792" y="5303276"/>
                <a:ext cx="243058" cy="297536"/>
                <a:chOff x="965200" y="3436897"/>
                <a:chExt cx="528881" cy="647424"/>
              </a:xfrm>
            </p:grpSpPr>
            <p:grpSp>
              <p:nvGrpSpPr>
                <p:cNvPr id="130" name="Group 129">
                  <a:extLst>
                    <a:ext uri="{FF2B5EF4-FFF2-40B4-BE49-F238E27FC236}">
                      <a16:creationId xmlns:a16="http://schemas.microsoft.com/office/drawing/2014/main" id="{86B69FA0-FF5E-23B3-AD71-B9BB1C40E389}"/>
                    </a:ext>
                  </a:extLst>
                </p:cNvPr>
                <p:cNvGrpSpPr/>
                <p:nvPr/>
              </p:nvGrpSpPr>
              <p:grpSpPr>
                <a:xfrm flipH="1">
                  <a:off x="965200" y="3436897"/>
                  <a:ext cx="528881" cy="647424"/>
                  <a:chOff x="3003960" y="3685414"/>
                  <a:chExt cx="403310" cy="493707"/>
                </a:xfrm>
              </p:grpSpPr>
              <p:sp>
                <p:nvSpPr>
                  <p:cNvPr id="135" name="Snip Single Corner Rectangle 26">
                    <a:extLst>
                      <a:ext uri="{FF2B5EF4-FFF2-40B4-BE49-F238E27FC236}">
                        <a16:creationId xmlns:a16="http://schemas.microsoft.com/office/drawing/2014/main" id="{151496EB-3C60-644A-891E-5F9F63147ACE}"/>
                      </a:ext>
                    </a:extLst>
                  </p:cNvPr>
                  <p:cNvSpPr/>
                  <p:nvPr/>
                </p:nvSpPr>
                <p:spPr bwMode="auto">
                  <a:xfrm flipH="1">
                    <a:off x="3003960" y="3685414"/>
                    <a:ext cx="403310" cy="493707"/>
                  </a:xfrm>
                  <a:prstGeom prst="snip1Rect">
                    <a:avLst>
                      <a:gd name="adj" fmla="val 28736"/>
                    </a:avLst>
                  </a:prstGeom>
                  <a:solidFill>
                    <a:schemeClr val="accent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Triangle 27">
                    <a:extLst>
                      <a:ext uri="{FF2B5EF4-FFF2-40B4-BE49-F238E27FC236}">
                        <a16:creationId xmlns:a16="http://schemas.microsoft.com/office/drawing/2014/main" id="{17DA61D6-38B7-8686-4BFC-5A6112188609}"/>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31" name="Straight Connector 130">
                  <a:extLst>
                    <a:ext uri="{FF2B5EF4-FFF2-40B4-BE49-F238E27FC236}">
                      <a16:creationId xmlns:a16="http://schemas.microsoft.com/office/drawing/2014/main" id="{BE02D4DB-00EA-8684-9A7B-C9AC46EC067E}"/>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FC868AE8-CDB7-42BA-2B01-BA1104E89BE6}"/>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2D4424EB-EAB9-D184-4DCC-ACFE83CC8090}"/>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0E57AE3F-C0A4-BCEB-FD37-D5A5E83CD5BC}"/>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AB5F1B40-B2D0-704D-80CB-B7BE566203EF}"/>
                  </a:ext>
                </a:extLst>
              </p:cNvPr>
              <p:cNvGrpSpPr/>
              <p:nvPr/>
            </p:nvGrpSpPr>
            <p:grpSpPr>
              <a:xfrm>
                <a:off x="1674137" y="5415354"/>
                <a:ext cx="243058" cy="297536"/>
                <a:chOff x="965200" y="3436897"/>
                <a:chExt cx="528881" cy="647424"/>
              </a:xfrm>
            </p:grpSpPr>
            <p:grpSp>
              <p:nvGrpSpPr>
                <p:cNvPr id="138" name="Group 137">
                  <a:extLst>
                    <a:ext uri="{FF2B5EF4-FFF2-40B4-BE49-F238E27FC236}">
                      <a16:creationId xmlns:a16="http://schemas.microsoft.com/office/drawing/2014/main" id="{8E4906A2-ED26-9D89-0213-A229CA3F7BAE}"/>
                    </a:ext>
                  </a:extLst>
                </p:cNvPr>
                <p:cNvGrpSpPr/>
                <p:nvPr/>
              </p:nvGrpSpPr>
              <p:grpSpPr>
                <a:xfrm flipH="1">
                  <a:off x="965200" y="3436897"/>
                  <a:ext cx="528881" cy="647424"/>
                  <a:chOff x="3003960" y="3685414"/>
                  <a:chExt cx="403310" cy="493707"/>
                </a:xfrm>
              </p:grpSpPr>
              <p:sp>
                <p:nvSpPr>
                  <p:cNvPr id="143" name="Snip Single Corner Rectangle 26">
                    <a:extLst>
                      <a:ext uri="{FF2B5EF4-FFF2-40B4-BE49-F238E27FC236}">
                        <a16:creationId xmlns:a16="http://schemas.microsoft.com/office/drawing/2014/main" id="{198CD154-5279-890A-329F-ECD902CA340A}"/>
                      </a:ext>
                    </a:extLst>
                  </p:cNvPr>
                  <p:cNvSpPr/>
                  <p:nvPr/>
                </p:nvSpPr>
                <p:spPr bwMode="auto">
                  <a:xfrm flipH="1">
                    <a:off x="3003960" y="3685414"/>
                    <a:ext cx="403310" cy="493707"/>
                  </a:xfrm>
                  <a:prstGeom prst="snip1Rect">
                    <a:avLst>
                      <a:gd name="adj" fmla="val 28736"/>
                    </a:avLst>
                  </a:prstGeom>
                  <a:solidFill>
                    <a:schemeClr val="accent1"/>
                  </a:solidFill>
                  <a:ln w="12700">
                    <a:solidFill>
                      <a:schemeClr val="accent1">
                        <a:lumMod val="20000"/>
                        <a:lumOff val="8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Triangle 27">
                    <a:extLst>
                      <a:ext uri="{FF2B5EF4-FFF2-40B4-BE49-F238E27FC236}">
                        <a16:creationId xmlns:a16="http://schemas.microsoft.com/office/drawing/2014/main" id="{C5C4412D-BCAE-1BA1-0A79-3949731DB5CE}"/>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39" name="Straight Connector 138">
                  <a:extLst>
                    <a:ext uri="{FF2B5EF4-FFF2-40B4-BE49-F238E27FC236}">
                      <a16:creationId xmlns:a16="http://schemas.microsoft.com/office/drawing/2014/main" id="{EB401508-4BB2-325C-ED01-98E1CC8221B4}"/>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9CB9F87D-E585-DCF2-32D9-31AA1BE0E707}"/>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63470895-F90C-2D20-2C27-A6271B053C68}"/>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92CDC818-3519-698A-D31D-C4632A7F6F34}"/>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5" name="Group 144">
                <a:extLst>
                  <a:ext uri="{FF2B5EF4-FFF2-40B4-BE49-F238E27FC236}">
                    <a16:creationId xmlns:a16="http://schemas.microsoft.com/office/drawing/2014/main" id="{4126E722-800D-5526-D744-0038D10D58E0}"/>
                  </a:ext>
                </a:extLst>
              </p:cNvPr>
              <p:cNvGrpSpPr/>
              <p:nvPr/>
            </p:nvGrpSpPr>
            <p:grpSpPr>
              <a:xfrm>
                <a:off x="4897669" y="5387581"/>
                <a:ext cx="461466" cy="273112"/>
                <a:chOff x="1105279" y="2995020"/>
                <a:chExt cx="155575" cy="92075"/>
              </a:xfrm>
              <a:solidFill>
                <a:schemeClr val="accent1"/>
              </a:solidFill>
            </p:grpSpPr>
            <p:sp>
              <p:nvSpPr>
                <p:cNvPr id="146" name="Oval 19">
                  <a:extLst>
                    <a:ext uri="{FF2B5EF4-FFF2-40B4-BE49-F238E27FC236}">
                      <a16:creationId xmlns:a16="http://schemas.microsoft.com/office/drawing/2014/main" id="{B3B22EE4-491C-21C3-3108-1BFDA4D35546}"/>
                    </a:ext>
                  </a:extLst>
                </p:cNvPr>
                <p:cNvSpPr>
                  <a:spLocks noChangeArrowheads="1"/>
                </p:cNvSpPr>
                <p:nvPr/>
              </p:nvSpPr>
              <p:spPr bwMode="auto">
                <a:xfrm>
                  <a:off x="1121154" y="2995020"/>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7" name="Freeform 20">
                  <a:extLst>
                    <a:ext uri="{FF2B5EF4-FFF2-40B4-BE49-F238E27FC236}">
                      <a16:creationId xmlns:a16="http://schemas.microsoft.com/office/drawing/2014/main" id="{F3EE18F1-8FD0-CA78-6955-C3681CF8B0CF}"/>
                    </a:ext>
                  </a:extLst>
                </p:cNvPr>
                <p:cNvSpPr>
                  <a:spLocks/>
                </p:cNvSpPr>
                <p:nvPr/>
              </p:nvSpPr>
              <p:spPr bwMode="auto">
                <a:xfrm>
                  <a:off x="1105279" y="3052170"/>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8" name="Oval 21">
                  <a:extLst>
                    <a:ext uri="{FF2B5EF4-FFF2-40B4-BE49-F238E27FC236}">
                      <a16:creationId xmlns:a16="http://schemas.microsoft.com/office/drawing/2014/main" id="{322DACD5-BE43-7CD4-22BB-FA60A17A3307}"/>
                    </a:ext>
                  </a:extLst>
                </p:cNvPr>
                <p:cNvSpPr>
                  <a:spLocks noChangeArrowheads="1"/>
                </p:cNvSpPr>
                <p:nvPr/>
              </p:nvSpPr>
              <p:spPr bwMode="auto">
                <a:xfrm>
                  <a:off x="1183066" y="3010895"/>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49" name="Group 148">
                <a:extLst>
                  <a:ext uri="{FF2B5EF4-FFF2-40B4-BE49-F238E27FC236}">
                    <a16:creationId xmlns:a16="http://schemas.microsoft.com/office/drawing/2014/main" id="{D4A67C8F-35DA-DFC9-CB05-D0C95032009B}"/>
                  </a:ext>
                </a:extLst>
              </p:cNvPr>
              <p:cNvGrpSpPr/>
              <p:nvPr/>
            </p:nvGrpSpPr>
            <p:grpSpPr>
              <a:xfrm>
                <a:off x="584339" y="2128574"/>
                <a:ext cx="399480" cy="383886"/>
                <a:chOff x="6069106" y="2256333"/>
                <a:chExt cx="479511" cy="460793"/>
              </a:xfrm>
            </p:grpSpPr>
            <p:sp>
              <p:nvSpPr>
                <p:cNvPr id="150" name="Rounded Rectangle 56">
                  <a:extLst>
                    <a:ext uri="{FF2B5EF4-FFF2-40B4-BE49-F238E27FC236}">
                      <a16:creationId xmlns:a16="http://schemas.microsoft.com/office/drawing/2014/main" id="{F75A0FFB-5B05-794A-F2DA-1A43E2E0A126}"/>
                    </a:ext>
                  </a:extLst>
                </p:cNvPr>
                <p:cNvSpPr/>
                <p:nvPr/>
              </p:nvSpPr>
              <p:spPr bwMode="auto">
                <a:xfrm>
                  <a:off x="6096000" y="2283228"/>
                  <a:ext cx="433898" cy="433898"/>
                </a:xfrm>
                <a:prstGeom prst="roundRect">
                  <a:avLst>
                    <a:gd name="adj" fmla="val 823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1" name="Straight Connector 150">
                  <a:extLst>
                    <a:ext uri="{FF2B5EF4-FFF2-40B4-BE49-F238E27FC236}">
                      <a16:creationId xmlns:a16="http://schemas.microsoft.com/office/drawing/2014/main" id="{341ECCB4-364A-8C2A-2A26-D95DDC0BEC2F}"/>
                    </a:ext>
                  </a:extLst>
                </p:cNvPr>
                <p:cNvCxnSpPr/>
                <p:nvPr/>
              </p:nvCxnSpPr>
              <p:spPr>
                <a:xfrm>
                  <a:off x="6237722"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EAC7EBF1-549A-EAF6-C71F-68A0756FF879}"/>
                    </a:ext>
                  </a:extLst>
                </p:cNvPr>
                <p:cNvCxnSpPr/>
                <p:nvPr/>
              </p:nvCxnSpPr>
              <p:spPr>
                <a:xfrm>
                  <a:off x="6393170"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789EDB69-CAC2-DED6-56AB-F19E324029C6}"/>
                    </a:ext>
                  </a:extLst>
                </p:cNvPr>
                <p:cNvCxnSpPr>
                  <a:cxnSpLocks/>
                </p:cNvCxnSpPr>
                <p:nvPr/>
              </p:nvCxnSpPr>
              <p:spPr>
                <a:xfrm rot="16200000">
                  <a:off x="6318221" y="2189127"/>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6451B489-29F1-6925-295C-61591DD57504}"/>
                    </a:ext>
                  </a:extLst>
                </p:cNvPr>
                <p:cNvCxnSpPr>
                  <a:cxnSpLocks/>
                </p:cNvCxnSpPr>
                <p:nvPr/>
              </p:nvCxnSpPr>
              <p:spPr>
                <a:xfrm rot="16200000">
                  <a:off x="6299503" y="2339390"/>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55" name="TextBox 154">
                <a:extLst>
                  <a:ext uri="{FF2B5EF4-FFF2-40B4-BE49-F238E27FC236}">
                    <a16:creationId xmlns:a16="http://schemas.microsoft.com/office/drawing/2014/main" id="{A243165C-EB85-7D1A-1628-C4493C208135}"/>
                  </a:ext>
                </a:extLst>
              </p:cNvPr>
              <p:cNvSpPr txBox="1"/>
              <p:nvPr/>
            </p:nvSpPr>
            <p:spPr>
              <a:xfrm>
                <a:off x="2009840" y="5424645"/>
                <a:ext cx="410369"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Backup</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files</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TextBox 155">
                <a:extLst>
                  <a:ext uri="{FF2B5EF4-FFF2-40B4-BE49-F238E27FC236}">
                    <a16:creationId xmlns:a16="http://schemas.microsoft.com/office/drawing/2014/main" id="{9E07BFEC-5E8F-63B5-3ED9-144633021552}"/>
                  </a:ext>
                </a:extLst>
              </p:cNvPr>
              <p:cNvSpPr txBox="1"/>
              <p:nvPr/>
            </p:nvSpPr>
            <p:spPr>
              <a:xfrm>
                <a:off x="3040167" y="5355195"/>
                <a:ext cx="1681422" cy="369332"/>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Segoe UI"/>
                    <a:ea typeface="+mn-ea"/>
                    <a:cs typeface="+mn-cs"/>
                  </a:rPr>
                  <a:t>Azure standard storag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Segoe UI"/>
                    <a:ea typeface="+mn-ea"/>
                    <a:cs typeface="+mn-cs"/>
                  </a:rPr>
                  <a:t>(RA-GRS, LRS, ZRS)</a:t>
                </a:r>
              </a:p>
            </p:txBody>
          </p:sp>
          <p:sp>
            <p:nvSpPr>
              <p:cNvPr id="157" name="Rectangle 156">
                <a:extLst>
                  <a:ext uri="{FF2B5EF4-FFF2-40B4-BE49-F238E27FC236}">
                    <a16:creationId xmlns:a16="http://schemas.microsoft.com/office/drawing/2014/main" id="{32A76FAD-52B5-9FB7-26E8-E9A19FFF3645}"/>
                  </a:ext>
                </a:extLst>
              </p:cNvPr>
              <p:cNvSpPr/>
              <p:nvPr/>
            </p:nvSpPr>
            <p:spPr bwMode="auto">
              <a:xfrm>
                <a:off x="1368250" y="4523885"/>
                <a:ext cx="4114229" cy="629609"/>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TextBox 157">
                <a:extLst>
                  <a:ext uri="{FF2B5EF4-FFF2-40B4-BE49-F238E27FC236}">
                    <a16:creationId xmlns:a16="http://schemas.microsoft.com/office/drawing/2014/main" id="{4AA4EB00-3561-97C4-D70F-59BB0FEC011C}"/>
                  </a:ext>
                </a:extLst>
              </p:cNvPr>
              <p:cNvSpPr txBox="1"/>
              <p:nvPr/>
            </p:nvSpPr>
            <p:spPr>
              <a:xfrm>
                <a:off x="4517261" y="3191919"/>
                <a:ext cx="804707"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Nodes with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spare capacity</a:t>
                </a:r>
              </a:p>
            </p:txBody>
          </p:sp>
          <p:sp>
            <p:nvSpPr>
              <p:cNvPr id="159" name="Rectangle 158">
                <a:extLst>
                  <a:ext uri="{FF2B5EF4-FFF2-40B4-BE49-F238E27FC236}">
                    <a16:creationId xmlns:a16="http://schemas.microsoft.com/office/drawing/2014/main" id="{EAE163B5-5912-FE4F-E891-11F1A70B7304}"/>
                  </a:ext>
                </a:extLst>
              </p:cNvPr>
              <p:cNvSpPr/>
              <p:nvPr/>
            </p:nvSpPr>
            <p:spPr bwMode="auto">
              <a:xfrm>
                <a:off x="1368250" y="1684735"/>
                <a:ext cx="4114229" cy="4151666"/>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0" name="TextBox 159">
                <a:extLst>
                  <a:ext uri="{FF2B5EF4-FFF2-40B4-BE49-F238E27FC236}">
                    <a16:creationId xmlns:a16="http://schemas.microsoft.com/office/drawing/2014/main" id="{03BFA54F-A253-8FA0-7325-B063FD32F3D9}"/>
                  </a:ext>
                </a:extLst>
              </p:cNvPr>
              <p:cNvSpPr txBox="1"/>
              <p:nvPr/>
            </p:nvSpPr>
            <p:spPr>
              <a:xfrm>
                <a:off x="2336299" y="4730857"/>
                <a:ext cx="548227"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Data and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log files</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TextBox 160">
                <a:extLst>
                  <a:ext uri="{FF2B5EF4-FFF2-40B4-BE49-F238E27FC236}">
                    <a16:creationId xmlns:a16="http://schemas.microsoft.com/office/drawing/2014/main" id="{2A25E353-8FC5-3740-04A7-B788C0B575F3}"/>
                  </a:ext>
                </a:extLst>
              </p:cNvPr>
              <p:cNvSpPr txBox="1"/>
              <p:nvPr/>
            </p:nvSpPr>
            <p:spPr>
              <a:xfrm>
                <a:off x="3014429" y="4698576"/>
                <a:ext cx="1732898" cy="36933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a:ea typeface="+mn-ea"/>
                    <a:cs typeface="+mn-cs"/>
                  </a:rPr>
                  <a:t>Azure premium storage (LRS) data/log</a:t>
                </a:r>
              </a:p>
            </p:txBody>
          </p:sp>
          <p:grpSp>
            <p:nvGrpSpPr>
              <p:cNvPr id="162" name="Group 161">
                <a:extLst>
                  <a:ext uri="{FF2B5EF4-FFF2-40B4-BE49-F238E27FC236}">
                    <a16:creationId xmlns:a16="http://schemas.microsoft.com/office/drawing/2014/main" id="{2B840FAD-D4C7-7498-6811-B1D75ECC84D2}"/>
                  </a:ext>
                </a:extLst>
              </p:cNvPr>
              <p:cNvGrpSpPr/>
              <p:nvPr/>
            </p:nvGrpSpPr>
            <p:grpSpPr>
              <a:xfrm>
                <a:off x="4897669" y="4715228"/>
                <a:ext cx="461466" cy="273112"/>
                <a:chOff x="1105279" y="2995020"/>
                <a:chExt cx="155575" cy="92075"/>
              </a:xfrm>
              <a:solidFill>
                <a:schemeClr val="accent1"/>
              </a:solidFill>
            </p:grpSpPr>
            <p:sp>
              <p:nvSpPr>
                <p:cNvPr id="163" name="Oval 19">
                  <a:extLst>
                    <a:ext uri="{FF2B5EF4-FFF2-40B4-BE49-F238E27FC236}">
                      <a16:creationId xmlns:a16="http://schemas.microsoft.com/office/drawing/2014/main" id="{9F31DE4F-8DCC-4B08-1F46-A40ED9D51A37}"/>
                    </a:ext>
                  </a:extLst>
                </p:cNvPr>
                <p:cNvSpPr>
                  <a:spLocks noChangeArrowheads="1"/>
                </p:cNvSpPr>
                <p:nvPr/>
              </p:nvSpPr>
              <p:spPr bwMode="auto">
                <a:xfrm>
                  <a:off x="1121154" y="2995020"/>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20">
                  <a:extLst>
                    <a:ext uri="{FF2B5EF4-FFF2-40B4-BE49-F238E27FC236}">
                      <a16:creationId xmlns:a16="http://schemas.microsoft.com/office/drawing/2014/main" id="{C5D0A5A5-E49E-A053-4751-85B5ECB27939}"/>
                    </a:ext>
                  </a:extLst>
                </p:cNvPr>
                <p:cNvSpPr>
                  <a:spLocks/>
                </p:cNvSpPr>
                <p:nvPr/>
              </p:nvSpPr>
              <p:spPr bwMode="auto">
                <a:xfrm>
                  <a:off x="1105279" y="3052170"/>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5" name="Oval 21">
                  <a:extLst>
                    <a:ext uri="{FF2B5EF4-FFF2-40B4-BE49-F238E27FC236}">
                      <a16:creationId xmlns:a16="http://schemas.microsoft.com/office/drawing/2014/main" id="{F3536177-C3F8-13DC-A6F6-84BEC82B166F}"/>
                    </a:ext>
                  </a:extLst>
                </p:cNvPr>
                <p:cNvSpPr>
                  <a:spLocks noChangeArrowheads="1"/>
                </p:cNvSpPr>
                <p:nvPr/>
              </p:nvSpPr>
              <p:spPr bwMode="auto">
                <a:xfrm>
                  <a:off x="1183066" y="3010895"/>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cxnSp>
            <p:nvCxnSpPr>
              <p:cNvPr id="166" name="Elbow Connector 85">
                <a:extLst>
                  <a:ext uri="{FF2B5EF4-FFF2-40B4-BE49-F238E27FC236}">
                    <a16:creationId xmlns:a16="http://schemas.microsoft.com/office/drawing/2014/main" id="{B627B08F-28A2-17CD-CCE9-D89DB70AC0A3}"/>
                  </a:ext>
                </a:extLst>
              </p:cNvPr>
              <p:cNvCxnSpPr>
                <a:cxnSpLocks/>
                <a:stCxn id="150" idx="2"/>
                <a:endCxn id="127" idx="1"/>
              </p:cNvCxnSpPr>
              <p:nvPr/>
            </p:nvCxnSpPr>
            <p:spPr>
              <a:xfrm rot="16200000" flipH="1">
                <a:off x="999532" y="2300412"/>
                <a:ext cx="686011" cy="1110106"/>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E554259D-1A7A-64C3-EE3B-9579EFB56584}"/>
                  </a:ext>
                </a:extLst>
              </p:cNvPr>
              <p:cNvCxnSpPr>
                <a:cxnSpLocks/>
              </p:cNvCxnSpPr>
              <p:nvPr/>
            </p:nvCxnSpPr>
            <p:spPr>
              <a:xfrm>
                <a:off x="1929924" y="3772895"/>
                <a:ext cx="4839" cy="949417"/>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8" name="TextBox 167">
                <a:extLst>
                  <a:ext uri="{FF2B5EF4-FFF2-40B4-BE49-F238E27FC236}">
                    <a16:creationId xmlns:a16="http://schemas.microsoft.com/office/drawing/2014/main" id="{8D1CC7EA-CE6B-E0CF-F20D-D6B2005486E2}"/>
                  </a:ext>
                </a:extLst>
              </p:cNvPr>
              <p:cNvSpPr txBox="1"/>
              <p:nvPr/>
            </p:nvSpPr>
            <p:spPr>
              <a:xfrm>
                <a:off x="3052285" y="2855465"/>
                <a:ext cx="43762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rPr>
                  <a:t>Failover</a:t>
                </a:r>
              </a:p>
            </p:txBody>
          </p:sp>
          <p:grpSp>
            <p:nvGrpSpPr>
              <p:cNvPr id="169" name="Group 168">
                <a:extLst>
                  <a:ext uri="{FF2B5EF4-FFF2-40B4-BE49-F238E27FC236}">
                    <a16:creationId xmlns:a16="http://schemas.microsoft.com/office/drawing/2014/main" id="{69FC5629-064B-31A3-FD1B-9DC20F398B59}"/>
                  </a:ext>
                </a:extLst>
              </p:cNvPr>
              <p:cNvGrpSpPr/>
              <p:nvPr/>
            </p:nvGrpSpPr>
            <p:grpSpPr>
              <a:xfrm>
                <a:off x="1890788" y="4641766"/>
                <a:ext cx="392654" cy="388958"/>
                <a:chOff x="9550389" y="-1877079"/>
                <a:chExt cx="1688817" cy="1672922"/>
              </a:xfrm>
            </p:grpSpPr>
            <p:sp>
              <p:nvSpPr>
                <p:cNvPr id="170" name="Rounded Rectangle 94">
                  <a:extLst>
                    <a:ext uri="{FF2B5EF4-FFF2-40B4-BE49-F238E27FC236}">
                      <a16:creationId xmlns:a16="http://schemas.microsoft.com/office/drawing/2014/main" id="{E91AA7F5-8C85-2422-B92D-D12FE079F0F9}"/>
                    </a:ext>
                  </a:extLst>
                </p:cNvPr>
                <p:cNvSpPr/>
                <p:nvPr/>
              </p:nvSpPr>
              <p:spPr bwMode="auto">
                <a:xfrm>
                  <a:off x="9550389" y="-1435192"/>
                  <a:ext cx="1231034" cy="1231035"/>
                </a:xfrm>
                <a:prstGeom prst="roundRect">
                  <a:avLst>
                    <a:gd name="adj" fmla="val 1354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71" name="Straight Connector 170">
                  <a:extLst>
                    <a:ext uri="{FF2B5EF4-FFF2-40B4-BE49-F238E27FC236}">
                      <a16:creationId xmlns:a16="http://schemas.microsoft.com/office/drawing/2014/main" id="{C0847821-F1FF-7BE7-7933-CAD99BD69644}"/>
                    </a:ext>
                  </a:extLst>
                </p:cNvPr>
                <p:cNvCxnSpPr>
                  <a:cxnSpLocks/>
                  <a:stCxn id="170" idx="0"/>
                  <a:endCxn id="170" idx="2"/>
                </p:cNvCxnSpPr>
                <p:nvPr/>
              </p:nvCxnSpPr>
              <p:spPr>
                <a:xfrm>
                  <a:off x="10165906" y="-1435192"/>
                  <a:ext cx="0" cy="1231035"/>
                </a:xfrm>
                <a:prstGeom prst="line">
                  <a:avLst/>
                </a:prstGeom>
                <a:ln w="12700">
                  <a:solidFill>
                    <a:schemeClr val="accent1">
                      <a:lumMod val="40000"/>
                      <a:lumOff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62D72DCF-4778-C1DC-A147-3C1B0AC117B6}"/>
                    </a:ext>
                  </a:extLst>
                </p:cNvPr>
                <p:cNvCxnSpPr>
                  <a:stCxn id="170" idx="1"/>
                  <a:endCxn id="170" idx="3"/>
                </p:cNvCxnSpPr>
                <p:nvPr/>
              </p:nvCxnSpPr>
              <p:spPr>
                <a:xfrm>
                  <a:off x="9550389" y="-819674"/>
                  <a:ext cx="1231034" cy="0"/>
                </a:xfrm>
                <a:prstGeom prst="line">
                  <a:avLst/>
                </a:prstGeom>
                <a:ln w="12700">
                  <a:solidFill>
                    <a:schemeClr val="accent1">
                      <a:lumMod val="40000"/>
                      <a:lumOff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3" name="Teardrop 172">
                  <a:extLst>
                    <a:ext uri="{FF2B5EF4-FFF2-40B4-BE49-F238E27FC236}">
                      <a16:creationId xmlns:a16="http://schemas.microsoft.com/office/drawing/2014/main" id="{80D1F4C7-1B8B-6E56-22D6-3E11F18997A7}"/>
                    </a:ext>
                  </a:extLst>
                </p:cNvPr>
                <p:cNvSpPr/>
                <p:nvPr/>
              </p:nvSpPr>
              <p:spPr bwMode="auto">
                <a:xfrm rot="10800000">
                  <a:off x="10184136" y="-1877079"/>
                  <a:ext cx="1055070" cy="1055070"/>
                </a:xfrm>
                <a:prstGeom prst="teardrop">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4" name="Group 173">
                  <a:extLst>
                    <a:ext uri="{FF2B5EF4-FFF2-40B4-BE49-F238E27FC236}">
                      <a16:creationId xmlns:a16="http://schemas.microsoft.com/office/drawing/2014/main" id="{957C0A07-48C0-5EB4-5C78-A28E36DFFC6A}"/>
                    </a:ext>
                  </a:extLst>
                </p:cNvPr>
                <p:cNvGrpSpPr/>
                <p:nvPr/>
              </p:nvGrpSpPr>
              <p:grpSpPr>
                <a:xfrm>
                  <a:off x="10335217" y="-1604697"/>
                  <a:ext cx="675097" cy="615517"/>
                  <a:chOff x="10273507" y="-1596456"/>
                  <a:chExt cx="675097" cy="694530"/>
                </a:xfrm>
              </p:grpSpPr>
              <p:sp>
                <p:nvSpPr>
                  <p:cNvPr id="175" name="Rectangle 174">
                    <a:extLst>
                      <a:ext uri="{FF2B5EF4-FFF2-40B4-BE49-F238E27FC236}">
                        <a16:creationId xmlns:a16="http://schemas.microsoft.com/office/drawing/2014/main" id="{AFCAEC86-3EF6-F1E4-CF15-5F92989A1E60}"/>
                      </a:ext>
                    </a:extLst>
                  </p:cNvPr>
                  <p:cNvSpPr/>
                  <p:nvPr/>
                </p:nvSpPr>
                <p:spPr bwMode="auto">
                  <a:xfrm>
                    <a:off x="10273507" y="-1323624"/>
                    <a:ext cx="145092" cy="4216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6" name="Rectangle 175">
                    <a:extLst>
                      <a:ext uri="{FF2B5EF4-FFF2-40B4-BE49-F238E27FC236}">
                        <a16:creationId xmlns:a16="http://schemas.microsoft.com/office/drawing/2014/main" id="{31104AB3-68F7-4BD9-DDD2-0B76081B7C78}"/>
                      </a:ext>
                    </a:extLst>
                  </p:cNvPr>
                  <p:cNvSpPr/>
                  <p:nvPr/>
                </p:nvSpPr>
                <p:spPr bwMode="auto">
                  <a:xfrm>
                    <a:off x="10536356" y="-1596456"/>
                    <a:ext cx="145091" cy="6945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Rectangle 176">
                    <a:extLst>
                      <a:ext uri="{FF2B5EF4-FFF2-40B4-BE49-F238E27FC236}">
                        <a16:creationId xmlns:a16="http://schemas.microsoft.com/office/drawing/2014/main" id="{F9AD53B3-AD3C-1752-A390-9DDA40F50CEB}"/>
                      </a:ext>
                    </a:extLst>
                  </p:cNvPr>
                  <p:cNvSpPr/>
                  <p:nvPr/>
                </p:nvSpPr>
                <p:spPr bwMode="auto">
                  <a:xfrm>
                    <a:off x="10803513" y="-1435192"/>
                    <a:ext cx="145091" cy="5332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178" name="Elbow Connector 114">
                <a:extLst>
                  <a:ext uri="{FF2B5EF4-FFF2-40B4-BE49-F238E27FC236}">
                    <a16:creationId xmlns:a16="http://schemas.microsoft.com/office/drawing/2014/main" id="{AA0862A6-C7E0-923E-B650-0C67652F1401}"/>
                  </a:ext>
                </a:extLst>
              </p:cNvPr>
              <p:cNvCxnSpPr>
                <a:cxnSpLocks/>
                <a:stCxn id="126" idx="1"/>
              </p:cNvCxnSpPr>
              <p:nvPr/>
            </p:nvCxnSpPr>
            <p:spPr>
              <a:xfrm rot="10800000" flipV="1">
                <a:off x="2199046" y="4166523"/>
                <a:ext cx="1732898" cy="477772"/>
              </a:xfrm>
              <a:prstGeom prst="bentConnector3">
                <a:avLst>
                  <a:gd name="adj1" fmla="val 99663"/>
                </a:avLst>
              </a:prstGeom>
              <a:ln w="12700">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79" name="Elbow Connector 159">
                <a:extLst>
                  <a:ext uri="{FF2B5EF4-FFF2-40B4-BE49-F238E27FC236}">
                    <a16:creationId xmlns:a16="http://schemas.microsoft.com/office/drawing/2014/main" id="{25DB0DFD-556F-0243-0CEC-DEF068834670}"/>
                  </a:ext>
                </a:extLst>
              </p:cNvPr>
              <p:cNvCxnSpPr>
                <a:cxnSpLocks/>
                <a:stCxn id="125" idx="1"/>
              </p:cNvCxnSpPr>
              <p:nvPr/>
            </p:nvCxnSpPr>
            <p:spPr>
              <a:xfrm rot="10800000" flipV="1">
                <a:off x="1612735" y="3577567"/>
                <a:ext cx="94787" cy="1725708"/>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181" name="TextBox 180">
              <a:extLst>
                <a:ext uri="{FF2B5EF4-FFF2-40B4-BE49-F238E27FC236}">
                  <a16:creationId xmlns:a16="http://schemas.microsoft.com/office/drawing/2014/main" id="{07722499-8BB4-2A1D-81F1-7B0F992AFB46}"/>
                </a:ext>
              </a:extLst>
            </p:cNvPr>
            <p:cNvSpPr txBox="1"/>
            <p:nvPr/>
          </p:nvSpPr>
          <p:spPr>
            <a:xfrm>
              <a:off x="814633" y="5903272"/>
              <a:ext cx="4927909" cy="307777"/>
            </a:xfrm>
            <a:prstGeom prst="rect">
              <a:avLst/>
            </a:prstGeom>
            <a:noFill/>
          </p:spPr>
          <p:txBody>
            <a:bodyPr wrap="square" lIns="0" tIns="0" rIns="0" bIns="0" rtlCol="0">
              <a:spAutoFit/>
            </a:bodyPr>
            <a:lstStyle/>
            <a:p>
              <a:pPr marL="0" marR="0" lvl="0" indent="0" algn="ctr" defTabSz="932563" rtl="0" eaLnBrk="1" fontAlgn="auto" latinLnBrk="0" hangingPunct="1">
                <a:lnSpc>
                  <a:spcPct val="100000"/>
                </a:lnSpc>
                <a:spcBef>
                  <a:spcPct val="20000"/>
                </a:spcBef>
                <a:spcAft>
                  <a:spcPts val="0"/>
                </a:spcAft>
                <a:buClr>
                  <a:srgbClr val="0078D4"/>
                </a:buClr>
                <a:buSzPct val="100000"/>
                <a:buFontTx/>
                <a:buNone/>
                <a:tabLst/>
                <a:defRPr/>
              </a:pPr>
              <a:r>
                <a:rPr kumimoji="0" lang="en-US" sz="2000" b="1"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General Purpose </a:t>
              </a: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GP) service tier</a:t>
              </a:r>
            </a:p>
          </p:txBody>
        </p:sp>
      </p:grpSp>
      <p:grpSp>
        <p:nvGrpSpPr>
          <p:cNvPr id="184" name="Group 183">
            <a:extLst>
              <a:ext uri="{FF2B5EF4-FFF2-40B4-BE49-F238E27FC236}">
                <a16:creationId xmlns:a16="http://schemas.microsoft.com/office/drawing/2014/main" id="{48FBE392-B277-944E-33B5-942CFD6D9E5B}"/>
              </a:ext>
            </a:extLst>
          </p:cNvPr>
          <p:cNvGrpSpPr/>
          <p:nvPr/>
        </p:nvGrpSpPr>
        <p:grpSpPr>
          <a:xfrm>
            <a:off x="6180021" y="1292770"/>
            <a:ext cx="5692700" cy="4916772"/>
            <a:chOff x="6180021" y="1292770"/>
            <a:chExt cx="5692700" cy="4916772"/>
          </a:xfrm>
        </p:grpSpPr>
        <p:grpSp>
          <p:nvGrpSpPr>
            <p:cNvPr id="7" name="Group 6">
              <a:extLst>
                <a:ext uri="{FF2B5EF4-FFF2-40B4-BE49-F238E27FC236}">
                  <a16:creationId xmlns:a16="http://schemas.microsoft.com/office/drawing/2014/main" id="{546087C8-C081-8535-F6E4-0F589E70729F}"/>
                </a:ext>
              </a:extLst>
            </p:cNvPr>
            <p:cNvGrpSpPr/>
            <p:nvPr/>
          </p:nvGrpSpPr>
          <p:grpSpPr>
            <a:xfrm>
              <a:off x="6180021" y="1292770"/>
              <a:ext cx="5020045" cy="4393773"/>
              <a:chOff x="6447009" y="1330963"/>
              <a:chExt cx="5020045" cy="4393773"/>
            </a:xfrm>
          </p:grpSpPr>
          <p:sp>
            <p:nvSpPr>
              <p:cNvPr id="8" name="Oval 7">
                <a:extLst>
                  <a:ext uri="{FF2B5EF4-FFF2-40B4-BE49-F238E27FC236}">
                    <a16:creationId xmlns:a16="http://schemas.microsoft.com/office/drawing/2014/main" id="{DFBC5DF4-148E-BB83-C6DB-D488E41C2587}"/>
                  </a:ext>
                </a:extLst>
              </p:cNvPr>
              <p:cNvSpPr/>
              <p:nvPr/>
            </p:nvSpPr>
            <p:spPr bwMode="auto">
              <a:xfrm>
                <a:off x="7948365" y="2774687"/>
                <a:ext cx="2980967" cy="1659672"/>
              </a:xfrm>
              <a:prstGeom prst="ellipse">
                <a:avLst/>
              </a:prstGeom>
              <a:noFill/>
              <a:ln w="1270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836ADFC3-859C-F9AD-F11C-8309EF5BADF2}"/>
                  </a:ext>
                </a:extLst>
              </p:cNvPr>
              <p:cNvSpPr/>
              <p:nvPr/>
            </p:nvSpPr>
            <p:spPr bwMode="auto">
              <a:xfrm>
                <a:off x="7352825" y="5067012"/>
                <a:ext cx="4114229" cy="657723"/>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CD6EA522-FD43-661A-DED1-C226971A78D6}"/>
                  </a:ext>
                </a:extLst>
              </p:cNvPr>
              <p:cNvSpPr txBox="1"/>
              <p:nvPr/>
            </p:nvSpPr>
            <p:spPr>
              <a:xfrm>
                <a:off x="7385924" y="1330963"/>
                <a:ext cx="966996"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mn-cs"/>
                  </a:rPr>
                  <a:t>Azure Region</a:t>
                </a:r>
              </a:p>
            </p:txBody>
          </p:sp>
          <p:sp>
            <p:nvSpPr>
              <p:cNvPr id="11" name="TextBox 10">
                <a:extLst>
                  <a:ext uri="{FF2B5EF4-FFF2-40B4-BE49-F238E27FC236}">
                    <a16:creationId xmlns:a16="http://schemas.microsoft.com/office/drawing/2014/main" id="{EF37A5EE-2A27-F544-ACA7-0DF885B49FDA}"/>
                  </a:ext>
                </a:extLst>
              </p:cNvPr>
              <p:cNvSpPr txBox="1"/>
              <p:nvPr/>
            </p:nvSpPr>
            <p:spPr>
              <a:xfrm>
                <a:off x="6447009" y="1835684"/>
                <a:ext cx="64120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Application</a:t>
                </a:r>
              </a:p>
            </p:txBody>
          </p:sp>
          <p:sp>
            <p:nvSpPr>
              <p:cNvPr id="12" name="TextBox 11">
                <a:extLst>
                  <a:ext uri="{FF2B5EF4-FFF2-40B4-BE49-F238E27FC236}">
                    <a16:creationId xmlns:a16="http://schemas.microsoft.com/office/drawing/2014/main" id="{32543982-03D1-8E7E-A3B1-78BB207F263D}"/>
                  </a:ext>
                </a:extLst>
              </p:cNvPr>
              <p:cNvSpPr txBox="1"/>
              <p:nvPr/>
            </p:nvSpPr>
            <p:spPr>
              <a:xfrm>
                <a:off x="7433237" y="3629491"/>
                <a:ext cx="466474"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Primary </a:t>
                </a:r>
                <a:br>
                  <a:rPr kumimoji="0" lang="en-US" sz="1000" b="0" i="0" u="none" strike="noStrike" kern="1200" cap="none" spc="0" normalizeH="0" baseline="0" noProof="0">
                    <a:ln>
                      <a:noFill/>
                    </a:ln>
                    <a:solidFill>
                      <a:srgbClr val="000000"/>
                    </a:solidFill>
                    <a:effectLst/>
                    <a:uLnTx/>
                    <a:uFillTx/>
                    <a:latin typeface="Segoe UI"/>
                    <a:ea typeface="+mn-ea"/>
                    <a:cs typeface="+mn-cs"/>
                  </a:rPr>
                </a:br>
                <a:r>
                  <a:rPr kumimoji="0" lang="en-US" sz="1000" b="0" i="0" u="none" strike="noStrike" kern="1200" cap="none" spc="0" normalizeH="0" baseline="0" noProof="0">
                    <a:ln>
                      <a:noFill/>
                    </a:ln>
                    <a:solidFill>
                      <a:srgbClr val="000000"/>
                    </a:solidFill>
                    <a:effectLst/>
                    <a:uLnTx/>
                    <a:uFillTx/>
                    <a:latin typeface="Segoe UI"/>
                    <a:ea typeface="+mn-ea"/>
                    <a:cs typeface="+mn-cs"/>
                  </a:rPr>
                  <a:t>Replica</a:t>
                </a:r>
              </a:p>
            </p:txBody>
          </p:sp>
          <p:sp>
            <p:nvSpPr>
              <p:cNvPr id="13" name="Rectangle 12">
                <a:extLst>
                  <a:ext uri="{FF2B5EF4-FFF2-40B4-BE49-F238E27FC236}">
                    <a16:creationId xmlns:a16="http://schemas.microsoft.com/office/drawing/2014/main" id="{972F3A89-5A47-31E0-D8BF-B5219CE94FFE}"/>
                  </a:ext>
                </a:extLst>
              </p:cNvPr>
              <p:cNvSpPr/>
              <p:nvPr/>
            </p:nvSpPr>
            <p:spPr bwMode="auto">
              <a:xfrm>
                <a:off x="7744414" y="4136772"/>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SD, data, log</a:t>
                </a:r>
              </a:p>
            </p:txBody>
          </p:sp>
          <p:sp>
            <p:nvSpPr>
              <p:cNvPr id="14" name="Rectangle 13">
                <a:extLst>
                  <a:ext uri="{FF2B5EF4-FFF2-40B4-BE49-F238E27FC236}">
                    <a16:creationId xmlns:a16="http://schemas.microsoft.com/office/drawing/2014/main" id="{54DAA494-096E-4254-0B2C-58A49D88445A}"/>
                  </a:ext>
                </a:extLst>
              </p:cNvPr>
              <p:cNvSpPr/>
              <p:nvPr/>
            </p:nvSpPr>
            <p:spPr bwMode="auto">
              <a:xfrm>
                <a:off x="9671309" y="4567718"/>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SD, data, log</a:t>
                </a:r>
              </a:p>
            </p:txBody>
          </p:sp>
          <p:pic>
            <p:nvPicPr>
              <p:cNvPr id="15" name="Graphic 14">
                <a:extLst>
                  <a:ext uri="{FF2B5EF4-FFF2-40B4-BE49-F238E27FC236}">
                    <a16:creationId xmlns:a16="http://schemas.microsoft.com/office/drawing/2014/main" id="{D02DF767-F945-3651-615D-9BFE090DF6B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34483" y="3719931"/>
                <a:ext cx="467684" cy="467684"/>
              </a:xfrm>
              <a:prstGeom prst="rect">
                <a:avLst/>
              </a:prstGeom>
            </p:spPr>
          </p:pic>
          <p:pic>
            <p:nvPicPr>
              <p:cNvPr id="16" name="Graphic 15">
                <a:extLst>
                  <a:ext uri="{FF2B5EF4-FFF2-40B4-BE49-F238E27FC236}">
                    <a16:creationId xmlns:a16="http://schemas.microsoft.com/office/drawing/2014/main" id="{B47385D0-705D-D10B-1136-B40AA592010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96275" y="4143657"/>
                <a:ext cx="467684" cy="467684"/>
              </a:xfrm>
              <a:prstGeom prst="rect">
                <a:avLst/>
              </a:prstGeom>
            </p:spPr>
          </p:pic>
          <p:grpSp>
            <p:nvGrpSpPr>
              <p:cNvPr id="17" name="Group 16">
                <a:extLst>
                  <a:ext uri="{FF2B5EF4-FFF2-40B4-BE49-F238E27FC236}">
                    <a16:creationId xmlns:a16="http://schemas.microsoft.com/office/drawing/2014/main" id="{8FEAA3A8-2F67-7715-7AAE-BA9B9C2A5528}"/>
                  </a:ext>
                </a:extLst>
              </p:cNvPr>
              <p:cNvGrpSpPr/>
              <p:nvPr/>
            </p:nvGrpSpPr>
            <p:grpSpPr>
              <a:xfrm>
                <a:off x="7559367" y="5191611"/>
                <a:ext cx="342403" cy="409614"/>
                <a:chOff x="6191877" y="4806490"/>
                <a:chExt cx="413768" cy="494987"/>
              </a:xfrm>
            </p:grpSpPr>
            <p:grpSp>
              <p:nvGrpSpPr>
                <p:cNvPr id="73" name="Group 72">
                  <a:extLst>
                    <a:ext uri="{FF2B5EF4-FFF2-40B4-BE49-F238E27FC236}">
                      <a16:creationId xmlns:a16="http://schemas.microsoft.com/office/drawing/2014/main" id="{CFB2A395-E72A-471C-4C10-5BACDA2751A6}"/>
                    </a:ext>
                  </a:extLst>
                </p:cNvPr>
                <p:cNvGrpSpPr/>
                <p:nvPr/>
              </p:nvGrpSpPr>
              <p:grpSpPr>
                <a:xfrm>
                  <a:off x="6191877" y="4806490"/>
                  <a:ext cx="293717" cy="359549"/>
                  <a:chOff x="965200" y="3436897"/>
                  <a:chExt cx="528881" cy="647424"/>
                </a:xfrm>
              </p:grpSpPr>
              <p:grpSp>
                <p:nvGrpSpPr>
                  <p:cNvPr id="82" name="Group 81">
                    <a:extLst>
                      <a:ext uri="{FF2B5EF4-FFF2-40B4-BE49-F238E27FC236}">
                        <a16:creationId xmlns:a16="http://schemas.microsoft.com/office/drawing/2014/main" id="{8F81D9B9-9856-109F-3F8E-8C67A42121CA}"/>
                      </a:ext>
                    </a:extLst>
                  </p:cNvPr>
                  <p:cNvGrpSpPr/>
                  <p:nvPr/>
                </p:nvGrpSpPr>
                <p:grpSpPr>
                  <a:xfrm flipH="1">
                    <a:off x="965200" y="3436897"/>
                    <a:ext cx="528881" cy="647424"/>
                    <a:chOff x="3003960" y="3685414"/>
                    <a:chExt cx="403310" cy="493707"/>
                  </a:xfrm>
                </p:grpSpPr>
                <p:sp>
                  <p:nvSpPr>
                    <p:cNvPr id="87" name="Snip Single Corner Rectangle 26">
                      <a:extLst>
                        <a:ext uri="{FF2B5EF4-FFF2-40B4-BE49-F238E27FC236}">
                          <a16:creationId xmlns:a16="http://schemas.microsoft.com/office/drawing/2014/main" id="{C2F12BF5-FB8B-AC90-981B-E0BF48D304C2}"/>
                        </a:ext>
                      </a:extLst>
                    </p:cNvPr>
                    <p:cNvSpPr/>
                    <p:nvPr/>
                  </p:nvSpPr>
                  <p:spPr bwMode="auto">
                    <a:xfrm flipH="1">
                      <a:off x="3003960" y="3685414"/>
                      <a:ext cx="403310" cy="493707"/>
                    </a:xfrm>
                    <a:prstGeom prst="snip1Rect">
                      <a:avLst>
                        <a:gd name="adj" fmla="val 28736"/>
                      </a:avLst>
                    </a:prstGeom>
                    <a:solidFill>
                      <a:schemeClr val="accent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Triangle 27">
                      <a:extLst>
                        <a:ext uri="{FF2B5EF4-FFF2-40B4-BE49-F238E27FC236}">
                          <a16:creationId xmlns:a16="http://schemas.microsoft.com/office/drawing/2014/main" id="{3DDAC19A-7D8A-7420-A960-F3FC2B647C34}"/>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83" name="Straight Connector 82">
                    <a:extLst>
                      <a:ext uri="{FF2B5EF4-FFF2-40B4-BE49-F238E27FC236}">
                        <a16:creationId xmlns:a16="http://schemas.microsoft.com/office/drawing/2014/main" id="{80847518-85A6-8124-EA9C-3DCD311A1DC5}"/>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4F332B5F-7564-B837-0DB3-07360EAD7EE4}"/>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1318A24-63C4-1EEA-75EE-52437134EF1A}"/>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733CF3C9-2883-2947-42D9-FA0F81EA4B8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42A05124-E518-F397-CE8C-845A69BF924F}"/>
                    </a:ext>
                  </a:extLst>
                </p:cNvPr>
                <p:cNvGrpSpPr/>
                <p:nvPr/>
              </p:nvGrpSpPr>
              <p:grpSpPr>
                <a:xfrm>
                  <a:off x="6311928" y="4941928"/>
                  <a:ext cx="293717" cy="359549"/>
                  <a:chOff x="965200" y="3436897"/>
                  <a:chExt cx="528881" cy="647424"/>
                </a:xfrm>
              </p:grpSpPr>
              <p:grpSp>
                <p:nvGrpSpPr>
                  <p:cNvPr id="75" name="Group 74">
                    <a:extLst>
                      <a:ext uri="{FF2B5EF4-FFF2-40B4-BE49-F238E27FC236}">
                        <a16:creationId xmlns:a16="http://schemas.microsoft.com/office/drawing/2014/main" id="{43960543-0BF8-D158-62F7-0582BCF416AA}"/>
                      </a:ext>
                    </a:extLst>
                  </p:cNvPr>
                  <p:cNvGrpSpPr/>
                  <p:nvPr/>
                </p:nvGrpSpPr>
                <p:grpSpPr>
                  <a:xfrm flipH="1">
                    <a:off x="965200" y="3436897"/>
                    <a:ext cx="528881" cy="647424"/>
                    <a:chOff x="3003960" y="3685414"/>
                    <a:chExt cx="403310" cy="493707"/>
                  </a:xfrm>
                </p:grpSpPr>
                <p:sp>
                  <p:nvSpPr>
                    <p:cNvPr id="80" name="Snip Single Corner Rectangle 26">
                      <a:extLst>
                        <a:ext uri="{FF2B5EF4-FFF2-40B4-BE49-F238E27FC236}">
                          <a16:creationId xmlns:a16="http://schemas.microsoft.com/office/drawing/2014/main" id="{80E303D6-79DC-C29F-F0D5-916CB5233DE1}"/>
                        </a:ext>
                      </a:extLst>
                    </p:cNvPr>
                    <p:cNvSpPr/>
                    <p:nvPr/>
                  </p:nvSpPr>
                  <p:spPr bwMode="auto">
                    <a:xfrm flipH="1">
                      <a:off x="3003960" y="3685414"/>
                      <a:ext cx="403310" cy="493707"/>
                    </a:xfrm>
                    <a:prstGeom prst="snip1Rect">
                      <a:avLst>
                        <a:gd name="adj" fmla="val 28736"/>
                      </a:avLst>
                    </a:prstGeom>
                    <a:solidFill>
                      <a:schemeClr val="accent1"/>
                    </a:solidFill>
                    <a:ln w="12700">
                      <a:solidFill>
                        <a:schemeClr val="accent1">
                          <a:lumMod val="20000"/>
                          <a:lumOff val="8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riangle 27">
                      <a:extLst>
                        <a:ext uri="{FF2B5EF4-FFF2-40B4-BE49-F238E27FC236}">
                          <a16:creationId xmlns:a16="http://schemas.microsoft.com/office/drawing/2014/main" id="{6A9E72E3-D390-1A36-CC33-C951DC8D28D9}"/>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76" name="Straight Connector 75">
                    <a:extLst>
                      <a:ext uri="{FF2B5EF4-FFF2-40B4-BE49-F238E27FC236}">
                        <a16:creationId xmlns:a16="http://schemas.microsoft.com/office/drawing/2014/main" id="{689AE7C4-FBB3-3136-4335-902C6B651018}"/>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100CBC61-405D-BF28-E233-C8BCC8C76FCB}"/>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5880973-F7D3-74B1-3376-E25654A3EF7F}"/>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1598A0F-F1AC-FE40-FF94-131B8507304F}"/>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8" name="Group 17">
                <a:extLst>
                  <a:ext uri="{FF2B5EF4-FFF2-40B4-BE49-F238E27FC236}">
                    <a16:creationId xmlns:a16="http://schemas.microsoft.com/office/drawing/2014/main" id="{EB38B23E-7003-08CD-D7F5-A7AE3ACC33AF}"/>
                  </a:ext>
                </a:extLst>
              </p:cNvPr>
              <p:cNvGrpSpPr/>
              <p:nvPr/>
            </p:nvGrpSpPr>
            <p:grpSpPr>
              <a:xfrm>
                <a:off x="6568914" y="2016909"/>
                <a:ext cx="399480" cy="383886"/>
                <a:chOff x="6069106" y="2256333"/>
                <a:chExt cx="479511" cy="460793"/>
              </a:xfrm>
            </p:grpSpPr>
            <p:sp>
              <p:nvSpPr>
                <p:cNvPr id="68" name="Rounded Rectangle 58">
                  <a:extLst>
                    <a:ext uri="{FF2B5EF4-FFF2-40B4-BE49-F238E27FC236}">
                      <a16:creationId xmlns:a16="http://schemas.microsoft.com/office/drawing/2014/main" id="{065A7DD9-A7D5-F0EE-11A1-FB08C6426908}"/>
                    </a:ext>
                  </a:extLst>
                </p:cNvPr>
                <p:cNvSpPr/>
                <p:nvPr/>
              </p:nvSpPr>
              <p:spPr bwMode="auto">
                <a:xfrm>
                  <a:off x="6096000" y="2283228"/>
                  <a:ext cx="433898" cy="433898"/>
                </a:xfrm>
                <a:prstGeom prst="roundRect">
                  <a:avLst>
                    <a:gd name="adj" fmla="val 823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D960BED2-F6A3-63CC-ED4D-4E88B1AA4CC8}"/>
                    </a:ext>
                  </a:extLst>
                </p:cNvPr>
                <p:cNvCxnSpPr/>
                <p:nvPr/>
              </p:nvCxnSpPr>
              <p:spPr>
                <a:xfrm>
                  <a:off x="6237722"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FDA0D2B8-6993-7361-497E-43C97AC40906}"/>
                    </a:ext>
                  </a:extLst>
                </p:cNvPr>
                <p:cNvCxnSpPr/>
                <p:nvPr/>
              </p:nvCxnSpPr>
              <p:spPr>
                <a:xfrm>
                  <a:off x="6393170"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04217ED0-9908-5747-769B-6EC45F70130D}"/>
                    </a:ext>
                  </a:extLst>
                </p:cNvPr>
                <p:cNvCxnSpPr>
                  <a:cxnSpLocks/>
                </p:cNvCxnSpPr>
                <p:nvPr/>
              </p:nvCxnSpPr>
              <p:spPr>
                <a:xfrm rot="16200000">
                  <a:off x="6318221" y="2189127"/>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1F95B5BD-821F-9E67-2416-E7E68314CCF3}"/>
                    </a:ext>
                  </a:extLst>
                </p:cNvPr>
                <p:cNvCxnSpPr>
                  <a:cxnSpLocks/>
                </p:cNvCxnSpPr>
                <p:nvPr/>
              </p:nvCxnSpPr>
              <p:spPr>
                <a:xfrm rot="16200000">
                  <a:off x="6299503" y="2339390"/>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CE745ACF-6AC6-35B8-17BB-9790F2E76684}"/>
                  </a:ext>
                </a:extLst>
              </p:cNvPr>
              <p:cNvSpPr txBox="1"/>
              <p:nvPr/>
            </p:nvSpPr>
            <p:spPr>
              <a:xfrm>
                <a:off x="7994415" y="5311528"/>
                <a:ext cx="410369"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Backup</a:t>
                </a:r>
                <a:br>
                  <a:rPr kumimoji="0" lang="en-US" sz="1000" b="0" i="0" u="none" strike="noStrike" kern="1200" cap="none" spc="0" normalizeH="0" baseline="0" noProof="0">
                    <a:ln>
                      <a:noFill/>
                    </a:ln>
                    <a:solidFill>
                      <a:srgbClr val="000000"/>
                    </a:solidFill>
                    <a:effectLst/>
                    <a:uLnTx/>
                    <a:uFillTx/>
                    <a:latin typeface="Segoe UI"/>
                    <a:ea typeface="+mn-ea"/>
                    <a:cs typeface="+mn-cs"/>
                  </a:rPr>
                </a:br>
                <a:r>
                  <a:rPr kumimoji="0" lang="en-US" sz="1000" b="0" i="0" u="none" strike="noStrike" kern="1200" cap="none" spc="0" normalizeH="0" baseline="0" noProof="0">
                    <a:ln>
                      <a:noFill/>
                    </a:ln>
                    <a:solidFill>
                      <a:srgbClr val="000000"/>
                    </a:solidFill>
                    <a:effectLst/>
                    <a:uLnTx/>
                    <a:uFillTx/>
                    <a:latin typeface="Segoe UI"/>
                    <a:ea typeface="+mn-ea"/>
                    <a:cs typeface="+mn-cs"/>
                  </a:rPr>
                  <a:t>files</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Rectangle 19">
                <a:extLst>
                  <a:ext uri="{FF2B5EF4-FFF2-40B4-BE49-F238E27FC236}">
                    <a16:creationId xmlns:a16="http://schemas.microsoft.com/office/drawing/2014/main" id="{D6E10BD7-ED77-7D2A-7A0B-75F9FD06C932}"/>
                  </a:ext>
                </a:extLst>
              </p:cNvPr>
              <p:cNvSpPr/>
              <p:nvPr/>
            </p:nvSpPr>
            <p:spPr bwMode="auto">
              <a:xfrm>
                <a:off x="7352825" y="1573070"/>
                <a:ext cx="4114229" cy="4151666"/>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1" name="Straight Arrow Connector 20">
                <a:extLst>
                  <a:ext uri="{FF2B5EF4-FFF2-40B4-BE49-F238E27FC236}">
                    <a16:creationId xmlns:a16="http://schemas.microsoft.com/office/drawing/2014/main" id="{FE0204C0-9A4E-F498-C8D2-A80CEC22CB89}"/>
                  </a:ext>
                </a:extLst>
              </p:cNvPr>
              <p:cNvCxnSpPr/>
              <p:nvPr/>
            </p:nvCxnSpPr>
            <p:spPr>
              <a:xfrm>
                <a:off x="6936310" y="2171929"/>
                <a:ext cx="1511875"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80">
                <a:extLst>
                  <a:ext uri="{FF2B5EF4-FFF2-40B4-BE49-F238E27FC236}">
                    <a16:creationId xmlns:a16="http://schemas.microsoft.com/office/drawing/2014/main" id="{6EF232A2-FA3D-FBE3-69D7-81AB2A088DAC}"/>
                  </a:ext>
                </a:extLst>
              </p:cNvPr>
              <p:cNvCxnSpPr>
                <a:stCxn id="68" idx="2"/>
                <a:endCxn id="15" idx="1"/>
              </p:cNvCxnSpPr>
              <p:nvPr/>
            </p:nvCxnSpPr>
            <p:spPr>
              <a:xfrm rot="16200000" flipH="1">
                <a:off x="6576782" y="2596072"/>
                <a:ext cx="1552978" cy="1162424"/>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82">
                <a:extLst>
                  <a:ext uri="{FF2B5EF4-FFF2-40B4-BE49-F238E27FC236}">
                    <a16:creationId xmlns:a16="http://schemas.microsoft.com/office/drawing/2014/main" id="{B4B896AA-E776-D7D5-4CE8-80C2E21A7E64}"/>
                  </a:ext>
                </a:extLst>
              </p:cNvPr>
              <p:cNvCxnSpPr>
                <a:cxnSpLocks/>
                <a:stCxn id="15" idx="3"/>
                <a:endCxn id="16" idx="0"/>
              </p:cNvCxnSpPr>
              <p:nvPr/>
            </p:nvCxnSpPr>
            <p:spPr>
              <a:xfrm>
                <a:off x="8402167" y="3953773"/>
                <a:ext cx="1727950" cy="189884"/>
              </a:xfrm>
              <a:prstGeom prst="bentConnector2">
                <a:avLst/>
              </a:prstGeom>
              <a:ln w="12700">
                <a:solidFill>
                  <a:srgbClr val="C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28B563A-9543-B272-EB64-337D332C813A}"/>
                  </a:ext>
                </a:extLst>
              </p:cNvPr>
              <p:cNvSpPr txBox="1"/>
              <p:nvPr/>
            </p:nvSpPr>
            <p:spPr>
              <a:xfrm>
                <a:off x="8905581" y="4013499"/>
                <a:ext cx="43762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rPr>
                  <a:t>Failover</a:t>
                </a:r>
              </a:p>
            </p:txBody>
          </p:sp>
          <p:sp>
            <p:nvSpPr>
              <p:cNvPr id="25" name="TextBox 24">
                <a:extLst>
                  <a:ext uri="{FF2B5EF4-FFF2-40B4-BE49-F238E27FC236}">
                    <a16:creationId xmlns:a16="http://schemas.microsoft.com/office/drawing/2014/main" id="{6DC6027A-F65B-1CBE-E7C3-76382B4C46E8}"/>
                  </a:ext>
                </a:extLst>
              </p:cNvPr>
              <p:cNvSpPr txBox="1"/>
              <p:nvPr/>
            </p:nvSpPr>
            <p:spPr>
              <a:xfrm>
                <a:off x="10493005" y="4227712"/>
                <a:ext cx="866747" cy="3048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Secondary Replica</a:t>
                </a:r>
              </a:p>
            </p:txBody>
          </p:sp>
          <p:sp>
            <p:nvSpPr>
              <p:cNvPr id="26" name="Rectangle 25">
                <a:extLst>
                  <a:ext uri="{FF2B5EF4-FFF2-40B4-BE49-F238E27FC236}">
                    <a16:creationId xmlns:a16="http://schemas.microsoft.com/office/drawing/2014/main" id="{387AB513-0871-BA60-8866-29ACA2675819}"/>
                  </a:ext>
                </a:extLst>
              </p:cNvPr>
              <p:cNvSpPr/>
              <p:nvPr/>
            </p:nvSpPr>
            <p:spPr bwMode="auto">
              <a:xfrm>
                <a:off x="9815688" y="3093541"/>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SSD, data, log</a:t>
                </a:r>
              </a:p>
            </p:txBody>
          </p:sp>
          <p:pic>
            <p:nvPicPr>
              <p:cNvPr id="27" name="Graphic 26">
                <a:extLst>
                  <a:ext uri="{FF2B5EF4-FFF2-40B4-BE49-F238E27FC236}">
                    <a16:creationId xmlns:a16="http://schemas.microsoft.com/office/drawing/2014/main" id="{5D60F62B-B101-CD63-0B31-6D9969B7C0B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40654" y="2669480"/>
                <a:ext cx="467684" cy="467684"/>
              </a:xfrm>
              <a:prstGeom prst="rect">
                <a:avLst/>
              </a:prstGeom>
            </p:spPr>
          </p:pic>
          <p:sp>
            <p:nvSpPr>
              <p:cNvPr id="28" name="TextBox 27">
                <a:extLst>
                  <a:ext uri="{FF2B5EF4-FFF2-40B4-BE49-F238E27FC236}">
                    <a16:creationId xmlns:a16="http://schemas.microsoft.com/office/drawing/2014/main" id="{DF2BD2C2-2DD1-BD66-5087-AFCE1510D5F8}"/>
                  </a:ext>
                </a:extLst>
              </p:cNvPr>
              <p:cNvSpPr txBox="1"/>
              <p:nvPr/>
            </p:nvSpPr>
            <p:spPr>
              <a:xfrm>
                <a:off x="10577977" y="2661843"/>
                <a:ext cx="866747" cy="3048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Secondary Replica</a:t>
                </a:r>
              </a:p>
            </p:txBody>
          </p:sp>
          <p:sp>
            <p:nvSpPr>
              <p:cNvPr id="29" name="Rectangle 28">
                <a:extLst>
                  <a:ext uri="{FF2B5EF4-FFF2-40B4-BE49-F238E27FC236}">
                    <a16:creationId xmlns:a16="http://schemas.microsoft.com/office/drawing/2014/main" id="{6040C007-9C8F-3CD4-EACA-AEE15201500A}"/>
                  </a:ext>
                </a:extLst>
              </p:cNvPr>
              <p:cNvSpPr/>
              <p:nvPr/>
            </p:nvSpPr>
            <p:spPr bwMode="auto">
              <a:xfrm>
                <a:off x="8513261" y="3045414"/>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SD, data, log</a:t>
                </a:r>
              </a:p>
            </p:txBody>
          </p:sp>
          <p:pic>
            <p:nvPicPr>
              <p:cNvPr id="30" name="Graphic 29">
                <a:extLst>
                  <a:ext uri="{FF2B5EF4-FFF2-40B4-BE49-F238E27FC236}">
                    <a16:creationId xmlns:a16="http://schemas.microsoft.com/office/drawing/2014/main" id="{E290F4B4-36DE-F6C1-EC92-BD858328959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8227" y="2621353"/>
                <a:ext cx="467684" cy="467684"/>
              </a:xfrm>
              <a:prstGeom prst="rect">
                <a:avLst/>
              </a:prstGeom>
            </p:spPr>
          </p:pic>
          <p:grpSp>
            <p:nvGrpSpPr>
              <p:cNvPr id="31" name="Group 30">
                <a:extLst>
                  <a:ext uri="{FF2B5EF4-FFF2-40B4-BE49-F238E27FC236}">
                    <a16:creationId xmlns:a16="http://schemas.microsoft.com/office/drawing/2014/main" id="{73E5D918-40D5-4C16-2E55-56CD75C9EB4A}"/>
                  </a:ext>
                </a:extLst>
              </p:cNvPr>
              <p:cNvGrpSpPr/>
              <p:nvPr/>
            </p:nvGrpSpPr>
            <p:grpSpPr>
              <a:xfrm>
                <a:off x="8353788" y="1656103"/>
                <a:ext cx="1934350" cy="801460"/>
                <a:chOff x="8335500" y="1674391"/>
                <a:chExt cx="1934350" cy="801460"/>
              </a:xfrm>
            </p:grpSpPr>
            <p:sp>
              <p:nvSpPr>
                <p:cNvPr id="40" name="Oval 39">
                  <a:extLst>
                    <a:ext uri="{FF2B5EF4-FFF2-40B4-BE49-F238E27FC236}">
                      <a16:creationId xmlns:a16="http://schemas.microsoft.com/office/drawing/2014/main" id="{010A1C01-D0F9-3CEB-A954-2928B4A61D7D}"/>
                    </a:ext>
                  </a:extLst>
                </p:cNvPr>
                <p:cNvSpPr/>
                <p:nvPr/>
              </p:nvSpPr>
              <p:spPr bwMode="auto">
                <a:xfrm>
                  <a:off x="8439695" y="1924376"/>
                  <a:ext cx="1803930" cy="532629"/>
                </a:xfrm>
                <a:prstGeom prst="ellipse">
                  <a:avLst/>
                </a:prstGeom>
                <a:noFill/>
                <a:ln w="1905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B0FADEBD-5B3D-D319-77E7-51037239D6B4}"/>
                    </a:ext>
                  </a:extLst>
                </p:cNvPr>
                <p:cNvSpPr/>
                <p:nvPr/>
              </p:nvSpPr>
              <p:spPr bwMode="auto">
                <a:xfrm>
                  <a:off x="8439696" y="1999301"/>
                  <a:ext cx="1830154" cy="4765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6C32A386-2C2F-C048-5E87-C7F0DE6DEF83}"/>
                    </a:ext>
                  </a:extLst>
                </p:cNvPr>
                <p:cNvSpPr/>
                <p:nvPr/>
              </p:nvSpPr>
              <p:spPr bwMode="auto">
                <a:xfrm>
                  <a:off x="8445939" y="1916082"/>
                  <a:ext cx="1803930" cy="532629"/>
                </a:xfrm>
                <a:prstGeom prst="ellipse">
                  <a:avLst/>
                </a:prstGeom>
                <a:noFill/>
                <a:ln w="28575"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TextBox 42">
                  <a:extLst>
                    <a:ext uri="{FF2B5EF4-FFF2-40B4-BE49-F238E27FC236}">
                      <a16:creationId xmlns:a16="http://schemas.microsoft.com/office/drawing/2014/main" id="{79EED941-5D4B-D7E8-FA25-A9BF77A81B4C}"/>
                    </a:ext>
                  </a:extLst>
                </p:cNvPr>
                <p:cNvSpPr txBox="1"/>
                <p:nvPr/>
              </p:nvSpPr>
              <p:spPr>
                <a:xfrm>
                  <a:off x="8335500" y="1754994"/>
                  <a:ext cx="20839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W</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TextBox 43">
                  <a:extLst>
                    <a:ext uri="{FF2B5EF4-FFF2-40B4-BE49-F238E27FC236}">
                      <a16:creationId xmlns:a16="http://schemas.microsoft.com/office/drawing/2014/main" id="{EE44C1E2-702E-0991-697B-33FCE77C2E2A}"/>
                    </a:ext>
                  </a:extLst>
                </p:cNvPr>
                <p:cNvSpPr txBox="1"/>
                <p:nvPr/>
              </p:nvSpPr>
              <p:spPr>
                <a:xfrm>
                  <a:off x="8880939" y="1674391"/>
                  <a:ext cx="20839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W</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TextBox 44">
                  <a:extLst>
                    <a:ext uri="{FF2B5EF4-FFF2-40B4-BE49-F238E27FC236}">
                      <a16:creationId xmlns:a16="http://schemas.microsoft.com/office/drawing/2014/main" id="{86854BF6-FAB5-40C7-6BB9-75FAF2DE69BA}"/>
                    </a:ext>
                  </a:extLst>
                </p:cNvPr>
                <p:cNvSpPr txBox="1"/>
                <p:nvPr/>
              </p:nvSpPr>
              <p:spPr>
                <a:xfrm>
                  <a:off x="9531416" y="1742095"/>
                  <a:ext cx="20839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W</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FC4BCC2B-9FA1-B95B-7957-30AC0E0AC5FE}"/>
                    </a:ext>
                  </a:extLst>
                </p:cNvPr>
                <p:cNvSpPr txBox="1"/>
                <p:nvPr/>
              </p:nvSpPr>
              <p:spPr>
                <a:xfrm>
                  <a:off x="9007830" y="2160492"/>
                  <a:ext cx="711733"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Control Ring</a:t>
                  </a:r>
                </a:p>
              </p:txBody>
            </p:sp>
            <p:grpSp>
              <p:nvGrpSpPr>
                <p:cNvPr id="47" name="Group 46">
                  <a:extLst>
                    <a:ext uri="{FF2B5EF4-FFF2-40B4-BE49-F238E27FC236}">
                      <a16:creationId xmlns:a16="http://schemas.microsoft.com/office/drawing/2014/main" id="{FED4E98F-A1F4-561E-7E68-EB8AC57F3240}"/>
                    </a:ext>
                  </a:extLst>
                </p:cNvPr>
                <p:cNvGrpSpPr/>
                <p:nvPr/>
              </p:nvGrpSpPr>
              <p:grpSpPr>
                <a:xfrm>
                  <a:off x="8539400" y="1855338"/>
                  <a:ext cx="241171" cy="250651"/>
                  <a:chOff x="13071009" y="3404199"/>
                  <a:chExt cx="369615" cy="384144"/>
                </a:xfrm>
              </p:grpSpPr>
              <p:sp>
                <p:nvSpPr>
                  <p:cNvPr id="62" name="Rectangle 61">
                    <a:extLst>
                      <a:ext uri="{FF2B5EF4-FFF2-40B4-BE49-F238E27FC236}">
                        <a16:creationId xmlns:a16="http://schemas.microsoft.com/office/drawing/2014/main" id="{5524C534-8357-0A73-C60D-172C70A67F80}"/>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3" name="Group 62">
                    <a:extLst>
                      <a:ext uri="{FF2B5EF4-FFF2-40B4-BE49-F238E27FC236}">
                        <a16:creationId xmlns:a16="http://schemas.microsoft.com/office/drawing/2014/main" id="{27B37F08-0D2D-9F33-38ED-472FD5F39F00}"/>
                      </a:ext>
                    </a:extLst>
                  </p:cNvPr>
                  <p:cNvGrpSpPr/>
                  <p:nvPr/>
                </p:nvGrpSpPr>
                <p:grpSpPr>
                  <a:xfrm>
                    <a:off x="13124976" y="3422562"/>
                    <a:ext cx="263000" cy="365781"/>
                    <a:chOff x="12590745" y="5672000"/>
                    <a:chExt cx="522378" cy="726522"/>
                  </a:xfrm>
                </p:grpSpPr>
                <p:sp>
                  <p:nvSpPr>
                    <p:cNvPr id="64" name="Freeform 98">
                      <a:extLst>
                        <a:ext uri="{FF2B5EF4-FFF2-40B4-BE49-F238E27FC236}">
                          <a16:creationId xmlns:a16="http://schemas.microsoft.com/office/drawing/2014/main" id="{9C040BD2-370B-2812-F2E1-BBDE657B61F9}"/>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Down Arrow 99">
                      <a:extLst>
                        <a:ext uri="{FF2B5EF4-FFF2-40B4-BE49-F238E27FC236}">
                          <a16:creationId xmlns:a16="http://schemas.microsoft.com/office/drawing/2014/main" id="{67FD6772-EE08-9A06-D8A7-2D7A4AACD175}"/>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Down Arrow 100">
                      <a:extLst>
                        <a:ext uri="{FF2B5EF4-FFF2-40B4-BE49-F238E27FC236}">
                          <a16:creationId xmlns:a16="http://schemas.microsoft.com/office/drawing/2014/main" id="{5387A56B-03C0-AEAB-3B65-2E203BE5B1EB}"/>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Down Arrow 101">
                      <a:extLst>
                        <a:ext uri="{FF2B5EF4-FFF2-40B4-BE49-F238E27FC236}">
                          <a16:creationId xmlns:a16="http://schemas.microsoft.com/office/drawing/2014/main" id="{8DD85995-F8A7-A91D-9B21-A7FE34D5367C}"/>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8" name="Group 47">
                  <a:extLst>
                    <a:ext uri="{FF2B5EF4-FFF2-40B4-BE49-F238E27FC236}">
                      <a16:creationId xmlns:a16="http://schemas.microsoft.com/office/drawing/2014/main" id="{1244768E-C3EA-2EFF-C177-A8622C6FBBF2}"/>
                    </a:ext>
                  </a:extLst>
                </p:cNvPr>
                <p:cNvGrpSpPr/>
                <p:nvPr/>
              </p:nvGrpSpPr>
              <p:grpSpPr>
                <a:xfrm>
                  <a:off x="9116048" y="1772959"/>
                  <a:ext cx="241171" cy="250651"/>
                  <a:chOff x="13071009" y="3404199"/>
                  <a:chExt cx="369615" cy="384144"/>
                </a:xfrm>
              </p:grpSpPr>
              <p:sp>
                <p:nvSpPr>
                  <p:cNvPr id="56" name="Rectangle 55">
                    <a:extLst>
                      <a:ext uri="{FF2B5EF4-FFF2-40B4-BE49-F238E27FC236}">
                        <a16:creationId xmlns:a16="http://schemas.microsoft.com/office/drawing/2014/main" id="{2C58A18B-5851-FD06-99DB-704A46B54544}"/>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7" name="Group 56">
                    <a:extLst>
                      <a:ext uri="{FF2B5EF4-FFF2-40B4-BE49-F238E27FC236}">
                        <a16:creationId xmlns:a16="http://schemas.microsoft.com/office/drawing/2014/main" id="{E1CF1EA0-9BDA-6AB4-654C-A2EF7CB3A3E9}"/>
                      </a:ext>
                    </a:extLst>
                  </p:cNvPr>
                  <p:cNvGrpSpPr/>
                  <p:nvPr/>
                </p:nvGrpSpPr>
                <p:grpSpPr>
                  <a:xfrm>
                    <a:off x="13124976" y="3422562"/>
                    <a:ext cx="263000" cy="365781"/>
                    <a:chOff x="12590745" y="5672000"/>
                    <a:chExt cx="522378" cy="726522"/>
                  </a:xfrm>
                </p:grpSpPr>
                <p:sp>
                  <p:nvSpPr>
                    <p:cNvPr id="58" name="Freeform 105">
                      <a:extLst>
                        <a:ext uri="{FF2B5EF4-FFF2-40B4-BE49-F238E27FC236}">
                          <a16:creationId xmlns:a16="http://schemas.microsoft.com/office/drawing/2014/main" id="{128D4F1D-1170-0BC5-EAF2-1E88428664A6}"/>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Down Arrow 106">
                      <a:extLst>
                        <a:ext uri="{FF2B5EF4-FFF2-40B4-BE49-F238E27FC236}">
                          <a16:creationId xmlns:a16="http://schemas.microsoft.com/office/drawing/2014/main" id="{8BA2B0A4-2330-46FE-5A5F-9C9E74512A99}"/>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Down Arrow 107">
                      <a:extLst>
                        <a:ext uri="{FF2B5EF4-FFF2-40B4-BE49-F238E27FC236}">
                          <a16:creationId xmlns:a16="http://schemas.microsoft.com/office/drawing/2014/main" id="{AF1F67DF-D599-0032-6841-751A79144570}"/>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Down Arrow 108">
                      <a:extLst>
                        <a:ext uri="{FF2B5EF4-FFF2-40B4-BE49-F238E27FC236}">
                          <a16:creationId xmlns:a16="http://schemas.microsoft.com/office/drawing/2014/main" id="{DEA8D787-9216-7334-EDEB-2B6C80691452}"/>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9" name="Group 48">
                  <a:extLst>
                    <a:ext uri="{FF2B5EF4-FFF2-40B4-BE49-F238E27FC236}">
                      <a16:creationId xmlns:a16="http://schemas.microsoft.com/office/drawing/2014/main" id="{530BD580-D549-AE9D-250D-BDE3579CEF8F}"/>
                    </a:ext>
                  </a:extLst>
                </p:cNvPr>
                <p:cNvGrpSpPr/>
                <p:nvPr/>
              </p:nvGrpSpPr>
              <p:grpSpPr>
                <a:xfrm>
                  <a:off x="9733886" y="1855338"/>
                  <a:ext cx="241171" cy="250651"/>
                  <a:chOff x="13071009" y="3404199"/>
                  <a:chExt cx="369615" cy="384144"/>
                </a:xfrm>
              </p:grpSpPr>
              <p:sp>
                <p:nvSpPr>
                  <p:cNvPr id="50" name="Rectangle 49">
                    <a:extLst>
                      <a:ext uri="{FF2B5EF4-FFF2-40B4-BE49-F238E27FC236}">
                        <a16:creationId xmlns:a16="http://schemas.microsoft.com/office/drawing/2014/main" id="{38659829-C05E-5A48-50B7-32522C68C9D8}"/>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a:extLst>
                      <a:ext uri="{FF2B5EF4-FFF2-40B4-BE49-F238E27FC236}">
                        <a16:creationId xmlns:a16="http://schemas.microsoft.com/office/drawing/2014/main" id="{50A56C05-C1F3-5FFD-6583-A64C5064729A}"/>
                      </a:ext>
                    </a:extLst>
                  </p:cNvPr>
                  <p:cNvGrpSpPr/>
                  <p:nvPr/>
                </p:nvGrpSpPr>
                <p:grpSpPr>
                  <a:xfrm>
                    <a:off x="13124976" y="3422562"/>
                    <a:ext cx="263000" cy="365781"/>
                    <a:chOff x="12590745" y="5672000"/>
                    <a:chExt cx="522378" cy="726522"/>
                  </a:xfrm>
                </p:grpSpPr>
                <p:sp>
                  <p:nvSpPr>
                    <p:cNvPr id="52" name="Freeform 112">
                      <a:extLst>
                        <a:ext uri="{FF2B5EF4-FFF2-40B4-BE49-F238E27FC236}">
                          <a16:creationId xmlns:a16="http://schemas.microsoft.com/office/drawing/2014/main" id="{ADF97EAD-2BC3-D63C-1FF1-5F75EE341FFC}"/>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Down Arrow 113">
                      <a:extLst>
                        <a:ext uri="{FF2B5EF4-FFF2-40B4-BE49-F238E27FC236}">
                          <a16:creationId xmlns:a16="http://schemas.microsoft.com/office/drawing/2014/main" id="{0646D394-9917-0168-605B-6FF55C2EC787}"/>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Down Arrow 114">
                      <a:extLst>
                        <a:ext uri="{FF2B5EF4-FFF2-40B4-BE49-F238E27FC236}">
                          <a16:creationId xmlns:a16="http://schemas.microsoft.com/office/drawing/2014/main" id="{844E360B-D6EF-EC5B-1378-BF59EE32B111}"/>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Down Arrow 115">
                      <a:extLst>
                        <a:ext uri="{FF2B5EF4-FFF2-40B4-BE49-F238E27FC236}">
                          <a16:creationId xmlns:a16="http://schemas.microsoft.com/office/drawing/2014/main" id="{64C0E4D1-FF89-CC9A-07FB-8D583219AA11}"/>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32" name="TextBox 31">
                <a:extLst>
                  <a:ext uri="{FF2B5EF4-FFF2-40B4-BE49-F238E27FC236}">
                    <a16:creationId xmlns:a16="http://schemas.microsoft.com/office/drawing/2014/main" id="{6BA4715A-DD0B-622E-E8D5-8BA21456A9D8}"/>
                  </a:ext>
                </a:extLst>
              </p:cNvPr>
              <p:cNvSpPr txBox="1"/>
              <p:nvPr/>
            </p:nvSpPr>
            <p:spPr>
              <a:xfrm>
                <a:off x="8000282" y="2584032"/>
                <a:ext cx="665058" cy="30777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Secondary Replica</a:t>
                </a:r>
              </a:p>
            </p:txBody>
          </p:sp>
          <p:sp>
            <p:nvSpPr>
              <p:cNvPr id="33" name="TextBox 32">
                <a:extLst>
                  <a:ext uri="{FF2B5EF4-FFF2-40B4-BE49-F238E27FC236}">
                    <a16:creationId xmlns:a16="http://schemas.microsoft.com/office/drawing/2014/main" id="{2AC4A337-10B2-B9CD-EBF2-0248C1D59B8C}"/>
                  </a:ext>
                </a:extLst>
              </p:cNvPr>
              <p:cNvSpPr txBox="1"/>
              <p:nvPr/>
            </p:nvSpPr>
            <p:spPr>
              <a:xfrm>
                <a:off x="8487922" y="3630030"/>
                <a:ext cx="219286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AlwaysON Availability Group</a:t>
                </a:r>
              </a:p>
            </p:txBody>
          </p:sp>
          <p:cxnSp>
            <p:nvCxnSpPr>
              <p:cNvPr id="34" name="Elbow Connector 136">
                <a:extLst>
                  <a:ext uri="{FF2B5EF4-FFF2-40B4-BE49-F238E27FC236}">
                    <a16:creationId xmlns:a16="http://schemas.microsoft.com/office/drawing/2014/main" id="{42A312FE-2CF4-02BB-012D-74BC379B5904}"/>
                  </a:ext>
                </a:extLst>
              </p:cNvPr>
              <p:cNvCxnSpPr>
                <a:stCxn id="13" idx="1"/>
              </p:cNvCxnSpPr>
              <p:nvPr/>
            </p:nvCxnSpPr>
            <p:spPr>
              <a:xfrm rot="10800000" flipV="1">
                <a:off x="7597306" y="4332869"/>
                <a:ext cx="147109" cy="858742"/>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47DB295B-222C-9056-18A5-EF1539294E82}"/>
                  </a:ext>
                </a:extLst>
              </p:cNvPr>
              <p:cNvSpPr txBox="1"/>
              <p:nvPr/>
            </p:nvSpPr>
            <p:spPr>
              <a:xfrm>
                <a:off x="9024742" y="5243530"/>
                <a:ext cx="1681422"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Azure standard sto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RA-GRS, LRS, ZRS)</a:t>
                </a:r>
              </a:p>
            </p:txBody>
          </p:sp>
          <p:grpSp>
            <p:nvGrpSpPr>
              <p:cNvPr id="36" name="Group 35">
                <a:extLst>
                  <a:ext uri="{FF2B5EF4-FFF2-40B4-BE49-F238E27FC236}">
                    <a16:creationId xmlns:a16="http://schemas.microsoft.com/office/drawing/2014/main" id="{D3D3FC2C-458D-E0A0-3A3F-9DFE9D2E28EA}"/>
                  </a:ext>
                </a:extLst>
              </p:cNvPr>
              <p:cNvGrpSpPr/>
              <p:nvPr/>
            </p:nvGrpSpPr>
            <p:grpSpPr>
              <a:xfrm>
                <a:off x="10882244" y="5275916"/>
                <a:ext cx="461466" cy="273112"/>
                <a:chOff x="1105279" y="2995020"/>
                <a:chExt cx="155575" cy="92075"/>
              </a:xfrm>
              <a:solidFill>
                <a:schemeClr val="accent1"/>
              </a:solidFill>
            </p:grpSpPr>
            <p:sp>
              <p:nvSpPr>
                <p:cNvPr id="37" name="Oval 19">
                  <a:extLst>
                    <a:ext uri="{FF2B5EF4-FFF2-40B4-BE49-F238E27FC236}">
                      <a16:creationId xmlns:a16="http://schemas.microsoft.com/office/drawing/2014/main" id="{6CD9F0F5-DE56-3EA5-B1FE-7D3DD8A6C030}"/>
                    </a:ext>
                  </a:extLst>
                </p:cNvPr>
                <p:cNvSpPr>
                  <a:spLocks noChangeArrowheads="1"/>
                </p:cNvSpPr>
                <p:nvPr/>
              </p:nvSpPr>
              <p:spPr bwMode="auto">
                <a:xfrm>
                  <a:off x="1121154" y="2995020"/>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20">
                  <a:extLst>
                    <a:ext uri="{FF2B5EF4-FFF2-40B4-BE49-F238E27FC236}">
                      <a16:creationId xmlns:a16="http://schemas.microsoft.com/office/drawing/2014/main" id="{6908A74B-B191-F958-CC9A-84E3CD992F6D}"/>
                    </a:ext>
                  </a:extLst>
                </p:cNvPr>
                <p:cNvSpPr>
                  <a:spLocks/>
                </p:cNvSpPr>
                <p:nvPr/>
              </p:nvSpPr>
              <p:spPr bwMode="auto">
                <a:xfrm>
                  <a:off x="1105279" y="3052170"/>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Oval 21">
                  <a:extLst>
                    <a:ext uri="{FF2B5EF4-FFF2-40B4-BE49-F238E27FC236}">
                      <a16:creationId xmlns:a16="http://schemas.microsoft.com/office/drawing/2014/main" id="{6319A355-673C-9029-9AD3-12D64E41619F}"/>
                    </a:ext>
                  </a:extLst>
                </p:cNvPr>
                <p:cNvSpPr>
                  <a:spLocks noChangeArrowheads="1"/>
                </p:cNvSpPr>
                <p:nvPr/>
              </p:nvSpPr>
              <p:spPr bwMode="auto">
                <a:xfrm>
                  <a:off x="1183066" y="3010895"/>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82" name="TextBox 181">
              <a:extLst>
                <a:ext uri="{FF2B5EF4-FFF2-40B4-BE49-F238E27FC236}">
                  <a16:creationId xmlns:a16="http://schemas.microsoft.com/office/drawing/2014/main" id="{69124CA8-238E-D575-D7CF-2C0A46AB9E01}"/>
                </a:ext>
              </a:extLst>
            </p:cNvPr>
            <p:cNvSpPr txBox="1"/>
            <p:nvPr/>
          </p:nvSpPr>
          <p:spPr>
            <a:xfrm>
              <a:off x="6944812" y="5901765"/>
              <a:ext cx="4927909" cy="307777"/>
            </a:xfrm>
            <a:prstGeom prst="rect">
              <a:avLst/>
            </a:prstGeom>
            <a:noFill/>
          </p:spPr>
          <p:txBody>
            <a:bodyPr wrap="square" lIns="0" tIns="0" rIns="0" bIns="0" rtlCol="0">
              <a:spAutoFit/>
            </a:bodyPr>
            <a:lstStyle/>
            <a:p>
              <a:pPr marL="0" marR="0" lvl="0" indent="0" algn="ctr" defTabSz="932563" rtl="0" eaLnBrk="1" fontAlgn="auto" latinLnBrk="0" hangingPunct="1">
                <a:lnSpc>
                  <a:spcPct val="100000"/>
                </a:lnSpc>
                <a:spcBef>
                  <a:spcPct val="20000"/>
                </a:spcBef>
                <a:spcAft>
                  <a:spcPts val="0"/>
                </a:spcAft>
                <a:buClr>
                  <a:srgbClr val="0078D4"/>
                </a:buClr>
                <a:buSzPct val="100000"/>
                <a:buFontTx/>
                <a:buNone/>
                <a:tabLst/>
                <a:defRPr/>
              </a:pPr>
              <a:r>
                <a:rPr kumimoji="0" lang="en-US" sz="2000" b="1"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Business Critical </a:t>
              </a: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BC) service </a:t>
              </a:r>
              <a:r>
                <a:rPr kumimoji="0" lang="en-US" sz="20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tier</a:t>
              </a:r>
            </a:p>
          </p:txBody>
        </p:sp>
      </p:grpSp>
    </p:spTree>
    <p:extLst>
      <p:ext uri="{BB962C8B-B14F-4D97-AF65-F5344CB8AC3E}">
        <p14:creationId xmlns:p14="http://schemas.microsoft.com/office/powerpoint/2010/main" val="8790891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2" name="Group 161">
            <a:extLst>
              <a:ext uri="{FF2B5EF4-FFF2-40B4-BE49-F238E27FC236}">
                <a16:creationId xmlns:a16="http://schemas.microsoft.com/office/drawing/2014/main" id="{7623FC41-B42D-E345-A904-5BBAF6115AE6}"/>
              </a:ext>
            </a:extLst>
          </p:cNvPr>
          <p:cNvGrpSpPr/>
          <p:nvPr/>
        </p:nvGrpSpPr>
        <p:grpSpPr>
          <a:xfrm>
            <a:off x="8226318" y="1912022"/>
            <a:ext cx="2114900" cy="860018"/>
            <a:chOff x="8335500" y="1722517"/>
            <a:chExt cx="2114900" cy="860018"/>
          </a:xfrm>
        </p:grpSpPr>
        <p:sp>
          <p:nvSpPr>
            <p:cNvPr id="123" name="Oval 122">
              <a:extLst>
                <a:ext uri="{FF2B5EF4-FFF2-40B4-BE49-F238E27FC236}">
                  <a16:creationId xmlns:a16="http://schemas.microsoft.com/office/drawing/2014/main" id="{0C1666AF-AD27-8C4D-9C10-E22C417C6C42}"/>
                </a:ext>
              </a:extLst>
            </p:cNvPr>
            <p:cNvSpPr/>
            <p:nvPr/>
          </p:nvSpPr>
          <p:spPr bwMode="auto">
            <a:xfrm>
              <a:off x="8439695" y="1972502"/>
              <a:ext cx="1803930" cy="532629"/>
            </a:xfrm>
            <a:prstGeom prst="ellipse">
              <a:avLst/>
            </a:prstGeom>
            <a:noFill/>
            <a:ln w="1905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Rectangle 123">
              <a:extLst>
                <a:ext uri="{FF2B5EF4-FFF2-40B4-BE49-F238E27FC236}">
                  <a16:creationId xmlns:a16="http://schemas.microsoft.com/office/drawing/2014/main" id="{3F68C206-6C11-1A4A-9BDB-DC48D17917DA}"/>
                </a:ext>
              </a:extLst>
            </p:cNvPr>
            <p:cNvSpPr/>
            <p:nvPr/>
          </p:nvSpPr>
          <p:spPr bwMode="auto">
            <a:xfrm>
              <a:off x="8391306" y="2072432"/>
              <a:ext cx="2059094" cy="510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9D2F7611-EE08-DA4F-81BB-57CF01F07F40}"/>
                </a:ext>
              </a:extLst>
            </p:cNvPr>
            <p:cNvSpPr/>
            <p:nvPr/>
          </p:nvSpPr>
          <p:spPr bwMode="auto">
            <a:xfrm>
              <a:off x="8448284" y="1971478"/>
              <a:ext cx="1803930" cy="532629"/>
            </a:xfrm>
            <a:prstGeom prst="ellipse">
              <a:avLst/>
            </a:prstGeom>
            <a:noFill/>
            <a:ln w="28575"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TextBox 65">
              <a:extLst>
                <a:ext uri="{FF2B5EF4-FFF2-40B4-BE49-F238E27FC236}">
                  <a16:creationId xmlns:a16="http://schemas.microsoft.com/office/drawing/2014/main" id="{26C5A043-D92C-4A4A-A582-D3E982DCF969}"/>
                </a:ext>
              </a:extLst>
            </p:cNvPr>
            <p:cNvSpPr txBox="1"/>
            <p:nvPr/>
          </p:nvSpPr>
          <p:spPr>
            <a:xfrm>
              <a:off x="8335500" y="1803120"/>
              <a:ext cx="20839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GW</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67" name="TextBox 66">
              <a:extLst>
                <a:ext uri="{FF2B5EF4-FFF2-40B4-BE49-F238E27FC236}">
                  <a16:creationId xmlns:a16="http://schemas.microsoft.com/office/drawing/2014/main" id="{17FF6DA6-7580-B24D-84DE-872E2328D6DA}"/>
                </a:ext>
              </a:extLst>
            </p:cNvPr>
            <p:cNvSpPr txBox="1"/>
            <p:nvPr/>
          </p:nvSpPr>
          <p:spPr>
            <a:xfrm>
              <a:off x="8880939" y="1722517"/>
              <a:ext cx="20839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GW</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68" name="TextBox 67">
              <a:extLst>
                <a:ext uri="{FF2B5EF4-FFF2-40B4-BE49-F238E27FC236}">
                  <a16:creationId xmlns:a16="http://schemas.microsoft.com/office/drawing/2014/main" id="{8F697E74-4B98-B843-AC05-516EA954ECA0}"/>
                </a:ext>
              </a:extLst>
            </p:cNvPr>
            <p:cNvSpPr txBox="1"/>
            <p:nvPr/>
          </p:nvSpPr>
          <p:spPr>
            <a:xfrm>
              <a:off x="9531416" y="1790221"/>
              <a:ext cx="20839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GW</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0" name="TextBox 69">
              <a:extLst>
                <a:ext uri="{FF2B5EF4-FFF2-40B4-BE49-F238E27FC236}">
                  <a16:creationId xmlns:a16="http://schemas.microsoft.com/office/drawing/2014/main" id="{561AFAE8-4C78-534C-BE34-0CCBE80529DE}"/>
                </a:ext>
              </a:extLst>
            </p:cNvPr>
            <p:cNvSpPr txBox="1"/>
            <p:nvPr/>
          </p:nvSpPr>
          <p:spPr>
            <a:xfrm>
              <a:off x="9007830" y="2208618"/>
              <a:ext cx="711733"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Control Ring</a:t>
              </a:r>
            </a:p>
          </p:txBody>
        </p:sp>
        <p:grpSp>
          <p:nvGrpSpPr>
            <p:cNvPr id="132" name="Group 131">
              <a:extLst>
                <a:ext uri="{FF2B5EF4-FFF2-40B4-BE49-F238E27FC236}">
                  <a16:creationId xmlns:a16="http://schemas.microsoft.com/office/drawing/2014/main" id="{747BF700-8F43-4A47-A0CA-A3E438508BEB}"/>
                </a:ext>
              </a:extLst>
            </p:cNvPr>
            <p:cNvGrpSpPr/>
            <p:nvPr/>
          </p:nvGrpSpPr>
          <p:grpSpPr>
            <a:xfrm>
              <a:off x="8539400" y="1903464"/>
              <a:ext cx="241171" cy="250651"/>
              <a:chOff x="13071009" y="3404199"/>
              <a:chExt cx="369615" cy="384144"/>
            </a:xfrm>
          </p:grpSpPr>
          <p:sp>
            <p:nvSpPr>
              <p:cNvPr id="133" name="Rectangle 132">
                <a:extLst>
                  <a:ext uri="{FF2B5EF4-FFF2-40B4-BE49-F238E27FC236}">
                    <a16:creationId xmlns:a16="http://schemas.microsoft.com/office/drawing/2014/main" id="{2F0EA2B5-E045-794E-9D2E-37798D43509C}"/>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4" name="Group 133">
                <a:extLst>
                  <a:ext uri="{FF2B5EF4-FFF2-40B4-BE49-F238E27FC236}">
                    <a16:creationId xmlns:a16="http://schemas.microsoft.com/office/drawing/2014/main" id="{E8B03D1A-892C-B747-AD6A-1A4AF6E62A00}"/>
                  </a:ext>
                </a:extLst>
              </p:cNvPr>
              <p:cNvGrpSpPr/>
              <p:nvPr/>
            </p:nvGrpSpPr>
            <p:grpSpPr>
              <a:xfrm>
                <a:off x="13124976" y="3422562"/>
                <a:ext cx="263000" cy="365781"/>
                <a:chOff x="12590745" y="5672000"/>
                <a:chExt cx="522378" cy="726522"/>
              </a:xfrm>
            </p:grpSpPr>
            <p:sp>
              <p:nvSpPr>
                <p:cNvPr id="135" name="Freeform 134">
                  <a:extLst>
                    <a:ext uri="{FF2B5EF4-FFF2-40B4-BE49-F238E27FC236}">
                      <a16:creationId xmlns:a16="http://schemas.microsoft.com/office/drawing/2014/main" id="{DB591ABB-2511-F44F-8B73-FBE07F14041E}"/>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Down Arrow 135">
                  <a:extLst>
                    <a:ext uri="{FF2B5EF4-FFF2-40B4-BE49-F238E27FC236}">
                      <a16:creationId xmlns:a16="http://schemas.microsoft.com/office/drawing/2014/main" id="{BC8408BA-1A46-6942-8B6F-F014E9E19041}"/>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Down Arrow 136">
                  <a:extLst>
                    <a:ext uri="{FF2B5EF4-FFF2-40B4-BE49-F238E27FC236}">
                      <a16:creationId xmlns:a16="http://schemas.microsoft.com/office/drawing/2014/main" id="{CB4D5A20-64C9-FE42-B27D-1C78A6AE0D73}"/>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Down Arrow 137">
                  <a:extLst>
                    <a:ext uri="{FF2B5EF4-FFF2-40B4-BE49-F238E27FC236}">
                      <a16:creationId xmlns:a16="http://schemas.microsoft.com/office/drawing/2014/main" id="{F420B167-9767-CC41-B841-01DD9FEDE4A0}"/>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39" name="Group 138">
              <a:extLst>
                <a:ext uri="{FF2B5EF4-FFF2-40B4-BE49-F238E27FC236}">
                  <a16:creationId xmlns:a16="http://schemas.microsoft.com/office/drawing/2014/main" id="{8F403E28-1728-8C4A-BDF0-0F96CABA0B32}"/>
                </a:ext>
              </a:extLst>
            </p:cNvPr>
            <p:cNvGrpSpPr/>
            <p:nvPr/>
          </p:nvGrpSpPr>
          <p:grpSpPr>
            <a:xfrm>
              <a:off x="9116048" y="1821085"/>
              <a:ext cx="241171" cy="250651"/>
              <a:chOff x="13071009" y="3404199"/>
              <a:chExt cx="369615" cy="384144"/>
            </a:xfrm>
          </p:grpSpPr>
          <p:sp>
            <p:nvSpPr>
              <p:cNvPr id="140" name="Rectangle 139">
                <a:extLst>
                  <a:ext uri="{FF2B5EF4-FFF2-40B4-BE49-F238E27FC236}">
                    <a16:creationId xmlns:a16="http://schemas.microsoft.com/office/drawing/2014/main" id="{4F45E64D-F265-6C4F-B627-81B497C0496E}"/>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1" name="Group 140">
                <a:extLst>
                  <a:ext uri="{FF2B5EF4-FFF2-40B4-BE49-F238E27FC236}">
                    <a16:creationId xmlns:a16="http://schemas.microsoft.com/office/drawing/2014/main" id="{E849ABE6-1BA8-6B44-A378-453E141DE6A3}"/>
                  </a:ext>
                </a:extLst>
              </p:cNvPr>
              <p:cNvGrpSpPr/>
              <p:nvPr/>
            </p:nvGrpSpPr>
            <p:grpSpPr>
              <a:xfrm>
                <a:off x="13124976" y="3422562"/>
                <a:ext cx="263000" cy="365781"/>
                <a:chOff x="12590745" y="5672000"/>
                <a:chExt cx="522378" cy="726522"/>
              </a:xfrm>
            </p:grpSpPr>
            <p:sp>
              <p:nvSpPr>
                <p:cNvPr id="142" name="Freeform 141">
                  <a:extLst>
                    <a:ext uri="{FF2B5EF4-FFF2-40B4-BE49-F238E27FC236}">
                      <a16:creationId xmlns:a16="http://schemas.microsoft.com/office/drawing/2014/main" id="{42174187-0AC1-AF4A-AD22-2C1B52573A9D}"/>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Down Arrow 142">
                  <a:extLst>
                    <a:ext uri="{FF2B5EF4-FFF2-40B4-BE49-F238E27FC236}">
                      <a16:creationId xmlns:a16="http://schemas.microsoft.com/office/drawing/2014/main" id="{DF4C9F28-69F9-B441-8647-07F5AD813991}"/>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Down Arrow 143">
                  <a:extLst>
                    <a:ext uri="{FF2B5EF4-FFF2-40B4-BE49-F238E27FC236}">
                      <a16:creationId xmlns:a16="http://schemas.microsoft.com/office/drawing/2014/main" id="{4CD1B134-75B1-C74F-B121-CF31913177BB}"/>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Down Arrow 144">
                  <a:extLst>
                    <a:ext uri="{FF2B5EF4-FFF2-40B4-BE49-F238E27FC236}">
                      <a16:creationId xmlns:a16="http://schemas.microsoft.com/office/drawing/2014/main" id="{5BB1F083-F2FB-0C4D-8C9E-A0B2C2AEDCA0}"/>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46" name="Group 145">
              <a:extLst>
                <a:ext uri="{FF2B5EF4-FFF2-40B4-BE49-F238E27FC236}">
                  <a16:creationId xmlns:a16="http://schemas.microsoft.com/office/drawing/2014/main" id="{E44D831F-8092-064C-B5C8-C55D4A454ACE}"/>
                </a:ext>
              </a:extLst>
            </p:cNvPr>
            <p:cNvGrpSpPr/>
            <p:nvPr/>
          </p:nvGrpSpPr>
          <p:grpSpPr>
            <a:xfrm>
              <a:off x="9733886" y="1903464"/>
              <a:ext cx="241171" cy="250651"/>
              <a:chOff x="13071009" y="3404199"/>
              <a:chExt cx="369615" cy="384144"/>
            </a:xfrm>
          </p:grpSpPr>
          <p:sp>
            <p:nvSpPr>
              <p:cNvPr id="147" name="Rectangle 146">
                <a:extLst>
                  <a:ext uri="{FF2B5EF4-FFF2-40B4-BE49-F238E27FC236}">
                    <a16:creationId xmlns:a16="http://schemas.microsoft.com/office/drawing/2014/main" id="{CFDC8A59-B5D0-6840-A04D-007687B4D580}"/>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8" name="Group 147">
                <a:extLst>
                  <a:ext uri="{FF2B5EF4-FFF2-40B4-BE49-F238E27FC236}">
                    <a16:creationId xmlns:a16="http://schemas.microsoft.com/office/drawing/2014/main" id="{E6E66E71-EFE2-C24B-AA4D-F70BD57FD910}"/>
                  </a:ext>
                </a:extLst>
              </p:cNvPr>
              <p:cNvGrpSpPr/>
              <p:nvPr/>
            </p:nvGrpSpPr>
            <p:grpSpPr>
              <a:xfrm>
                <a:off x="13124976" y="3422562"/>
                <a:ext cx="263000" cy="365781"/>
                <a:chOff x="12590745" y="5672000"/>
                <a:chExt cx="522378" cy="726522"/>
              </a:xfrm>
            </p:grpSpPr>
            <p:sp>
              <p:nvSpPr>
                <p:cNvPr id="149" name="Freeform 148">
                  <a:extLst>
                    <a:ext uri="{FF2B5EF4-FFF2-40B4-BE49-F238E27FC236}">
                      <a16:creationId xmlns:a16="http://schemas.microsoft.com/office/drawing/2014/main" id="{700ADD0F-B28B-9141-891A-F2C894AE7B8C}"/>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Down Arrow 149">
                  <a:extLst>
                    <a:ext uri="{FF2B5EF4-FFF2-40B4-BE49-F238E27FC236}">
                      <a16:creationId xmlns:a16="http://schemas.microsoft.com/office/drawing/2014/main" id="{C88939DD-14AE-2C4A-A144-56BE6ED29A48}"/>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Down Arrow 150">
                  <a:extLst>
                    <a:ext uri="{FF2B5EF4-FFF2-40B4-BE49-F238E27FC236}">
                      <a16:creationId xmlns:a16="http://schemas.microsoft.com/office/drawing/2014/main" id="{F00D66DE-C447-874B-B7F6-E15B23504277}"/>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Down Arrow 151">
                  <a:extLst>
                    <a:ext uri="{FF2B5EF4-FFF2-40B4-BE49-F238E27FC236}">
                      <a16:creationId xmlns:a16="http://schemas.microsoft.com/office/drawing/2014/main" id="{95F53909-EA52-5E4B-9B1E-34E62ABF242A}"/>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cxnSp>
        <p:nvCxnSpPr>
          <p:cNvPr id="84" name="Straight Arrow Connector 83">
            <a:extLst>
              <a:ext uri="{FF2B5EF4-FFF2-40B4-BE49-F238E27FC236}">
                <a16:creationId xmlns:a16="http://schemas.microsoft.com/office/drawing/2014/main" id="{0D393668-B439-B64E-8D95-59DC031728CE}"/>
              </a:ext>
            </a:extLst>
          </p:cNvPr>
          <p:cNvCxnSpPr/>
          <p:nvPr/>
        </p:nvCxnSpPr>
        <p:spPr>
          <a:xfrm>
            <a:off x="6812912" y="2409560"/>
            <a:ext cx="1511875"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0" name="Elbow Connector 89">
            <a:extLst>
              <a:ext uri="{FF2B5EF4-FFF2-40B4-BE49-F238E27FC236}">
                <a16:creationId xmlns:a16="http://schemas.microsoft.com/office/drawing/2014/main" id="{416C9A45-F09A-5F43-A9FD-0D78748010B8}"/>
              </a:ext>
            </a:extLst>
          </p:cNvPr>
          <p:cNvCxnSpPr>
            <a:cxnSpLocks/>
            <a:endCxn id="35" idx="0"/>
          </p:cNvCxnSpPr>
          <p:nvPr/>
        </p:nvCxnSpPr>
        <p:spPr>
          <a:xfrm>
            <a:off x="8101383" y="3105325"/>
            <a:ext cx="1817734" cy="220450"/>
          </a:xfrm>
          <a:prstGeom prst="bentConnector2">
            <a:avLst/>
          </a:prstGeom>
          <a:ln w="12700">
            <a:solidFill>
              <a:srgbClr val="C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C873136-A9AE-EE4C-96BF-666F1507FFCA}"/>
              </a:ext>
            </a:extLst>
          </p:cNvPr>
          <p:cNvSpPr/>
          <p:nvPr/>
        </p:nvSpPr>
        <p:spPr bwMode="auto">
          <a:xfrm>
            <a:off x="7243643" y="5203757"/>
            <a:ext cx="4114229" cy="71048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5" name="Graphic 34">
            <a:extLst>
              <a:ext uri="{FF2B5EF4-FFF2-40B4-BE49-F238E27FC236}">
                <a16:creationId xmlns:a16="http://schemas.microsoft.com/office/drawing/2014/main" id="{CCDCF30E-E269-324D-BB35-2C6EC5B80B9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85275" y="3325775"/>
            <a:ext cx="467684" cy="467684"/>
          </a:xfrm>
          <a:prstGeom prst="rect">
            <a:avLst/>
          </a:prstGeom>
        </p:spPr>
      </p:pic>
      <p:pic>
        <p:nvPicPr>
          <p:cNvPr id="34" name="Graphic 33">
            <a:extLst>
              <a:ext uri="{FF2B5EF4-FFF2-40B4-BE49-F238E27FC236}">
                <a16:creationId xmlns:a16="http://schemas.microsoft.com/office/drawing/2014/main" id="{2A2BA7F5-2AF7-C84D-8B99-0DB294FDE26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73534" y="3446798"/>
            <a:ext cx="467684" cy="467684"/>
          </a:xfrm>
          <a:prstGeom prst="rect">
            <a:avLst/>
          </a:prstGeom>
        </p:spPr>
      </p:pic>
      <p:graphicFrame>
        <p:nvGraphicFramePr>
          <p:cNvPr id="12" name="Diagram 11">
            <a:extLst>
              <a:ext uri="{FF2B5EF4-FFF2-40B4-BE49-F238E27FC236}">
                <a16:creationId xmlns:a16="http://schemas.microsoft.com/office/drawing/2014/main" id="{DD234F97-D44C-4DBE-BF95-BB4BB392482F}"/>
              </a:ext>
            </a:extLst>
          </p:cNvPr>
          <p:cNvGraphicFramePr/>
          <p:nvPr>
            <p:extLst>
              <p:ext uri="{D42A27DB-BD31-4B8C-83A1-F6EECF244321}">
                <p14:modId xmlns:p14="http://schemas.microsoft.com/office/powerpoint/2010/main" val="1930620659"/>
              </p:ext>
            </p:extLst>
          </p:nvPr>
        </p:nvGraphicFramePr>
        <p:xfrm>
          <a:off x="479481" y="1090247"/>
          <a:ext cx="5576164" cy="519327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Title 1">
            <a:extLst>
              <a:ext uri="{FF2B5EF4-FFF2-40B4-BE49-F238E27FC236}">
                <a16:creationId xmlns:a16="http://schemas.microsoft.com/office/drawing/2014/main" id="{BF9C4299-3C81-974F-973F-EB8236DC27F4}"/>
              </a:ext>
            </a:extLst>
          </p:cNvPr>
          <p:cNvSpPr>
            <a:spLocks noGrp="1"/>
          </p:cNvSpPr>
          <p:nvPr>
            <p:ph type="title"/>
          </p:nvPr>
        </p:nvSpPr>
        <p:spPr>
          <a:xfrm>
            <a:off x="448534" y="252952"/>
            <a:ext cx="11018520" cy="984885"/>
          </a:xfrm>
        </p:spPr>
        <p:txBody>
          <a:bodyPr/>
          <a:lstStyle/>
          <a:p>
            <a:r>
              <a:rPr lang="en-US" sz="3200" spc="0" dirty="0">
                <a:solidFill>
                  <a:prstClr val="black"/>
                </a:solidFill>
                <a:cs typeface="Segoe UI Semilight" panose="020B0402040204020203" pitchFamily="34" charset="0"/>
              </a:rPr>
              <a:t>High Availability - General Purpose</a:t>
            </a:r>
            <a:br>
              <a:rPr lang="en-US" sz="3200" spc="0" dirty="0">
                <a:solidFill>
                  <a:prstClr val="black"/>
                </a:solidFill>
                <a:cs typeface="Segoe UI Semilight" panose="020B0402040204020203" pitchFamily="34" charset="0"/>
              </a:rPr>
            </a:br>
            <a:endParaRPr lang="en-US" sz="3200" dirty="0"/>
          </a:p>
        </p:txBody>
      </p:sp>
      <p:sp>
        <p:nvSpPr>
          <p:cNvPr id="3" name="TextBox 2">
            <a:extLst>
              <a:ext uri="{FF2B5EF4-FFF2-40B4-BE49-F238E27FC236}">
                <a16:creationId xmlns:a16="http://schemas.microsoft.com/office/drawing/2014/main" id="{65084061-B9E4-E845-880B-1F73F4F16AB8}"/>
              </a:ext>
            </a:extLst>
          </p:cNvPr>
          <p:cNvSpPr txBox="1"/>
          <p:nvPr/>
        </p:nvSpPr>
        <p:spPr>
          <a:xfrm>
            <a:off x="7276742" y="1520468"/>
            <a:ext cx="966996"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a:ea typeface="+mn-ea"/>
                <a:cs typeface="+mn-cs"/>
              </a:rPr>
              <a:t>Azure Region</a:t>
            </a:r>
          </a:p>
        </p:txBody>
      </p:sp>
      <p:sp>
        <p:nvSpPr>
          <p:cNvPr id="24" name="TextBox 23">
            <a:extLst>
              <a:ext uri="{FF2B5EF4-FFF2-40B4-BE49-F238E27FC236}">
                <a16:creationId xmlns:a16="http://schemas.microsoft.com/office/drawing/2014/main" id="{1ADE47AA-F1F0-3E4E-BECF-C59924A6B32F}"/>
              </a:ext>
            </a:extLst>
          </p:cNvPr>
          <p:cNvSpPr txBox="1"/>
          <p:nvPr/>
        </p:nvSpPr>
        <p:spPr>
          <a:xfrm>
            <a:off x="6337827" y="2034137"/>
            <a:ext cx="64120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Application</a:t>
            </a:r>
          </a:p>
        </p:txBody>
      </p:sp>
      <p:sp>
        <p:nvSpPr>
          <p:cNvPr id="25" name="TextBox 24">
            <a:extLst>
              <a:ext uri="{FF2B5EF4-FFF2-40B4-BE49-F238E27FC236}">
                <a16:creationId xmlns:a16="http://schemas.microsoft.com/office/drawing/2014/main" id="{68CFCADD-EFA0-864A-B127-96AD6FA3AC88}"/>
              </a:ext>
            </a:extLst>
          </p:cNvPr>
          <p:cNvSpPr txBox="1"/>
          <p:nvPr/>
        </p:nvSpPr>
        <p:spPr>
          <a:xfrm>
            <a:off x="7294193" y="2932317"/>
            <a:ext cx="466474"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Primary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Replica</a:t>
            </a:r>
          </a:p>
        </p:txBody>
      </p:sp>
      <p:sp>
        <p:nvSpPr>
          <p:cNvPr id="4" name="Rectangle 3">
            <a:extLst>
              <a:ext uri="{FF2B5EF4-FFF2-40B4-BE49-F238E27FC236}">
                <a16:creationId xmlns:a16="http://schemas.microsoft.com/office/drawing/2014/main" id="{E47BCA4B-5016-0C40-A2D3-3911249D4634}"/>
              </a:ext>
            </a:extLst>
          </p:cNvPr>
          <p:cNvSpPr/>
          <p:nvPr/>
        </p:nvSpPr>
        <p:spPr bwMode="auto">
          <a:xfrm>
            <a:off x="7582914" y="3459310"/>
            <a:ext cx="871227" cy="39219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Segoe UI" pitchFamily="34" charset="0"/>
                <a:cs typeface="Segoe UI" pitchFamily="34" charset="0"/>
              </a:rPr>
              <a:t>SSD, tempdb</a:t>
            </a:r>
          </a:p>
        </p:txBody>
      </p:sp>
      <p:sp>
        <p:nvSpPr>
          <p:cNvPr id="27" name="Rectangle 26">
            <a:extLst>
              <a:ext uri="{FF2B5EF4-FFF2-40B4-BE49-F238E27FC236}">
                <a16:creationId xmlns:a16="http://schemas.microsoft.com/office/drawing/2014/main" id="{FA96FDB7-8E25-CC41-99FD-544DA28EE244}"/>
              </a:ext>
            </a:extLst>
          </p:cNvPr>
          <p:cNvSpPr/>
          <p:nvPr/>
        </p:nvSpPr>
        <p:spPr bwMode="auto">
          <a:xfrm>
            <a:off x="9807337" y="4048266"/>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Segoe UI" pitchFamily="34" charset="0"/>
                <a:cs typeface="Segoe UI" pitchFamily="34" charset="0"/>
              </a:rPr>
              <a:t>SSD, tempdb</a:t>
            </a:r>
          </a:p>
        </p:txBody>
      </p:sp>
      <p:pic>
        <p:nvPicPr>
          <p:cNvPr id="29" name="Graphic 28">
            <a:extLst>
              <a:ext uri="{FF2B5EF4-FFF2-40B4-BE49-F238E27FC236}">
                <a16:creationId xmlns:a16="http://schemas.microsoft.com/office/drawing/2014/main" id="{B73FCD15-3F75-C744-A7B0-BC4F8F1198D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2983" y="3042469"/>
            <a:ext cx="467684" cy="467684"/>
          </a:xfrm>
          <a:prstGeom prst="rect">
            <a:avLst/>
          </a:prstGeom>
        </p:spPr>
      </p:pic>
      <p:pic>
        <p:nvPicPr>
          <p:cNvPr id="33" name="Graphic 32">
            <a:extLst>
              <a:ext uri="{FF2B5EF4-FFF2-40B4-BE49-F238E27FC236}">
                <a16:creationId xmlns:a16="http://schemas.microsoft.com/office/drawing/2014/main" id="{37D7B39F-9217-BA4A-814A-E7DCA57B639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48345" y="3608163"/>
            <a:ext cx="467684" cy="467684"/>
          </a:xfrm>
          <a:prstGeom prst="rect">
            <a:avLst/>
          </a:prstGeom>
        </p:spPr>
      </p:pic>
      <p:grpSp>
        <p:nvGrpSpPr>
          <p:cNvPr id="38" name="Group 37">
            <a:extLst>
              <a:ext uri="{FF2B5EF4-FFF2-40B4-BE49-F238E27FC236}">
                <a16:creationId xmlns:a16="http://schemas.microsoft.com/office/drawing/2014/main" id="{B867E2C1-9B88-E74F-8D17-0603692BE9DB}"/>
              </a:ext>
            </a:extLst>
          </p:cNvPr>
          <p:cNvGrpSpPr/>
          <p:nvPr/>
        </p:nvGrpSpPr>
        <p:grpSpPr>
          <a:xfrm>
            <a:off x="7450185" y="5381116"/>
            <a:ext cx="243058" cy="297536"/>
            <a:chOff x="965200" y="3436897"/>
            <a:chExt cx="528881" cy="647424"/>
          </a:xfrm>
        </p:grpSpPr>
        <p:grpSp>
          <p:nvGrpSpPr>
            <p:cNvPr id="39" name="Group 38">
              <a:extLst>
                <a:ext uri="{FF2B5EF4-FFF2-40B4-BE49-F238E27FC236}">
                  <a16:creationId xmlns:a16="http://schemas.microsoft.com/office/drawing/2014/main" id="{1488849C-55E3-F240-82FE-728B619A9D98}"/>
                </a:ext>
              </a:extLst>
            </p:cNvPr>
            <p:cNvGrpSpPr/>
            <p:nvPr/>
          </p:nvGrpSpPr>
          <p:grpSpPr>
            <a:xfrm flipH="1">
              <a:off x="965200" y="3436897"/>
              <a:ext cx="528881" cy="647424"/>
              <a:chOff x="3003960" y="3685414"/>
              <a:chExt cx="403310" cy="493707"/>
            </a:xfrm>
          </p:grpSpPr>
          <p:sp>
            <p:nvSpPr>
              <p:cNvPr id="44" name="Snip Single Corner Rectangle 26">
                <a:extLst>
                  <a:ext uri="{FF2B5EF4-FFF2-40B4-BE49-F238E27FC236}">
                    <a16:creationId xmlns:a16="http://schemas.microsoft.com/office/drawing/2014/main" id="{F7D652C0-E6BC-D844-8DD3-60EF0CBDEDCB}"/>
                  </a:ext>
                </a:extLst>
              </p:cNvPr>
              <p:cNvSpPr/>
              <p:nvPr/>
            </p:nvSpPr>
            <p:spPr bwMode="auto">
              <a:xfrm flipH="1">
                <a:off x="3003960" y="3685414"/>
                <a:ext cx="403310" cy="493707"/>
              </a:xfrm>
              <a:prstGeom prst="snip1Rect">
                <a:avLst>
                  <a:gd name="adj" fmla="val 28736"/>
                </a:avLst>
              </a:prstGeom>
              <a:solidFill>
                <a:schemeClr val="accent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Triangle 27">
                <a:extLst>
                  <a:ext uri="{FF2B5EF4-FFF2-40B4-BE49-F238E27FC236}">
                    <a16:creationId xmlns:a16="http://schemas.microsoft.com/office/drawing/2014/main" id="{72BB6EC9-74D8-BD40-B801-76D1420E05E9}"/>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40" name="Straight Connector 39">
              <a:extLst>
                <a:ext uri="{FF2B5EF4-FFF2-40B4-BE49-F238E27FC236}">
                  <a16:creationId xmlns:a16="http://schemas.microsoft.com/office/drawing/2014/main" id="{6B6AF930-0AB8-D846-9D3E-89D49376451F}"/>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7BACB1C-31B1-7146-96DA-2FAF4D6CA06E}"/>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3C89730-C305-3348-9361-C8FD54773B22}"/>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C579EF5-E96E-2242-8303-351D07917E97}"/>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9FB881D8-90F9-4648-9813-3ADEDB30DBAC}"/>
              </a:ext>
            </a:extLst>
          </p:cNvPr>
          <p:cNvGrpSpPr/>
          <p:nvPr/>
        </p:nvGrpSpPr>
        <p:grpSpPr>
          <a:xfrm>
            <a:off x="7549530" y="5493194"/>
            <a:ext cx="243058" cy="297536"/>
            <a:chOff x="965200" y="3436897"/>
            <a:chExt cx="528881" cy="647424"/>
          </a:xfrm>
        </p:grpSpPr>
        <p:grpSp>
          <p:nvGrpSpPr>
            <p:cNvPr id="47" name="Group 46">
              <a:extLst>
                <a:ext uri="{FF2B5EF4-FFF2-40B4-BE49-F238E27FC236}">
                  <a16:creationId xmlns:a16="http://schemas.microsoft.com/office/drawing/2014/main" id="{32F17F81-0D4E-9242-9D37-DE10F53B9C9A}"/>
                </a:ext>
              </a:extLst>
            </p:cNvPr>
            <p:cNvGrpSpPr/>
            <p:nvPr/>
          </p:nvGrpSpPr>
          <p:grpSpPr>
            <a:xfrm flipH="1">
              <a:off x="965200" y="3436897"/>
              <a:ext cx="528881" cy="647424"/>
              <a:chOff x="3003960" y="3685414"/>
              <a:chExt cx="403310" cy="493707"/>
            </a:xfrm>
          </p:grpSpPr>
          <p:sp>
            <p:nvSpPr>
              <p:cNvPr id="52" name="Snip Single Corner Rectangle 26">
                <a:extLst>
                  <a:ext uri="{FF2B5EF4-FFF2-40B4-BE49-F238E27FC236}">
                    <a16:creationId xmlns:a16="http://schemas.microsoft.com/office/drawing/2014/main" id="{DBE7B380-7E33-3745-B5B5-2198543E65E9}"/>
                  </a:ext>
                </a:extLst>
              </p:cNvPr>
              <p:cNvSpPr/>
              <p:nvPr/>
            </p:nvSpPr>
            <p:spPr bwMode="auto">
              <a:xfrm flipH="1">
                <a:off x="3003960" y="3685414"/>
                <a:ext cx="403310" cy="493707"/>
              </a:xfrm>
              <a:prstGeom prst="snip1Rect">
                <a:avLst>
                  <a:gd name="adj" fmla="val 28736"/>
                </a:avLst>
              </a:prstGeom>
              <a:solidFill>
                <a:schemeClr val="accent1"/>
              </a:solidFill>
              <a:ln w="12700">
                <a:solidFill>
                  <a:schemeClr val="accent1">
                    <a:lumMod val="20000"/>
                    <a:lumOff val="8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Triangle 27">
                <a:extLst>
                  <a:ext uri="{FF2B5EF4-FFF2-40B4-BE49-F238E27FC236}">
                    <a16:creationId xmlns:a16="http://schemas.microsoft.com/office/drawing/2014/main" id="{13C25D53-4CCC-3E45-9167-3440A249D33F}"/>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48" name="Straight Connector 47">
              <a:extLst>
                <a:ext uri="{FF2B5EF4-FFF2-40B4-BE49-F238E27FC236}">
                  <a16:creationId xmlns:a16="http://schemas.microsoft.com/office/drawing/2014/main" id="{F83B8F89-1DC7-154D-88C0-6A7A92B2FF55}"/>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33A93CB-9263-6A44-AD4A-66F19FAC18A8}"/>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3B241F4-B07C-AE40-A54E-9E6532D23DDC}"/>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97501AF-E0F5-9446-BC76-9E7B0D456C91}"/>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3DEEA897-0518-0D48-B201-6037418034E3}"/>
              </a:ext>
            </a:extLst>
          </p:cNvPr>
          <p:cNvGrpSpPr/>
          <p:nvPr/>
        </p:nvGrpSpPr>
        <p:grpSpPr>
          <a:xfrm>
            <a:off x="10773062" y="5465421"/>
            <a:ext cx="461466" cy="273112"/>
            <a:chOff x="1105279" y="2995020"/>
            <a:chExt cx="155575" cy="92075"/>
          </a:xfrm>
          <a:solidFill>
            <a:schemeClr val="accent1"/>
          </a:solidFill>
        </p:grpSpPr>
        <p:sp>
          <p:nvSpPr>
            <p:cNvPr id="54" name="Oval 19">
              <a:extLst>
                <a:ext uri="{FF2B5EF4-FFF2-40B4-BE49-F238E27FC236}">
                  <a16:creationId xmlns:a16="http://schemas.microsoft.com/office/drawing/2014/main" id="{9C83BFA0-3926-6449-8321-8A60FF198D12}"/>
                </a:ext>
              </a:extLst>
            </p:cNvPr>
            <p:cNvSpPr>
              <a:spLocks noChangeArrowheads="1"/>
            </p:cNvSpPr>
            <p:nvPr/>
          </p:nvSpPr>
          <p:spPr bwMode="auto">
            <a:xfrm>
              <a:off x="1121154" y="2995020"/>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55" name="Freeform 20">
              <a:extLst>
                <a:ext uri="{FF2B5EF4-FFF2-40B4-BE49-F238E27FC236}">
                  <a16:creationId xmlns:a16="http://schemas.microsoft.com/office/drawing/2014/main" id="{F2178E40-F033-6142-9F6F-3A36D5089D3A}"/>
                </a:ext>
              </a:extLst>
            </p:cNvPr>
            <p:cNvSpPr>
              <a:spLocks/>
            </p:cNvSpPr>
            <p:nvPr/>
          </p:nvSpPr>
          <p:spPr bwMode="auto">
            <a:xfrm>
              <a:off x="1105279" y="3052170"/>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56" name="Oval 21">
              <a:extLst>
                <a:ext uri="{FF2B5EF4-FFF2-40B4-BE49-F238E27FC236}">
                  <a16:creationId xmlns:a16="http://schemas.microsoft.com/office/drawing/2014/main" id="{7121E88B-EA6E-FD41-A013-5689C623BAAF}"/>
                </a:ext>
              </a:extLst>
            </p:cNvPr>
            <p:cNvSpPr>
              <a:spLocks noChangeArrowheads="1"/>
            </p:cNvSpPr>
            <p:nvPr/>
          </p:nvSpPr>
          <p:spPr bwMode="auto">
            <a:xfrm>
              <a:off x="1183066" y="3010895"/>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63" name="Group 62">
            <a:extLst>
              <a:ext uri="{FF2B5EF4-FFF2-40B4-BE49-F238E27FC236}">
                <a16:creationId xmlns:a16="http://schemas.microsoft.com/office/drawing/2014/main" id="{9BEF5478-B49E-1D44-BF36-731DBD12B058}"/>
              </a:ext>
            </a:extLst>
          </p:cNvPr>
          <p:cNvGrpSpPr/>
          <p:nvPr/>
        </p:nvGrpSpPr>
        <p:grpSpPr>
          <a:xfrm>
            <a:off x="6459732" y="2206414"/>
            <a:ext cx="399480" cy="383886"/>
            <a:chOff x="6069106" y="2256333"/>
            <a:chExt cx="479511" cy="460793"/>
          </a:xfrm>
        </p:grpSpPr>
        <p:sp>
          <p:nvSpPr>
            <p:cNvPr id="57" name="Rounded Rectangle 56">
              <a:extLst>
                <a:ext uri="{FF2B5EF4-FFF2-40B4-BE49-F238E27FC236}">
                  <a16:creationId xmlns:a16="http://schemas.microsoft.com/office/drawing/2014/main" id="{A546666E-B27A-E646-AC95-C9BF3926722E}"/>
                </a:ext>
              </a:extLst>
            </p:cNvPr>
            <p:cNvSpPr/>
            <p:nvPr/>
          </p:nvSpPr>
          <p:spPr bwMode="auto">
            <a:xfrm>
              <a:off x="6096000" y="2283228"/>
              <a:ext cx="433898" cy="433898"/>
            </a:xfrm>
            <a:prstGeom prst="roundRect">
              <a:avLst>
                <a:gd name="adj" fmla="val 823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B9A38D5E-A97D-1249-A161-99342E51CAB8}"/>
                </a:ext>
              </a:extLst>
            </p:cNvPr>
            <p:cNvCxnSpPr/>
            <p:nvPr/>
          </p:nvCxnSpPr>
          <p:spPr>
            <a:xfrm>
              <a:off x="6237722"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4DC35A5-CDAC-0F4F-BCDA-98338B582190}"/>
                </a:ext>
              </a:extLst>
            </p:cNvPr>
            <p:cNvCxnSpPr/>
            <p:nvPr/>
          </p:nvCxnSpPr>
          <p:spPr>
            <a:xfrm>
              <a:off x="6393170"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2302CA4-FB39-4646-9C56-62F4EC492865}"/>
                </a:ext>
              </a:extLst>
            </p:cNvPr>
            <p:cNvCxnSpPr>
              <a:cxnSpLocks/>
            </p:cNvCxnSpPr>
            <p:nvPr/>
          </p:nvCxnSpPr>
          <p:spPr>
            <a:xfrm rot="16200000">
              <a:off x="6318221" y="2189127"/>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11D7CD5-49DC-1B45-9117-D3FEFD6B36EF}"/>
                </a:ext>
              </a:extLst>
            </p:cNvPr>
            <p:cNvCxnSpPr>
              <a:cxnSpLocks/>
            </p:cNvCxnSpPr>
            <p:nvPr/>
          </p:nvCxnSpPr>
          <p:spPr>
            <a:xfrm rot="16200000">
              <a:off x="6299503" y="2339390"/>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72" name="TextBox 71">
            <a:extLst>
              <a:ext uri="{FF2B5EF4-FFF2-40B4-BE49-F238E27FC236}">
                <a16:creationId xmlns:a16="http://schemas.microsoft.com/office/drawing/2014/main" id="{CF10F430-9942-254B-9E06-072FA1E4DBC0}"/>
              </a:ext>
            </a:extLst>
          </p:cNvPr>
          <p:cNvSpPr txBox="1"/>
          <p:nvPr/>
        </p:nvSpPr>
        <p:spPr>
          <a:xfrm>
            <a:off x="7885233" y="5502485"/>
            <a:ext cx="410369"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Backup</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files</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3" name="TextBox 72">
            <a:extLst>
              <a:ext uri="{FF2B5EF4-FFF2-40B4-BE49-F238E27FC236}">
                <a16:creationId xmlns:a16="http://schemas.microsoft.com/office/drawing/2014/main" id="{3FCF4A62-3578-3A44-AAE9-79F2CCA50A16}"/>
              </a:ext>
            </a:extLst>
          </p:cNvPr>
          <p:cNvSpPr txBox="1"/>
          <p:nvPr/>
        </p:nvSpPr>
        <p:spPr>
          <a:xfrm>
            <a:off x="8915560" y="5433035"/>
            <a:ext cx="1681422" cy="369332"/>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Segoe UI"/>
                <a:ea typeface="+mn-ea"/>
                <a:cs typeface="+mn-cs"/>
              </a:rPr>
              <a:t>Azure standard storag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Segoe UI"/>
                <a:ea typeface="+mn-ea"/>
                <a:cs typeface="+mn-cs"/>
              </a:rPr>
              <a:t>(RA-GRS, LRS, ZRS)</a:t>
            </a:r>
          </a:p>
        </p:txBody>
      </p:sp>
      <p:sp>
        <p:nvSpPr>
          <p:cNvPr id="75" name="Rectangle 74">
            <a:extLst>
              <a:ext uri="{FF2B5EF4-FFF2-40B4-BE49-F238E27FC236}">
                <a16:creationId xmlns:a16="http://schemas.microsoft.com/office/drawing/2014/main" id="{6028C4A0-F26B-C347-99E9-F16976C44C4B}"/>
              </a:ext>
            </a:extLst>
          </p:cNvPr>
          <p:cNvSpPr/>
          <p:nvPr/>
        </p:nvSpPr>
        <p:spPr bwMode="auto">
          <a:xfrm>
            <a:off x="7243643" y="4601725"/>
            <a:ext cx="4114229" cy="629609"/>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TextBox 75">
            <a:extLst>
              <a:ext uri="{FF2B5EF4-FFF2-40B4-BE49-F238E27FC236}">
                <a16:creationId xmlns:a16="http://schemas.microsoft.com/office/drawing/2014/main" id="{E260C45B-0D2F-654D-B1F7-FD5F85057A83}"/>
              </a:ext>
            </a:extLst>
          </p:cNvPr>
          <p:cNvSpPr txBox="1"/>
          <p:nvPr/>
        </p:nvSpPr>
        <p:spPr>
          <a:xfrm>
            <a:off x="10392654" y="3269759"/>
            <a:ext cx="804707"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Nodes with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spare capacity</a:t>
            </a:r>
          </a:p>
        </p:txBody>
      </p:sp>
      <p:sp>
        <p:nvSpPr>
          <p:cNvPr id="64" name="Rectangle 63">
            <a:extLst>
              <a:ext uri="{FF2B5EF4-FFF2-40B4-BE49-F238E27FC236}">
                <a16:creationId xmlns:a16="http://schemas.microsoft.com/office/drawing/2014/main" id="{83A551E5-6D9C-2D4B-A8F6-F6F1AAD3D8AE}"/>
              </a:ext>
            </a:extLst>
          </p:cNvPr>
          <p:cNvSpPr/>
          <p:nvPr/>
        </p:nvSpPr>
        <p:spPr bwMode="auto">
          <a:xfrm>
            <a:off x="7243643" y="1762575"/>
            <a:ext cx="4114229" cy="4151666"/>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TextBox 76">
            <a:extLst>
              <a:ext uri="{FF2B5EF4-FFF2-40B4-BE49-F238E27FC236}">
                <a16:creationId xmlns:a16="http://schemas.microsoft.com/office/drawing/2014/main" id="{73217E27-EB55-2F40-A2EE-A4A548C903C6}"/>
              </a:ext>
            </a:extLst>
          </p:cNvPr>
          <p:cNvSpPr txBox="1"/>
          <p:nvPr/>
        </p:nvSpPr>
        <p:spPr>
          <a:xfrm>
            <a:off x="8211692" y="4808697"/>
            <a:ext cx="548227"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Data and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log files</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8" name="TextBox 77">
            <a:extLst>
              <a:ext uri="{FF2B5EF4-FFF2-40B4-BE49-F238E27FC236}">
                <a16:creationId xmlns:a16="http://schemas.microsoft.com/office/drawing/2014/main" id="{7393EBD8-88D5-7544-8979-B3E806D4A703}"/>
              </a:ext>
            </a:extLst>
          </p:cNvPr>
          <p:cNvSpPr txBox="1"/>
          <p:nvPr/>
        </p:nvSpPr>
        <p:spPr>
          <a:xfrm>
            <a:off x="8889822" y="4776416"/>
            <a:ext cx="1732898" cy="36933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a:ea typeface="+mn-ea"/>
                <a:cs typeface="+mn-cs"/>
              </a:rPr>
              <a:t>Azure premium storage (LRS) data/log</a:t>
            </a:r>
          </a:p>
        </p:txBody>
      </p:sp>
      <p:grpSp>
        <p:nvGrpSpPr>
          <p:cNvPr id="79" name="Group 78">
            <a:extLst>
              <a:ext uri="{FF2B5EF4-FFF2-40B4-BE49-F238E27FC236}">
                <a16:creationId xmlns:a16="http://schemas.microsoft.com/office/drawing/2014/main" id="{44CF8429-6DA8-8145-9FAA-557755543237}"/>
              </a:ext>
            </a:extLst>
          </p:cNvPr>
          <p:cNvGrpSpPr/>
          <p:nvPr/>
        </p:nvGrpSpPr>
        <p:grpSpPr>
          <a:xfrm>
            <a:off x="10773062" y="4793068"/>
            <a:ext cx="461466" cy="273112"/>
            <a:chOff x="1105279" y="2995020"/>
            <a:chExt cx="155575" cy="92075"/>
          </a:xfrm>
          <a:solidFill>
            <a:schemeClr val="accent1"/>
          </a:solidFill>
        </p:grpSpPr>
        <p:sp>
          <p:nvSpPr>
            <p:cNvPr id="80" name="Oval 19">
              <a:extLst>
                <a:ext uri="{FF2B5EF4-FFF2-40B4-BE49-F238E27FC236}">
                  <a16:creationId xmlns:a16="http://schemas.microsoft.com/office/drawing/2014/main" id="{8C05729B-6627-8442-93A3-4273463B9CCF}"/>
                </a:ext>
              </a:extLst>
            </p:cNvPr>
            <p:cNvSpPr>
              <a:spLocks noChangeArrowheads="1"/>
            </p:cNvSpPr>
            <p:nvPr/>
          </p:nvSpPr>
          <p:spPr bwMode="auto">
            <a:xfrm>
              <a:off x="1121154" y="2995020"/>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20">
              <a:extLst>
                <a:ext uri="{FF2B5EF4-FFF2-40B4-BE49-F238E27FC236}">
                  <a16:creationId xmlns:a16="http://schemas.microsoft.com/office/drawing/2014/main" id="{D37E8E01-3674-3E4A-82A6-CB488A50E887}"/>
                </a:ext>
              </a:extLst>
            </p:cNvPr>
            <p:cNvSpPr>
              <a:spLocks/>
            </p:cNvSpPr>
            <p:nvPr/>
          </p:nvSpPr>
          <p:spPr bwMode="auto">
            <a:xfrm>
              <a:off x="1105279" y="3052170"/>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82" name="Oval 21">
              <a:extLst>
                <a:ext uri="{FF2B5EF4-FFF2-40B4-BE49-F238E27FC236}">
                  <a16:creationId xmlns:a16="http://schemas.microsoft.com/office/drawing/2014/main" id="{E75574F4-8BA8-DE4A-936B-DCA9E7D04E18}"/>
                </a:ext>
              </a:extLst>
            </p:cNvPr>
            <p:cNvSpPr>
              <a:spLocks noChangeArrowheads="1"/>
            </p:cNvSpPr>
            <p:nvPr/>
          </p:nvSpPr>
          <p:spPr bwMode="auto">
            <a:xfrm>
              <a:off x="1183066" y="3010895"/>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cxnSp>
        <p:nvCxnSpPr>
          <p:cNvPr id="86" name="Elbow Connector 85">
            <a:extLst>
              <a:ext uri="{FF2B5EF4-FFF2-40B4-BE49-F238E27FC236}">
                <a16:creationId xmlns:a16="http://schemas.microsoft.com/office/drawing/2014/main" id="{328DD0DC-A5EE-1B45-9717-AEA4929074F2}"/>
              </a:ext>
            </a:extLst>
          </p:cNvPr>
          <p:cNvCxnSpPr>
            <a:cxnSpLocks/>
            <a:stCxn id="57" idx="2"/>
            <a:endCxn id="29" idx="1"/>
          </p:cNvCxnSpPr>
          <p:nvPr/>
        </p:nvCxnSpPr>
        <p:spPr>
          <a:xfrm rot="16200000" flipH="1">
            <a:off x="6874925" y="2378252"/>
            <a:ext cx="686011" cy="1110106"/>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E152E99B-0D88-8546-B221-FAD4EB789643}"/>
              </a:ext>
            </a:extLst>
          </p:cNvPr>
          <p:cNvCxnSpPr>
            <a:cxnSpLocks/>
          </p:cNvCxnSpPr>
          <p:nvPr/>
        </p:nvCxnSpPr>
        <p:spPr>
          <a:xfrm>
            <a:off x="7805317" y="3850735"/>
            <a:ext cx="4839" cy="949417"/>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05B0313E-0426-D54B-9C4A-88CD038C2B37}"/>
              </a:ext>
            </a:extLst>
          </p:cNvPr>
          <p:cNvSpPr txBox="1"/>
          <p:nvPr/>
        </p:nvSpPr>
        <p:spPr>
          <a:xfrm>
            <a:off x="8927678" y="2933305"/>
            <a:ext cx="43762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rPr>
              <a:t>Failover</a:t>
            </a:r>
          </a:p>
        </p:txBody>
      </p:sp>
      <p:grpSp>
        <p:nvGrpSpPr>
          <p:cNvPr id="106" name="Group 105">
            <a:extLst>
              <a:ext uri="{FF2B5EF4-FFF2-40B4-BE49-F238E27FC236}">
                <a16:creationId xmlns:a16="http://schemas.microsoft.com/office/drawing/2014/main" id="{D3F86382-EA7C-C042-8A13-2CDAA129B1CC}"/>
              </a:ext>
            </a:extLst>
          </p:cNvPr>
          <p:cNvGrpSpPr/>
          <p:nvPr/>
        </p:nvGrpSpPr>
        <p:grpSpPr>
          <a:xfrm>
            <a:off x="7766181" y="4719606"/>
            <a:ext cx="392654" cy="388958"/>
            <a:chOff x="9550389" y="-1877079"/>
            <a:chExt cx="1688817" cy="1672922"/>
          </a:xfrm>
        </p:grpSpPr>
        <p:sp>
          <p:nvSpPr>
            <p:cNvPr id="95" name="Rounded Rectangle 94">
              <a:extLst>
                <a:ext uri="{FF2B5EF4-FFF2-40B4-BE49-F238E27FC236}">
                  <a16:creationId xmlns:a16="http://schemas.microsoft.com/office/drawing/2014/main" id="{B5921271-666A-1B4C-AFCE-A96B8ECCA483}"/>
                </a:ext>
              </a:extLst>
            </p:cNvPr>
            <p:cNvSpPr/>
            <p:nvPr/>
          </p:nvSpPr>
          <p:spPr bwMode="auto">
            <a:xfrm>
              <a:off x="9550389" y="-1435192"/>
              <a:ext cx="1231034" cy="1231035"/>
            </a:xfrm>
            <a:prstGeom prst="roundRect">
              <a:avLst>
                <a:gd name="adj" fmla="val 1354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23695ADD-8ED7-8845-BF99-B938594DF0AE}"/>
                </a:ext>
              </a:extLst>
            </p:cNvPr>
            <p:cNvCxnSpPr>
              <a:cxnSpLocks/>
              <a:stCxn id="95" idx="0"/>
              <a:endCxn id="95" idx="2"/>
            </p:cNvCxnSpPr>
            <p:nvPr/>
          </p:nvCxnSpPr>
          <p:spPr>
            <a:xfrm>
              <a:off x="10165906" y="-1435192"/>
              <a:ext cx="0" cy="1231035"/>
            </a:xfrm>
            <a:prstGeom prst="line">
              <a:avLst/>
            </a:prstGeom>
            <a:ln w="12700">
              <a:solidFill>
                <a:schemeClr val="accent1">
                  <a:lumMod val="40000"/>
                  <a:lumOff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20AF07D0-530C-F342-88A2-C883DCBF9B15}"/>
                </a:ext>
              </a:extLst>
            </p:cNvPr>
            <p:cNvCxnSpPr>
              <a:stCxn id="95" idx="1"/>
              <a:endCxn id="95" idx="3"/>
            </p:cNvCxnSpPr>
            <p:nvPr/>
          </p:nvCxnSpPr>
          <p:spPr>
            <a:xfrm>
              <a:off x="9550389" y="-819674"/>
              <a:ext cx="1231034" cy="0"/>
            </a:xfrm>
            <a:prstGeom prst="line">
              <a:avLst/>
            </a:prstGeom>
            <a:ln w="12700">
              <a:solidFill>
                <a:schemeClr val="accent1">
                  <a:lumMod val="40000"/>
                  <a:lumOff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4" name="Teardrop 93">
              <a:extLst>
                <a:ext uri="{FF2B5EF4-FFF2-40B4-BE49-F238E27FC236}">
                  <a16:creationId xmlns:a16="http://schemas.microsoft.com/office/drawing/2014/main" id="{B8FF9F1E-D77E-344F-9FD8-AD7B9C208A16}"/>
                </a:ext>
              </a:extLst>
            </p:cNvPr>
            <p:cNvSpPr/>
            <p:nvPr/>
          </p:nvSpPr>
          <p:spPr bwMode="auto">
            <a:xfrm rot="10800000">
              <a:off x="10184136" y="-1877079"/>
              <a:ext cx="1055070" cy="1055070"/>
            </a:xfrm>
            <a:prstGeom prst="teardrop">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2CE4A691-F156-624A-8ECC-BB9CC04FE14E}"/>
                </a:ext>
              </a:extLst>
            </p:cNvPr>
            <p:cNvGrpSpPr/>
            <p:nvPr/>
          </p:nvGrpSpPr>
          <p:grpSpPr>
            <a:xfrm>
              <a:off x="10335217" y="-1604697"/>
              <a:ext cx="675097" cy="615517"/>
              <a:chOff x="10273507" y="-1596456"/>
              <a:chExt cx="675097" cy="694530"/>
            </a:xfrm>
          </p:grpSpPr>
          <p:sp>
            <p:nvSpPr>
              <p:cNvPr id="102" name="Rectangle 101">
                <a:extLst>
                  <a:ext uri="{FF2B5EF4-FFF2-40B4-BE49-F238E27FC236}">
                    <a16:creationId xmlns:a16="http://schemas.microsoft.com/office/drawing/2014/main" id="{AB6C64B7-276A-3E4F-B382-1078318A777A}"/>
                  </a:ext>
                </a:extLst>
              </p:cNvPr>
              <p:cNvSpPr/>
              <p:nvPr/>
            </p:nvSpPr>
            <p:spPr bwMode="auto">
              <a:xfrm>
                <a:off x="10273507" y="-1323624"/>
                <a:ext cx="145092" cy="4216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ectangle 102">
                <a:extLst>
                  <a:ext uri="{FF2B5EF4-FFF2-40B4-BE49-F238E27FC236}">
                    <a16:creationId xmlns:a16="http://schemas.microsoft.com/office/drawing/2014/main" id="{5887E617-82B3-5242-95CB-CD3D272BB176}"/>
                  </a:ext>
                </a:extLst>
              </p:cNvPr>
              <p:cNvSpPr/>
              <p:nvPr/>
            </p:nvSpPr>
            <p:spPr bwMode="auto">
              <a:xfrm>
                <a:off x="10536356" y="-1596456"/>
                <a:ext cx="145091" cy="6945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a:extLst>
                  <a:ext uri="{FF2B5EF4-FFF2-40B4-BE49-F238E27FC236}">
                    <a16:creationId xmlns:a16="http://schemas.microsoft.com/office/drawing/2014/main" id="{EA7BFE9F-6725-2A4F-B23D-8F9C852D3019}"/>
                  </a:ext>
                </a:extLst>
              </p:cNvPr>
              <p:cNvSpPr/>
              <p:nvPr/>
            </p:nvSpPr>
            <p:spPr bwMode="auto">
              <a:xfrm>
                <a:off x="10803513" y="-1435192"/>
                <a:ext cx="145091" cy="5332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115" name="Elbow Connector 114">
            <a:extLst>
              <a:ext uri="{FF2B5EF4-FFF2-40B4-BE49-F238E27FC236}">
                <a16:creationId xmlns:a16="http://schemas.microsoft.com/office/drawing/2014/main" id="{807E4A30-E75C-6D46-91CA-3ADCA384375D}"/>
              </a:ext>
            </a:extLst>
          </p:cNvPr>
          <p:cNvCxnSpPr>
            <a:cxnSpLocks/>
            <a:stCxn id="27" idx="1"/>
          </p:cNvCxnSpPr>
          <p:nvPr/>
        </p:nvCxnSpPr>
        <p:spPr>
          <a:xfrm rot="10800000" flipV="1">
            <a:off x="8074439" y="4244363"/>
            <a:ext cx="1732898" cy="477772"/>
          </a:xfrm>
          <a:prstGeom prst="bentConnector3">
            <a:avLst>
              <a:gd name="adj1" fmla="val 99663"/>
            </a:avLst>
          </a:prstGeom>
          <a:ln w="12700">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0" name="Elbow Connector 159">
            <a:extLst>
              <a:ext uri="{FF2B5EF4-FFF2-40B4-BE49-F238E27FC236}">
                <a16:creationId xmlns:a16="http://schemas.microsoft.com/office/drawing/2014/main" id="{FC06AF7E-3F01-6348-9616-1F3D9777537A}"/>
              </a:ext>
            </a:extLst>
          </p:cNvPr>
          <p:cNvCxnSpPr>
            <a:cxnSpLocks/>
            <a:stCxn id="4" idx="1"/>
          </p:cNvCxnSpPr>
          <p:nvPr/>
        </p:nvCxnSpPr>
        <p:spPr>
          <a:xfrm rot="10800000" flipV="1">
            <a:off x="7488128" y="3655407"/>
            <a:ext cx="94787" cy="1725708"/>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900646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1AC3C7-034D-4D76-8A4B-7B32534D1BDE}"/>
              </a:ext>
            </a:extLst>
          </p:cNvPr>
          <p:cNvSpPr>
            <a:spLocks noGrp="1"/>
          </p:cNvSpPr>
          <p:nvPr>
            <p:ph type="title"/>
          </p:nvPr>
        </p:nvSpPr>
        <p:spPr>
          <a:xfrm>
            <a:off x="458750" y="320040"/>
            <a:ext cx="11077614" cy="461665"/>
          </a:xfrm>
        </p:spPr>
        <p:txBody>
          <a:bodyPr/>
          <a:lstStyle/>
          <a:p>
            <a:r>
              <a:rPr lang="en-US" dirty="0"/>
              <a:t>High Availability - Business Critical</a:t>
            </a:r>
          </a:p>
        </p:txBody>
      </p:sp>
      <p:graphicFrame>
        <p:nvGraphicFramePr>
          <p:cNvPr id="99" name="Content Placeholder 98">
            <a:extLst>
              <a:ext uri="{FF2B5EF4-FFF2-40B4-BE49-F238E27FC236}">
                <a16:creationId xmlns:a16="http://schemas.microsoft.com/office/drawing/2014/main" id="{3A9774A9-2F24-4E8B-A5B4-9A9E05979F49}"/>
              </a:ext>
            </a:extLst>
          </p:cNvPr>
          <p:cNvGraphicFramePr>
            <a:graphicFrameLocks noGrp="1"/>
          </p:cNvGraphicFramePr>
          <p:nvPr>
            <p:ph sz="quarter" idx="13"/>
            <p:extLst>
              <p:ext uri="{D42A27DB-BD31-4B8C-83A1-F6EECF244321}">
                <p14:modId xmlns:p14="http://schemas.microsoft.com/office/powerpoint/2010/main" val="3460177025"/>
              </p:ext>
            </p:extLst>
          </p:nvPr>
        </p:nvGraphicFramePr>
        <p:xfrm>
          <a:off x="458749" y="1116547"/>
          <a:ext cx="5942048"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 name="Group 6">
            <a:extLst>
              <a:ext uri="{FF2B5EF4-FFF2-40B4-BE49-F238E27FC236}">
                <a16:creationId xmlns:a16="http://schemas.microsoft.com/office/drawing/2014/main" id="{34ED0713-1E51-7A28-B4D1-EBF32E8F5472}"/>
              </a:ext>
            </a:extLst>
          </p:cNvPr>
          <p:cNvGrpSpPr/>
          <p:nvPr/>
        </p:nvGrpSpPr>
        <p:grpSpPr>
          <a:xfrm>
            <a:off x="6705600" y="1371600"/>
            <a:ext cx="5020045" cy="4393773"/>
            <a:chOff x="6447009" y="1330963"/>
            <a:chExt cx="5020045" cy="4393773"/>
          </a:xfrm>
        </p:grpSpPr>
        <p:sp>
          <p:nvSpPr>
            <p:cNvPr id="8" name="Oval 7">
              <a:extLst>
                <a:ext uri="{FF2B5EF4-FFF2-40B4-BE49-F238E27FC236}">
                  <a16:creationId xmlns:a16="http://schemas.microsoft.com/office/drawing/2014/main" id="{5B4857C0-73AE-18E7-2E34-CFFE5E37C1CF}"/>
                </a:ext>
              </a:extLst>
            </p:cNvPr>
            <p:cNvSpPr/>
            <p:nvPr/>
          </p:nvSpPr>
          <p:spPr bwMode="auto">
            <a:xfrm>
              <a:off x="7948365" y="2774687"/>
              <a:ext cx="2980967" cy="1659672"/>
            </a:xfrm>
            <a:prstGeom prst="ellipse">
              <a:avLst/>
            </a:prstGeom>
            <a:noFill/>
            <a:ln w="1270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1CA87296-60F0-E95B-8CA0-B4F27D1356D9}"/>
                </a:ext>
              </a:extLst>
            </p:cNvPr>
            <p:cNvSpPr/>
            <p:nvPr/>
          </p:nvSpPr>
          <p:spPr bwMode="auto">
            <a:xfrm>
              <a:off x="7352825" y="5067012"/>
              <a:ext cx="4114229" cy="657723"/>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9CCD4C33-FB46-AF92-5968-BAE814D5CBE1}"/>
                </a:ext>
              </a:extLst>
            </p:cNvPr>
            <p:cNvSpPr txBox="1"/>
            <p:nvPr/>
          </p:nvSpPr>
          <p:spPr>
            <a:xfrm>
              <a:off x="7385924" y="1330963"/>
              <a:ext cx="966996"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mn-cs"/>
                </a:rPr>
                <a:t>Azure Region</a:t>
              </a:r>
            </a:p>
          </p:txBody>
        </p:sp>
        <p:sp>
          <p:nvSpPr>
            <p:cNvPr id="11" name="TextBox 10">
              <a:extLst>
                <a:ext uri="{FF2B5EF4-FFF2-40B4-BE49-F238E27FC236}">
                  <a16:creationId xmlns:a16="http://schemas.microsoft.com/office/drawing/2014/main" id="{049A0D69-2B22-3EF5-47A3-B09EF8BD13AF}"/>
                </a:ext>
              </a:extLst>
            </p:cNvPr>
            <p:cNvSpPr txBox="1"/>
            <p:nvPr/>
          </p:nvSpPr>
          <p:spPr>
            <a:xfrm>
              <a:off x="6447009" y="1835684"/>
              <a:ext cx="64120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Application</a:t>
              </a:r>
            </a:p>
          </p:txBody>
        </p:sp>
        <p:sp>
          <p:nvSpPr>
            <p:cNvPr id="12" name="TextBox 11">
              <a:extLst>
                <a:ext uri="{FF2B5EF4-FFF2-40B4-BE49-F238E27FC236}">
                  <a16:creationId xmlns:a16="http://schemas.microsoft.com/office/drawing/2014/main" id="{88165534-5A0E-9E90-690B-4008FE66A355}"/>
                </a:ext>
              </a:extLst>
            </p:cNvPr>
            <p:cNvSpPr txBox="1"/>
            <p:nvPr/>
          </p:nvSpPr>
          <p:spPr>
            <a:xfrm>
              <a:off x="7433237" y="3629491"/>
              <a:ext cx="466474"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Primary </a:t>
              </a:r>
              <a:br>
                <a:rPr kumimoji="0" lang="en-US" sz="1000" b="0" i="0" u="none" strike="noStrike" kern="1200" cap="none" spc="0" normalizeH="0" baseline="0" noProof="0">
                  <a:ln>
                    <a:noFill/>
                  </a:ln>
                  <a:solidFill>
                    <a:srgbClr val="000000"/>
                  </a:solidFill>
                  <a:effectLst/>
                  <a:uLnTx/>
                  <a:uFillTx/>
                  <a:latin typeface="Segoe UI"/>
                  <a:ea typeface="+mn-ea"/>
                  <a:cs typeface="+mn-cs"/>
                </a:rPr>
              </a:br>
              <a:r>
                <a:rPr kumimoji="0" lang="en-US" sz="1000" b="0" i="0" u="none" strike="noStrike" kern="1200" cap="none" spc="0" normalizeH="0" baseline="0" noProof="0">
                  <a:ln>
                    <a:noFill/>
                  </a:ln>
                  <a:solidFill>
                    <a:srgbClr val="000000"/>
                  </a:solidFill>
                  <a:effectLst/>
                  <a:uLnTx/>
                  <a:uFillTx/>
                  <a:latin typeface="Segoe UI"/>
                  <a:ea typeface="+mn-ea"/>
                  <a:cs typeface="+mn-cs"/>
                </a:rPr>
                <a:t>Replica</a:t>
              </a:r>
            </a:p>
          </p:txBody>
        </p:sp>
        <p:sp>
          <p:nvSpPr>
            <p:cNvPr id="13" name="Rectangle 12">
              <a:extLst>
                <a:ext uri="{FF2B5EF4-FFF2-40B4-BE49-F238E27FC236}">
                  <a16:creationId xmlns:a16="http://schemas.microsoft.com/office/drawing/2014/main" id="{CA72371E-3326-13F0-0F2C-AAB3E346E8E8}"/>
                </a:ext>
              </a:extLst>
            </p:cNvPr>
            <p:cNvSpPr/>
            <p:nvPr/>
          </p:nvSpPr>
          <p:spPr bwMode="auto">
            <a:xfrm>
              <a:off x="7744414" y="4136772"/>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SSD, data, log</a:t>
              </a:r>
            </a:p>
          </p:txBody>
        </p:sp>
        <p:sp>
          <p:nvSpPr>
            <p:cNvPr id="14" name="Rectangle 13">
              <a:extLst>
                <a:ext uri="{FF2B5EF4-FFF2-40B4-BE49-F238E27FC236}">
                  <a16:creationId xmlns:a16="http://schemas.microsoft.com/office/drawing/2014/main" id="{B33817A0-1B7D-A096-9296-78CDFA43E65E}"/>
                </a:ext>
              </a:extLst>
            </p:cNvPr>
            <p:cNvSpPr/>
            <p:nvPr/>
          </p:nvSpPr>
          <p:spPr bwMode="auto">
            <a:xfrm>
              <a:off x="9671309" y="4567718"/>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SD, data, log</a:t>
              </a:r>
            </a:p>
          </p:txBody>
        </p:sp>
        <p:pic>
          <p:nvPicPr>
            <p:cNvPr id="15" name="Graphic 14">
              <a:extLst>
                <a:ext uri="{FF2B5EF4-FFF2-40B4-BE49-F238E27FC236}">
                  <a16:creationId xmlns:a16="http://schemas.microsoft.com/office/drawing/2014/main" id="{97A12BEA-1FAB-5490-FA3A-32F906C95F9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934483" y="3719931"/>
              <a:ext cx="467684" cy="467684"/>
            </a:xfrm>
            <a:prstGeom prst="rect">
              <a:avLst/>
            </a:prstGeom>
          </p:spPr>
        </p:pic>
        <p:pic>
          <p:nvPicPr>
            <p:cNvPr id="16" name="Graphic 15">
              <a:extLst>
                <a:ext uri="{FF2B5EF4-FFF2-40B4-BE49-F238E27FC236}">
                  <a16:creationId xmlns:a16="http://schemas.microsoft.com/office/drawing/2014/main" id="{97694FA3-9940-2B58-C3DE-001090AA9CD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896275" y="4143657"/>
              <a:ext cx="467684" cy="467684"/>
            </a:xfrm>
            <a:prstGeom prst="rect">
              <a:avLst/>
            </a:prstGeom>
          </p:spPr>
        </p:pic>
        <p:grpSp>
          <p:nvGrpSpPr>
            <p:cNvPr id="17" name="Group 16">
              <a:extLst>
                <a:ext uri="{FF2B5EF4-FFF2-40B4-BE49-F238E27FC236}">
                  <a16:creationId xmlns:a16="http://schemas.microsoft.com/office/drawing/2014/main" id="{D3A4311F-3410-3E43-9FC4-312A8D428C42}"/>
                </a:ext>
              </a:extLst>
            </p:cNvPr>
            <p:cNvGrpSpPr/>
            <p:nvPr/>
          </p:nvGrpSpPr>
          <p:grpSpPr>
            <a:xfrm>
              <a:off x="7559367" y="5191611"/>
              <a:ext cx="342403" cy="409614"/>
              <a:chOff x="6191877" y="4806490"/>
              <a:chExt cx="413768" cy="494987"/>
            </a:xfrm>
          </p:grpSpPr>
          <p:grpSp>
            <p:nvGrpSpPr>
              <p:cNvPr id="73" name="Group 72">
                <a:extLst>
                  <a:ext uri="{FF2B5EF4-FFF2-40B4-BE49-F238E27FC236}">
                    <a16:creationId xmlns:a16="http://schemas.microsoft.com/office/drawing/2014/main" id="{3CD4340E-9B5F-BB56-1444-175C66A8C733}"/>
                  </a:ext>
                </a:extLst>
              </p:cNvPr>
              <p:cNvGrpSpPr/>
              <p:nvPr/>
            </p:nvGrpSpPr>
            <p:grpSpPr>
              <a:xfrm>
                <a:off x="6191877" y="4806490"/>
                <a:ext cx="293717" cy="359549"/>
                <a:chOff x="965200" y="3436897"/>
                <a:chExt cx="528881" cy="647424"/>
              </a:xfrm>
            </p:grpSpPr>
            <p:grpSp>
              <p:nvGrpSpPr>
                <p:cNvPr id="82" name="Group 81">
                  <a:extLst>
                    <a:ext uri="{FF2B5EF4-FFF2-40B4-BE49-F238E27FC236}">
                      <a16:creationId xmlns:a16="http://schemas.microsoft.com/office/drawing/2014/main" id="{69718463-F5E5-2158-99E6-667FE8B8C4FF}"/>
                    </a:ext>
                  </a:extLst>
                </p:cNvPr>
                <p:cNvGrpSpPr/>
                <p:nvPr/>
              </p:nvGrpSpPr>
              <p:grpSpPr>
                <a:xfrm flipH="1">
                  <a:off x="965200" y="3436897"/>
                  <a:ext cx="528881" cy="647424"/>
                  <a:chOff x="3003960" y="3685414"/>
                  <a:chExt cx="403310" cy="493707"/>
                </a:xfrm>
              </p:grpSpPr>
              <p:sp>
                <p:nvSpPr>
                  <p:cNvPr id="87" name="Snip Single Corner Rectangle 26">
                    <a:extLst>
                      <a:ext uri="{FF2B5EF4-FFF2-40B4-BE49-F238E27FC236}">
                        <a16:creationId xmlns:a16="http://schemas.microsoft.com/office/drawing/2014/main" id="{910A5619-E7B6-3540-7D07-1A367C95A754}"/>
                      </a:ext>
                    </a:extLst>
                  </p:cNvPr>
                  <p:cNvSpPr/>
                  <p:nvPr/>
                </p:nvSpPr>
                <p:spPr bwMode="auto">
                  <a:xfrm flipH="1">
                    <a:off x="3003960" y="3685414"/>
                    <a:ext cx="403310" cy="493707"/>
                  </a:xfrm>
                  <a:prstGeom prst="snip1Rect">
                    <a:avLst>
                      <a:gd name="adj" fmla="val 28736"/>
                    </a:avLst>
                  </a:prstGeom>
                  <a:solidFill>
                    <a:schemeClr val="accent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Triangle 27">
                    <a:extLst>
                      <a:ext uri="{FF2B5EF4-FFF2-40B4-BE49-F238E27FC236}">
                        <a16:creationId xmlns:a16="http://schemas.microsoft.com/office/drawing/2014/main" id="{07237229-CD64-F92B-A0F8-132CE0A9009C}"/>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83" name="Straight Connector 82">
                  <a:extLst>
                    <a:ext uri="{FF2B5EF4-FFF2-40B4-BE49-F238E27FC236}">
                      <a16:creationId xmlns:a16="http://schemas.microsoft.com/office/drawing/2014/main" id="{10DB5E86-6868-9ED6-9EF8-592D1A457732}"/>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4E3FC49-7D8C-FF41-6ADD-E9DA93E062D1}"/>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751A4A09-72B6-55C1-5145-A4497F274960}"/>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F7AF162F-1BC5-4CC8-9719-2760C8013D97}"/>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196215A3-58AA-C129-6CCA-C587525BB3B1}"/>
                  </a:ext>
                </a:extLst>
              </p:cNvPr>
              <p:cNvGrpSpPr/>
              <p:nvPr/>
            </p:nvGrpSpPr>
            <p:grpSpPr>
              <a:xfrm>
                <a:off x="6311928" y="4941928"/>
                <a:ext cx="293717" cy="359549"/>
                <a:chOff x="965200" y="3436897"/>
                <a:chExt cx="528881" cy="647424"/>
              </a:xfrm>
            </p:grpSpPr>
            <p:grpSp>
              <p:nvGrpSpPr>
                <p:cNvPr id="75" name="Group 74">
                  <a:extLst>
                    <a:ext uri="{FF2B5EF4-FFF2-40B4-BE49-F238E27FC236}">
                      <a16:creationId xmlns:a16="http://schemas.microsoft.com/office/drawing/2014/main" id="{011A82ED-6415-2B6F-0A95-D4C78E480BA5}"/>
                    </a:ext>
                  </a:extLst>
                </p:cNvPr>
                <p:cNvGrpSpPr/>
                <p:nvPr/>
              </p:nvGrpSpPr>
              <p:grpSpPr>
                <a:xfrm flipH="1">
                  <a:off x="965200" y="3436897"/>
                  <a:ext cx="528881" cy="647424"/>
                  <a:chOff x="3003960" y="3685414"/>
                  <a:chExt cx="403310" cy="493707"/>
                </a:xfrm>
              </p:grpSpPr>
              <p:sp>
                <p:nvSpPr>
                  <p:cNvPr id="80" name="Snip Single Corner Rectangle 26">
                    <a:extLst>
                      <a:ext uri="{FF2B5EF4-FFF2-40B4-BE49-F238E27FC236}">
                        <a16:creationId xmlns:a16="http://schemas.microsoft.com/office/drawing/2014/main" id="{C6E45EB1-2E8A-290B-E2BC-C0BD1B2F470F}"/>
                      </a:ext>
                    </a:extLst>
                  </p:cNvPr>
                  <p:cNvSpPr/>
                  <p:nvPr/>
                </p:nvSpPr>
                <p:spPr bwMode="auto">
                  <a:xfrm flipH="1">
                    <a:off x="3003960" y="3685414"/>
                    <a:ext cx="403310" cy="493707"/>
                  </a:xfrm>
                  <a:prstGeom prst="snip1Rect">
                    <a:avLst>
                      <a:gd name="adj" fmla="val 28736"/>
                    </a:avLst>
                  </a:prstGeom>
                  <a:solidFill>
                    <a:schemeClr val="accent1"/>
                  </a:solidFill>
                  <a:ln w="12700">
                    <a:solidFill>
                      <a:schemeClr val="accent1">
                        <a:lumMod val="20000"/>
                        <a:lumOff val="8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riangle 27">
                    <a:extLst>
                      <a:ext uri="{FF2B5EF4-FFF2-40B4-BE49-F238E27FC236}">
                        <a16:creationId xmlns:a16="http://schemas.microsoft.com/office/drawing/2014/main" id="{1DD91A36-7EF6-4615-A435-A1217B360232}"/>
                      </a:ext>
                    </a:extLst>
                  </p:cNvPr>
                  <p:cNvSpPr/>
                  <p:nvPr/>
                </p:nvSpPr>
                <p:spPr bwMode="auto">
                  <a:xfrm rot="8100000">
                    <a:off x="3012552" y="3733609"/>
                    <a:ext cx="160049" cy="80930"/>
                  </a:xfrm>
                  <a:prstGeom prst="triangle">
                    <a:avLst/>
                  </a:prstGeom>
                  <a:solidFill>
                    <a:schemeClr val="tx1"/>
                  </a:solidFill>
                  <a:ln w="12700">
                    <a:no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76" name="Straight Connector 75">
                  <a:extLst>
                    <a:ext uri="{FF2B5EF4-FFF2-40B4-BE49-F238E27FC236}">
                      <a16:creationId xmlns:a16="http://schemas.microsoft.com/office/drawing/2014/main" id="{78E67E28-649B-6C80-FB19-B7026EAC4542}"/>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4FC1A118-EB0A-EDD5-A67B-61529BAA2405}"/>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0065528-6433-A166-B860-AEB1209B437D}"/>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5CB682C-AB95-EDC9-6C7A-A4D3F27E48BF}"/>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8" name="Group 17">
              <a:extLst>
                <a:ext uri="{FF2B5EF4-FFF2-40B4-BE49-F238E27FC236}">
                  <a16:creationId xmlns:a16="http://schemas.microsoft.com/office/drawing/2014/main" id="{E3D5043F-8416-8E7A-B898-011571D111D5}"/>
                </a:ext>
              </a:extLst>
            </p:cNvPr>
            <p:cNvGrpSpPr/>
            <p:nvPr/>
          </p:nvGrpSpPr>
          <p:grpSpPr>
            <a:xfrm>
              <a:off x="6568914" y="2016909"/>
              <a:ext cx="399480" cy="383886"/>
              <a:chOff x="6069106" y="2256333"/>
              <a:chExt cx="479511" cy="460793"/>
            </a:xfrm>
          </p:grpSpPr>
          <p:sp>
            <p:nvSpPr>
              <p:cNvPr id="68" name="Rounded Rectangle 58">
                <a:extLst>
                  <a:ext uri="{FF2B5EF4-FFF2-40B4-BE49-F238E27FC236}">
                    <a16:creationId xmlns:a16="http://schemas.microsoft.com/office/drawing/2014/main" id="{8E226865-76C1-3E6B-AC31-02D6DF693FAB}"/>
                  </a:ext>
                </a:extLst>
              </p:cNvPr>
              <p:cNvSpPr/>
              <p:nvPr/>
            </p:nvSpPr>
            <p:spPr bwMode="auto">
              <a:xfrm>
                <a:off x="6096000" y="2283228"/>
                <a:ext cx="433898" cy="433898"/>
              </a:xfrm>
              <a:prstGeom prst="roundRect">
                <a:avLst>
                  <a:gd name="adj" fmla="val 823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80901DEB-9EB3-D3F9-2170-88EE9F59D684}"/>
                  </a:ext>
                </a:extLst>
              </p:cNvPr>
              <p:cNvCxnSpPr/>
              <p:nvPr/>
            </p:nvCxnSpPr>
            <p:spPr>
              <a:xfrm>
                <a:off x="6237722"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4995636D-E159-92E4-3EF5-C7958849F6BD}"/>
                  </a:ext>
                </a:extLst>
              </p:cNvPr>
              <p:cNvCxnSpPr/>
              <p:nvPr/>
            </p:nvCxnSpPr>
            <p:spPr>
              <a:xfrm>
                <a:off x="6393170" y="2256333"/>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CC15A0C-6E94-F8F6-7576-D908032A7D33}"/>
                  </a:ext>
                </a:extLst>
              </p:cNvPr>
              <p:cNvCxnSpPr>
                <a:cxnSpLocks/>
              </p:cNvCxnSpPr>
              <p:nvPr/>
            </p:nvCxnSpPr>
            <p:spPr>
              <a:xfrm rot="16200000">
                <a:off x="6318221" y="2189127"/>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E2D2D954-4F0F-FA75-DE44-B703DDF26980}"/>
                  </a:ext>
                </a:extLst>
              </p:cNvPr>
              <p:cNvCxnSpPr>
                <a:cxnSpLocks/>
              </p:cNvCxnSpPr>
              <p:nvPr/>
            </p:nvCxnSpPr>
            <p:spPr>
              <a:xfrm rot="16200000">
                <a:off x="6299503" y="2339390"/>
                <a:ext cx="0" cy="460793"/>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6B42F1A0-143E-8644-6A7E-642EFF1900BA}"/>
                </a:ext>
              </a:extLst>
            </p:cNvPr>
            <p:cNvSpPr txBox="1"/>
            <p:nvPr/>
          </p:nvSpPr>
          <p:spPr>
            <a:xfrm>
              <a:off x="7994415" y="5311528"/>
              <a:ext cx="410369"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Backup</a:t>
              </a:r>
              <a:br>
                <a:rPr kumimoji="0" lang="en-US" sz="1000" b="0" i="0" u="none" strike="noStrike" kern="1200" cap="none" spc="0" normalizeH="0" baseline="0" noProof="0">
                  <a:ln>
                    <a:noFill/>
                  </a:ln>
                  <a:solidFill>
                    <a:srgbClr val="000000"/>
                  </a:solidFill>
                  <a:effectLst/>
                  <a:uLnTx/>
                  <a:uFillTx/>
                  <a:latin typeface="Segoe UI"/>
                  <a:ea typeface="+mn-ea"/>
                  <a:cs typeface="+mn-cs"/>
                </a:rPr>
              </a:br>
              <a:r>
                <a:rPr kumimoji="0" lang="en-US" sz="1000" b="0" i="0" u="none" strike="noStrike" kern="1200" cap="none" spc="0" normalizeH="0" baseline="0" noProof="0">
                  <a:ln>
                    <a:noFill/>
                  </a:ln>
                  <a:solidFill>
                    <a:srgbClr val="000000"/>
                  </a:solidFill>
                  <a:effectLst/>
                  <a:uLnTx/>
                  <a:uFillTx/>
                  <a:latin typeface="Segoe UI"/>
                  <a:ea typeface="+mn-ea"/>
                  <a:cs typeface="+mn-cs"/>
                </a:rPr>
                <a:t>files</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Rectangle 19">
              <a:extLst>
                <a:ext uri="{FF2B5EF4-FFF2-40B4-BE49-F238E27FC236}">
                  <a16:creationId xmlns:a16="http://schemas.microsoft.com/office/drawing/2014/main" id="{2B554811-2E40-5D05-D885-501B265345E1}"/>
                </a:ext>
              </a:extLst>
            </p:cNvPr>
            <p:cNvSpPr/>
            <p:nvPr/>
          </p:nvSpPr>
          <p:spPr bwMode="auto">
            <a:xfrm>
              <a:off x="7352825" y="1573070"/>
              <a:ext cx="4114229" cy="4151666"/>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1" name="Straight Arrow Connector 20">
              <a:extLst>
                <a:ext uri="{FF2B5EF4-FFF2-40B4-BE49-F238E27FC236}">
                  <a16:creationId xmlns:a16="http://schemas.microsoft.com/office/drawing/2014/main" id="{5CBEB89A-66C9-DEF2-4903-999DEED66E47}"/>
                </a:ext>
              </a:extLst>
            </p:cNvPr>
            <p:cNvCxnSpPr/>
            <p:nvPr/>
          </p:nvCxnSpPr>
          <p:spPr>
            <a:xfrm>
              <a:off x="6936310" y="2171929"/>
              <a:ext cx="1511875"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80">
              <a:extLst>
                <a:ext uri="{FF2B5EF4-FFF2-40B4-BE49-F238E27FC236}">
                  <a16:creationId xmlns:a16="http://schemas.microsoft.com/office/drawing/2014/main" id="{41BB649F-8E73-1C7B-9392-3342AF3FDEB5}"/>
                </a:ext>
              </a:extLst>
            </p:cNvPr>
            <p:cNvCxnSpPr>
              <a:stCxn id="68" idx="2"/>
              <a:endCxn id="15" idx="1"/>
            </p:cNvCxnSpPr>
            <p:nvPr/>
          </p:nvCxnSpPr>
          <p:spPr>
            <a:xfrm rot="16200000" flipH="1">
              <a:off x="6576782" y="2596072"/>
              <a:ext cx="1552978" cy="1162424"/>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82">
              <a:extLst>
                <a:ext uri="{FF2B5EF4-FFF2-40B4-BE49-F238E27FC236}">
                  <a16:creationId xmlns:a16="http://schemas.microsoft.com/office/drawing/2014/main" id="{595E80DD-5ADA-0EC1-5E30-6A2341190421}"/>
                </a:ext>
              </a:extLst>
            </p:cNvPr>
            <p:cNvCxnSpPr>
              <a:cxnSpLocks/>
              <a:stCxn id="15" idx="3"/>
              <a:endCxn id="16" idx="0"/>
            </p:cNvCxnSpPr>
            <p:nvPr/>
          </p:nvCxnSpPr>
          <p:spPr>
            <a:xfrm>
              <a:off x="8402167" y="3953773"/>
              <a:ext cx="1727950" cy="189884"/>
            </a:xfrm>
            <a:prstGeom prst="bentConnector2">
              <a:avLst/>
            </a:prstGeom>
            <a:ln w="12700">
              <a:solidFill>
                <a:srgbClr val="C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B87C606-A190-0035-D834-7E7A86BEC258}"/>
                </a:ext>
              </a:extLst>
            </p:cNvPr>
            <p:cNvSpPr txBox="1"/>
            <p:nvPr/>
          </p:nvSpPr>
          <p:spPr>
            <a:xfrm>
              <a:off x="8905581" y="4013499"/>
              <a:ext cx="43762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rPr>
                <a:t>Failover</a:t>
              </a:r>
            </a:p>
          </p:txBody>
        </p:sp>
        <p:sp>
          <p:nvSpPr>
            <p:cNvPr id="25" name="TextBox 24">
              <a:extLst>
                <a:ext uri="{FF2B5EF4-FFF2-40B4-BE49-F238E27FC236}">
                  <a16:creationId xmlns:a16="http://schemas.microsoft.com/office/drawing/2014/main" id="{BF192189-9BED-BCEA-EE6A-7CBE684E7711}"/>
                </a:ext>
              </a:extLst>
            </p:cNvPr>
            <p:cNvSpPr txBox="1"/>
            <p:nvPr/>
          </p:nvSpPr>
          <p:spPr>
            <a:xfrm>
              <a:off x="10493005" y="4227712"/>
              <a:ext cx="866747" cy="3048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Secondary Replica</a:t>
              </a:r>
            </a:p>
          </p:txBody>
        </p:sp>
        <p:sp>
          <p:nvSpPr>
            <p:cNvPr id="26" name="Rectangle 25">
              <a:extLst>
                <a:ext uri="{FF2B5EF4-FFF2-40B4-BE49-F238E27FC236}">
                  <a16:creationId xmlns:a16="http://schemas.microsoft.com/office/drawing/2014/main" id="{15E3C6D9-422B-94EE-55DD-D0278039A041}"/>
                </a:ext>
              </a:extLst>
            </p:cNvPr>
            <p:cNvSpPr/>
            <p:nvPr/>
          </p:nvSpPr>
          <p:spPr bwMode="auto">
            <a:xfrm>
              <a:off x="9815688" y="3093541"/>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SSD, data, log</a:t>
              </a:r>
            </a:p>
          </p:txBody>
        </p:sp>
        <p:pic>
          <p:nvPicPr>
            <p:cNvPr id="27" name="Graphic 26">
              <a:extLst>
                <a:ext uri="{FF2B5EF4-FFF2-40B4-BE49-F238E27FC236}">
                  <a16:creationId xmlns:a16="http://schemas.microsoft.com/office/drawing/2014/main" id="{E556DB4F-30F7-0AC3-A362-589F91539D9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40654" y="2669480"/>
              <a:ext cx="467684" cy="467684"/>
            </a:xfrm>
            <a:prstGeom prst="rect">
              <a:avLst/>
            </a:prstGeom>
          </p:spPr>
        </p:pic>
        <p:sp>
          <p:nvSpPr>
            <p:cNvPr id="28" name="TextBox 27">
              <a:extLst>
                <a:ext uri="{FF2B5EF4-FFF2-40B4-BE49-F238E27FC236}">
                  <a16:creationId xmlns:a16="http://schemas.microsoft.com/office/drawing/2014/main" id="{3C728A69-0338-A5F3-6EE2-10ADEE3B839E}"/>
                </a:ext>
              </a:extLst>
            </p:cNvPr>
            <p:cNvSpPr txBox="1"/>
            <p:nvPr/>
          </p:nvSpPr>
          <p:spPr>
            <a:xfrm>
              <a:off x="10577977" y="2661843"/>
              <a:ext cx="866747" cy="3048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Secondary Replica</a:t>
              </a:r>
            </a:p>
          </p:txBody>
        </p:sp>
        <p:sp>
          <p:nvSpPr>
            <p:cNvPr id="29" name="Rectangle 28">
              <a:extLst>
                <a:ext uri="{FF2B5EF4-FFF2-40B4-BE49-F238E27FC236}">
                  <a16:creationId xmlns:a16="http://schemas.microsoft.com/office/drawing/2014/main" id="{253984EE-B9C3-79E6-8B9B-5E10B940B832}"/>
                </a:ext>
              </a:extLst>
            </p:cNvPr>
            <p:cNvSpPr/>
            <p:nvPr/>
          </p:nvSpPr>
          <p:spPr bwMode="auto">
            <a:xfrm>
              <a:off x="8513261" y="3045414"/>
              <a:ext cx="871227" cy="3921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SSD, data, log</a:t>
              </a:r>
            </a:p>
          </p:txBody>
        </p:sp>
        <p:pic>
          <p:nvPicPr>
            <p:cNvPr id="30" name="Graphic 29">
              <a:extLst>
                <a:ext uri="{FF2B5EF4-FFF2-40B4-BE49-F238E27FC236}">
                  <a16:creationId xmlns:a16="http://schemas.microsoft.com/office/drawing/2014/main" id="{7BBF463F-6171-D7E1-259E-3CE28C681A7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38227" y="2621353"/>
              <a:ext cx="467684" cy="467684"/>
            </a:xfrm>
            <a:prstGeom prst="rect">
              <a:avLst/>
            </a:prstGeom>
          </p:spPr>
        </p:pic>
        <p:grpSp>
          <p:nvGrpSpPr>
            <p:cNvPr id="31" name="Group 30">
              <a:extLst>
                <a:ext uri="{FF2B5EF4-FFF2-40B4-BE49-F238E27FC236}">
                  <a16:creationId xmlns:a16="http://schemas.microsoft.com/office/drawing/2014/main" id="{DA7E50F3-9061-18F7-CDBB-A2C0F2B009F5}"/>
                </a:ext>
              </a:extLst>
            </p:cNvPr>
            <p:cNvGrpSpPr/>
            <p:nvPr/>
          </p:nvGrpSpPr>
          <p:grpSpPr>
            <a:xfrm>
              <a:off x="8353788" y="1656103"/>
              <a:ext cx="1934350" cy="801460"/>
              <a:chOff x="8335500" y="1674391"/>
              <a:chExt cx="1934350" cy="801460"/>
            </a:xfrm>
          </p:grpSpPr>
          <p:sp>
            <p:nvSpPr>
              <p:cNvPr id="40" name="Oval 39">
                <a:extLst>
                  <a:ext uri="{FF2B5EF4-FFF2-40B4-BE49-F238E27FC236}">
                    <a16:creationId xmlns:a16="http://schemas.microsoft.com/office/drawing/2014/main" id="{C4667F19-241B-1374-D376-AF42246594DB}"/>
                  </a:ext>
                </a:extLst>
              </p:cNvPr>
              <p:cNvSpPr/>
              <p:nvPr/>
            </p:nvSpPr>
            <p:spPr bwMode="auto">
              <a:xfrm>
                <a:off x="8439695" y="1924376"/>
                <a:ext cx="1803930" cy="532629"/>
              </a:xfrm>
              <a:prstGeom prst="ellipse">
                <a:avLst/>
              </a:prstGeom>
              <a:noFill/>
              <a:ln w="19050" cap="rnd">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8CC4CBEB-E404-010B-6773-9B0A5D55DA85}"/>
                  </a:ext>
                </a:extLst>
              </p:cNvPr>
              <p:cNvSpPr/>
              <p:nvPr/>
            </p:nvSpPr>
            <p:spPr bwMode="auto">
              <a:xfrm>
                <a:off x="8439696" y="1999301"/>
                <a:ext cx="1830154" cy="4765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7682D34C-1CC0-DC19-A08C-05CBEAEF3166}"/>
                  </a:ext>
                </a:extLst>
              </p:cNvPr>
              <p:cNvSpPr/>
              <p:nvPr/>
            </p:nvSpPr>
            <p:spPr bwMode="auto">
              <a:xfrm>
                <a:off x="8445939" y="1916082"/>
                <a:ext cx="1803930" cy="532629"/>
              </a:xfrm>
              <a:prstGeom prst="ellipse">
                <a:avLst/>
              </a:prstGeom>
              <a:noFill/>
              <a:ln w="28575"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TextBox 42">
                <a:extLst>
                  <a:ext uri="{FF2B5EF4-FFF2-40B4-BE49-F238E27FC236}">
                    <a16:creationId xmlns:a16="http://schemas.microsoft.com/office/drawing/2014/main" id="{3363D893-E35D-AD0A-F3BC-AC32C5AD8E96}"/>
                  </a:ext>
                </a:extLst>
              </p:cNvPr>
              <p:cNvSpPr txBox="1"/>
              <p:nvPr/>
            </p:nvSpPr>
            <p:spPr>
              <a:xfrm>
                <a:off x="8335500" y="1754994"/>
                <a:ext cx="20839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W</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TextBox 43">
                <a:extLst>
                  <a:ext uri="{FF2B5EF4-FFF2-40B4-BE49-F238E27FC236}">
                    <a16:creationId xmlns:a16="http://schemas.microsoft.com/office/drawing/2014/main" id="{1DB14628-382F-2FEE-8B47-3239CD1C6F66}"/>
                  </a:ext>
                </a:extLst>
              </p:cNvPr>
              <p:cNvSpPr txBox="1"/>
              <p:nvPr/>
            </p:nvSpPr>
            <p:spPr>
              <a:xfrm>
                <a:off x="8880939" y="1674391"/>
                <a:ext cx="20839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W</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TextBox 44">
                <a:extLst>
                  <a:ext uri="{FF2B5EF4-FFF2-40B4-BE49-F238E27FC236}">
                    <a16:creationId xmlns:a16="http://schemas.microsoft.com/office/drawing/2014/main" id="{E5B20072-68B7-C340-CB1F-9A1D62A517B5}"/>
                  </a:ext>
                </a:extLst>
              </p:cNvPr>
              <p:cNvSpPr txBox="1"/>
              <p:nvPr/>
            </p:nvSpPr>
            <p:spPr>
              <a:xfrm>
                <a:off x="9531416" y="1742095"/>
                <a:ext cx="208390"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W</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335EDB35-0085-CAE1-E17C-DDF47CDDCA8D}"/>
                  </a:ext>
                </a:extLst>
              </p:cNvPr>
              <p:cNvSpPr txBox="1"/>
              <p:nvPr/>
            </p:nvSpPr>
            <p:spPr>
              <a:xfrm>
                <a:off x="9007830" y="2160492"/>
                <a:ext cx="711733"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Control Ring</a:t>
                </a:r>
              </a:p>
            </p:txBody>
          </p:sp>
          <p:grpSp>
            <p:nvGrpSpPr>
              <p:cNvPr id="47" name="Group 46">
                <a:extLst>
                  <a:ext uri="{FF2B5EF4-FFF2-40B4-BE49-F238E27FC236}">
                    <a16:creationId xmlns:a16="http://schemas.microsoft.com/office/drawing/2014/main" id="{276F1F3F-12EF-8220-54B0-45F0297323ED}"/>
                  </a:ext>
                </a:extLst>
              </p:cNvPr>
              <p:cNvGrpSpPr/>
              <p:nvPr/>
            </p:nvGrpSpPr>
            <p:grpSpPr>
              <a:xfrm>
                <a:off x="8539400" y="1855338"/>
                <a:ext cx="241171" cy="250651"/>
                <a:chOff x="13071009" y="3404199"/>
                <a:chExt cx="369615" cy="384144"/>
              </a:xfrm>
            </p:grpSpPr>
            <p:sp>
              <p:nvSpPr>
                <p:cNvPr id="62" name="Rectangle 61">
                  <a:extLst>
                    <a:ext uri="{FF2B5EF4-FFF2-40B4-BE49-F238E27FC236}">
                      <a16:creationId xmlns:a16="http://schemas.microsoft.com/office/drawing/2014/main" id="{6475BD53-0C63-5E7A-9559-5BFC9640D37A}"/>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3" name="Group 62">
                  <a:extLst>
                    <a:ext uri="{FF2B5EF4-FFF2-40B4-BE49-F238E27FC236}">
                      <a16:creationId xmlns:a16="http://schemas.microsoft.com/office/drawing/2014/main" id="{14BE56ED-2C6E-20EE-DA77-F0F363DBD93C}"/>
                    </a:ext>
                  </a:extLst>
                </p:cNvPr>
                <p:cNvGrpSpPr/>
                <p:nvPr/>
              </p:nvGrpSpPr>
              <p:grpSpPr>
                <a:xfrm>
                  <a:off x="13124976" y="3422562"/>
                  <a:ext cx="263000" cy="365781"/>
                  <a:chOff x="12590745" y="5672000"/>
                  <a:chExt cx="522378" cy="726522"/>
                </a:xfrm>
              </p:grpSpPr>
              <p:sp>
                <p:nvSpPr>
                  <p:cNvPr id="64" name="Freeform 98">
                    <a:extLst>
                      <a:ext uri="{FF2B5EF4-FFF2-40B4-BE49-F238E27FC236}">
                        <a16:creationId xmlns:a16="http://schemas.microsoft.com/office/drawing/2014/main" id="{BC877457-9E7A-A9DF-B05C-C825714A55EF}"/>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Down Arrow 99">
                    <a:extLst>
                      <a:ext uri="{FF2B5EF4-FFF2-40B4-BE49-F238E27FC236}">
                        <a16:creationId xmlns:a16="http://schemas.microsoft.com/office/drawing/2014/main" id="{4C74766A-6822-87D5-9BEB-515BC0D49E1C}"/>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Down Arrow 100">
                    <a:extLst>
                      <a:ext uri="{FF2B5EF4-FFF2-40B4-BE49-F238E27FC236}">
                        <a16:creationId xmlns:a16="http://schemas.microsoft.com/office/drawing/2014/main" id="{BA4A922D-D8E4-A4D7-7ECC-DCA48B269361}"/>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Down Arrow 101">
                    <a:extLst>
                      <a:ext uri="{FF2B5EF4-FFF2-40B4-BE49-F238E27FC236}">
                        <a16:creationId xmlns:a16="http://schemas.microsoft.com/office/drawing/2014/main" id="{6200E67E-4728-FE69-8606-EA031D945CCD}"/>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8" name="Group 47">
                <a:extLst>
                  <a:ext uri="{FF2B5EF4-FFF2-40B4-BE49-F238E27FC236}">
                    <a16:creationId xmlns:a16="http://schemas.microsoft.com/office/drawing/2014/main" id="{D86426AA-CD79-A804-D968-7C2B5A9AD92E}"/>
                  </a:ext>
                </a:extLst>
              </p:cNvPr>
              <p:cNvGrpSpPr/>
              <p:nvPr/>
            </p:nvGrpSpPr>
            <p:grpSpPr>
              <a:xfrm>
                <a:off x="9116048" y="1772959"/>
                <a:ext cx="241171" cy="250651"/>
                <a:chOff x="13071009" y="3404199"/>
                <a:chExt cx="369615" cy="384144"/>
              </a:xfrm>
            </p:grpSpPr>
            <p:sp>
              <p:nvSpPr>
                <p:cNvPr id="56" name="Rectangle 55">
                  <a:extLst>
                    <a:ext uri="{FF2B5EF4-FFF2-40B4-BE49-F238E27FC236}">
                      <a16:creationId xmlns:a16="http://schemas.microsoft.com/office/drawing/2014/main" id="{FA0CD950-6F1D-657F-0B06-F7825308BDC7}"/>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7" name="Group 56">
                  <a:extLst>
                    <a:ext uri="{FF2B5EF4-FFF2-40B4-BE49-F238E27FC236}">
                      <a16:creationId xmlns:a16="http://schemas.microsoft.com/office/drawing/2014/main" id="{621B2F94-CE87-EDA4-66CD-B340D95E349E}"/>
                    </a:ext>
                  </a:extLst>
                </p:cNvPr>
                <p:cNvGrpSpPr/>
                <p:nvPr/>
              </p:nvGrpSpPr>
              <p:grpSpPr>
                <a:xfrm>
                  <a:off x="13124976" y="3422562"/>
                  <a:ext cx="263000" cy="365781"/>
                  <a:chOff x="12590745" y="5672000"/>
                  <a:chExt cx="522378" cy="726522"/>
                </a:xfrm>
              </p:grpSpPr>
              <p:sp>
                <p:nvSpPr>
                  <p:cNvPr id="58" name="Freeform 105">
                    <a:extLst>
                      <a:ext uri="{FF2B5EF4-FFF2-40B4-BE49-F238E27FC236}">
                        <a16:creationId xmlns:a16="http://schemas.microsoft.com/office/drawing/2014/main" id="{02B42822-CB17-0A1E-C900-00013F49F986}"/>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Down Arrow 106">
                    <a:extLst>
                      <a:ext uri="{FF2B5EF4-FFF2-40B4-BE49-F238E27FC236}">
                        <a16:creationId xmlns:a16="http://schemas.microsoft.com/office/drawing/2014/main" id="{EC568AE1-9243-3335-4693-8CAFBBBDA373}"/>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Down Arrow 107">
                    <a:extLst>
                      <a:ext uri="{FF2B5EF4-FFF2-40B4-BE49-F238E27FC236}">
                        <a16:creationId xmlns:a16="http://schemas.microsoft.com/office/drawing/2014/main" id="{54F7F0F8-FC9B-8B9D-1F8C-1448A93A45DB}"/>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Down Arrow 108">
                    <a:extLst>
                      <a:ext uri="{FF2B5EF4-FFF2-40B4-BE49-F238E27FC236}">
                        <a16:creationId xmlns:a16="http://schemas.microsoft.com/office/drawing/2014/main" id="{4C7D729E-D291-AEFE-D8EE-092FF9DB3A0E}"/>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9" name="Group 48">
                <a:extLst>
                  <a:ext uri="{FF2B5EF4-FFF2-40B4-BE49-F238E27FC236}">
                    <a16:creationId xmlns:a16="http://schemas.microsoft.com/office/drawing/2014/main" id="{0BC4CA67-B9EF-35AC-F268-CBA7100DDB49}"/>
                  </a:ext>
                </a:extLst>
              </p:cNvPr>
              <p:cNvGrpSpPr/>
              <p:nvPr/>
            </p:nvGrpSpPr>
            <p:grpSpPr>
              <a:xfrm>
                <a:off x="9733886" y="1855338"/>
                <a:ext cx="241171" cy="250651"/>
                <a:chOff x="13071009" y="3404199"/>
                <a:chExt cx="369615" cy="384144"/>
              </a:xfrm>
            </p:grpSpPr>
            <p:sp>
              <p:nvSpPr>
                <p:cNvPr id="50" name="Rectangle 49">
                  <a:extLst>
                    <a:ext uri="{FF2B5EF4-FFF2-40B4-BE49-F238E27FC236}">
                      <a16:creationId xmlns:a16="http://schemas.microsoft.com/office/drawing/2014/main" id="{74924411-88F6-3326-09B9-2D975800C3A1}"/>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a:extLst>
                    <a:ext uri="{FF2B5EF4-FFF2-40B4-BE49-F238E27FC236}">
                      <a16:creationId xmlns:a16="http://schemas.microsoft.com/office/drawing/2014/main" id="{5D348E59-C08C-FA78-9873-C192B619F5A3}"/>
                    </a:ext>
                  </a:extLst>
                </p:cNvPr>
                <p:cNvGrpSpPr/>
                <p:nvPr/>
              </p:nvGrpSpPr>
              <p:grpSpPr>
                <a:xfrm>
                  <a:off x="13124976" y="3422562"/>
                  <a:ext cx="263000" cy="365781"/>
                  <a:chOff x="12590745" y="5672000"/>
                  <a:chExt cx="522378" cy="726522"/>
                </a:xfrm>
              </p:grpSpPr>
              <p:sp>
                <p:nvSpPr>
                  <p:cNvPr id="52" name="Freeform 112">
                    <a:extLst>
                      <a:ext uri="{FF2B5EF4-FFF2-40B4-BE49-F238E27FC236}">
                        <a16:creationId xmlns:a16="http://schemas.microsoft.com/office/drawing/2014/main" id="{F817B9A7-63A4-1274-3889-B2CBE0245B1E}"/>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Down Arrow 113">
                    <a:extLst>
                      <a:ext uri="{FF2B5EF4-FFF2-40B4-BE49-F238E27FC236}">
                        <a16:creationId xmlns:a16="http://schemas.microsoft.com/office/drawing/2014/main" id="{67159C56-2283-6C13-DED9-7B1BDDC7B085}"/>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Down Arrow 114">
                    <a:extLst>
                      <a:ext uri="{FF2B5EF4-FFF2-40B4-BE49-F238E27FC236}">
                        <a16:creationId xmlns:a16="http://schemas.microsoft.com/office/drawing/2014/main" id="{8163CD11-5316-4FBB-A53C-8BF6457F3E65}"/>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Down Arrow 115">
                    <a:extLst>
                      <a:ext uri="{FF2B5EF4-FFF2-40B4-BE49-F238E27FC236}">
                        <a16:creationId xmlns:a16="http://schemas.microsoft.com/office/drawing/2014/main" id="{590F40C0-523F-19A7-AC97-61A0609E4BC5}"/>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32" name="TextBox 31">
              <a:extLst>
                <a:ext uri="{FF2B5EF4-FFF2-40B4-BE49-F238E27FC236}">
                  <a16:creationId xmlns:a16="http://schemas.microsoft.com/office/drawing/2014/main" id="{08D5FB50-3617-F8E6-E886-6854084F5AD9}"/>
                </a:ext>
              </a:extLst>
            </p:cNvPr>
            <p:cNvSpPr txBox="1"/>
            <p:nvPr/>
          </p:nvSpPr>
          <p:spPr>
            <a:xfrm>
              <a:off x="8000282" y="2584032"/>
              <a:ext cx="665058" cy="30777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Secondary Replica</a:t>
              </a:r>
            </a:p>
          </p:txBody>
        </p:sp>
        <p:sp>
          <p:nvSpPr>
            <p:cNvPr id="33" name="TextBox 32">
              <a:extLst>
                <a:ext uri="{FF2B5EF4-FFF2-40B4-BE49-F238E27FC236}">
                  <a16:creationId xmlns:a16="http://schemas.microsoft.com/office/drawing/2014/main" id="{9BB6A7BC-8F1A-F13E-3353-968AD460C714}"/>
                </a:ext>
              </a:extLst>
            </p:cNvPr>
            <p:cNvSpPr txBox="1"/>
            <p:nvPr/>
          </p:nvSpPr>
          <p:spPr>
            <a:xfrm>
              <a:off x="8487922" y="3630030"/>
              <a:ext cx="219286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AlwaysOn Availability Group</a:t>
              </a:r>
            </a:p>
          </p:txBody>
        </p:sp>
        <p:cxnSp>
          <p:nvCxnSpPr>
            <p:cNvPr id="34" name="Elbow Connector 136">
              <a:extLst>
                <a:ext uri="{FF2B5EF4-FFF2-40B4-BE49-F238E27FC236}">
                  <a16:creationId xmlns:a16="http://schemas.microsoft.com/office/drawing/2014/main" id="{26C140B9-8C28-8081-8B41-0136C09E9D8B}"/>
                </a:ext>
              </a:extLst>
            </p:cNvPr>
            <p:cNvCxnSpPr>
              <a:stCxn id="13" idx="1"/>
            </p:cNvCxnSpPr>
            <p:nvPr/>
          </p:nvCxnSpPr>
          <p:spPr>
            <a:xfrm rot="10800000" flipV="1">
              <a:off x="7597306" y="4332869"/>
              <a:ext cx="147109" cy="858742"/>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39F15F97-1931-3871-C364-5C49FAF48985}"/>
                </a:ext>
              </a:extLst>
            </p:cNvPr>
            <p:cNvSpPr txBox="1"/>
            <p:nvPr/>
          </p:nvSpPr>
          <p:spPr>
            <a:xfrm>
              <a:off x="9024742" y="5243530"/>
              <a:ext cx="1681422"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Azure standard sto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RA-GRS, LRS, ZRS)</a:t>
              </a:r>
            </a:p>
          </p:txBody>
        </p:sp>
        <p:grpSp>
          <p:nvGrpSpPr>
            <p:cNvPr id="36" name="Group 35">
              <a:extLst>
                <a:ext uri="{FF2B5EF4-FFF2-40B4-BE49-F238E27FC236}">
                  <a16:creationId xmlns:a16="http://schemas.microsoft.com/office/drawing/2014/main" id="{9F50B095-E0E1-0521-E266-612C9B69BADA}"/>
                </a:ext>
              </a:extLst>
            </p:cNvPr>
            <p:cNvGrpSpPr/>
            <p:nvPr/>
          </p:nvGrpSpPr>
          <p:grpSpPr>
            <a:xfrm>
              <a:off x="10882244" y="5275916"/>
              <a:ext cx="461466" cy="273112"/>
              <a:chOff x="1105279" y="2995020"/>
              <a:chExt cx="155575" cy="92075"/>
            </a:xfrm>
            <a:solidFill>
              <a:schemeClr val="accent1"/>
            </a:solidFill>
          </p:grpSpPr>
          <p:sp>
            <p:nvSpPr>
              <p:cNvPr id="37" name="Oval 19">
                <a:extLst>
                  <a:ext uri="{FF2B5EF4-FFF2-40B4-BE49-F238E27FC236}">
                    <a16:creationId xmlns:a16="http://schemas.microsoft.com/office/drawing/2014/main" id="{787001B8-CCCB-0CD9-F623-EBE34763FDF6}"/>
                  </a:ext>
                </a:extLst>
              </p:cNvPr>
              <p:cNvSpPr>
                <a:spLocks noChangeArrowheads="1"/>
              </p:cNvSpPr>
              <p:nvPr/>
            </p:nvSpPr>
            <p:spPr bwMode="auto">
              <a:xfrm>
                <a:off x="1121154" y="2995020"/>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20">
                <a:extLst>
                  <a:ext uri="{FF2B5EF4-FFF2-40B4-BE49-F238E27FC236}">
                    <a16:creationId xmlns:a16="http://schemas.microsoft.com/office/drawing/2014/main" id="{DCF7D908-E299-E0E6-2C6D-34B0A0CE3600}"/>
                  </a:ext>
                </a:extLst>
              </p:cNvPr>
              <p:cNvSpPr>
                <a:spLocks/>
              </p:cNvSpPr>
              <p:nvPr/>
            </p:nvSpPr>
            <p:spPr bwMode="auto">
              <a:xfrm>
                <a:off x="1105279" y="3052170"/>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Oval 21">
                <a:extLst>
                  <a:ext uri="{FF2B5EF4-FFF2-40B4-BE49-F238E27FC236}">
                    <a16:creationId xmlns:a16="http://schemas.microsoft.com/office/drawing/2014/main" id="{EE040188-D1B0-E327-3133-D58A8ABA0AB9}"/>
                  </a:ext>
                </a:extLst>
              </p:cNvPr>
              <p:cNvSpPr>
                <a:spLocks noChangeArrowheads="1"/>
              </p:cNvSpPr>
              <p:nvPr/>
            </p:nvSpPr>
            <p:spPr bwMode="auto">
              <a:xfrm>
                <a:off x="1183066" y="3010895"/>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24776486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A84ED15-ABB9-495A-8A03-3A131DE88582}"/>
              </a:ext>
            </a:extLst>
          </p:cNvPr>
          <p:cNvSpPr>
            <a:spLocks noGrp="1"/>
          </p:cNvSpPr>
          <p:nvPr>
            <p:ph type="title"/>
          </p:nvPr>
        </p:nvSpPr>
        <p:spPr>
          <a:xfrm>
            <a:off x="655638" y="320040"/>
            <a:ext cx="10880725" cy="461665"/>
          </a:xfrm>
        </p:spPr>
        <p:txBody>
          <a:bodyPr/>
          <a:lstStyle/>
          <a:p>
            <a:r>
              <a:rPr lang="en-US"/>
              <a:t>Read Scale-Out </a:t>
            </a:r>
            <a:endParaRPr lang="en-US" dirty="0"/>
          </a:p>
        </p:txBody>
      </p:sp>
      <p:pic>
        <p:nvPicPr>
          <p:cNvPr id="4" name="Picture 3">
            <a:extLst>
              <a:ext uri="{FF2B5EF4-FFF2-40B4-BE49-F238E27FC236}">
                <a16:creationId xmlns:a16="http://schemas.microsoft.com/office/drawing/2014/main" id="{0F29210E-2A6E-4B15-B327-C98021D0CACC}"/>
              </a:ext>
            </a:extLst>
          </p:cNvPr>
          <p:cNvPicPr>
            <a:picLocks noChangeAspect="1"/>
          </p:cNvPicPr>
          <p:nvPr/>
        </p:nvPicPr>
        <p:blipFill>
          <a:blip r:embed="rId3"/>
          <a:stretch>
            <a:fillRect/>
          </a:stretch>
        </p:blipFill>
        <p:spPr>
          <a:xfrm>
            <a:off x="7129773" y="1338523"/>
            <a:ext cx="4712031" cy="4331299"/>
          </a:xfrm>
          <a:prstGeom prst="rect">
            <a:avLst/>
          </a:prstGeom>
        </p:spPr>
      </p:pic>
      <p:graphicFrame>
        <p:nvGraphicFramePr>
          <p:cNvPr id="7" name="Content Placeholder 6">
            <a:extLst>
              <a:ext uri="{FF2B5EF4-FFF2-40B4-BE49-F238E27FC236}">
                <a16:creationId xmlns:a16="http://schemas.microsoft.com/office/drawing/2014/main" id="{8609A548-C888-4283-8BB1-1C27A8601CFE}"/>
              </a:ext>
            </a:extLst>
          </p:cNvPr>
          <p:cNvGraphicFramePr>
            <a:graphicFrameLocks noGrp="1"/>
          </p:cNvGraphicFramePr>
          <p:nvPr>
            <p:ph sz="quarter" idx="13"/>
            <p:extLst>
              <p:ext uri="{D42A27DB-BD31-4B8C-83A1-F6EECF244321}">
                <p14:modId xmlns:p14="http://schemas.microsoft.com/office/powerpoint/2010/main" val="4118370746"/>
              </p:ext>
            </p:extLst>
          </p:nvPr>
        </p:nvGraphicFramePr>
        <p:xfrm>
          <a:off x="583921" y="1094348"/>
          <a:ext cx="6049962"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8967174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6">
            <a:lumMod val="65000"/>
            <a:lumOff val="35000"/>
          </a:schemeClr>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58F322D1-571A-45D1-A3A3-EE3DD7FF3C6A}"/>
              </a:ext>
            </a:extLst>
          </p:cNvPr>
          <p:cNvSpPr txBox="1"/>
          <p:nvPr/>
        </p:nvSpPr>
        <p:spPr>
          <a:xfrm>
            <a:off x="4800784" y="695059"/>
            <a:ext cx="7174620" cy="3607783"/>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loud Solution Architect (Global Delivery Tea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2000 - Current)</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9291" y="695058"/>
            <a:ext cx="3629327" cy="3629327"/>
          </a:xfrm>
          <a:prstGeom prst="ellipse">
            <a:avLst/>
          </a:prstGeom>
          <a:ln w="63500" cap="rnd">
            <a:solidFill>
              <a:schemeClr val="accent4">
                <a:lumMod val="50000"/>
              </a:schemeClr>
            </a:solidFill>
          </a:ln>
          <a:effectLst>
            <a:glow rad="228600">
              <a:schemeClr val="accent5">
                <a:satMod val="175000"/>
                <a:alpha val="40000"/>
              </a:schemeClr>
            </a:glow>
          </a:effectLst>
          <a:scene3d>
            <a:camera prst="orthographicFront"/>
            <a:lightRig rig="contrasting" dir="t">
              <a:rot lat="0" lon="0" rev="3000000"/>
            </a:lightRig>
          </a:scene3d>
          <a:sp3d contourW="7620">
            <a:bevelT w="95250" h="31750"/>
            <a:contourClr>
              <a:srgbClr val="333333"/>
            </a:contourClr>
          </a:sp3d>
        </p:spPr>
      </p:pic>
      <p:grpSp>
        <p:nvGrpSpPr>
          <p:cNvPr id="7" name="Group 6">
            <a:extLst>
              <a:ext uri="{FF2B5EF4-FFF2-40B4-BE49-F238E27FC236}">
                <a16:creationId xmlns:a16="http://schemas.microsoft.com/office/drawing/2014/main" id="{482B3EBE-B34D-EA8A-4D61-F4A60064B0F6}"/>
              </a:ext>
            </a:extLst>
          </p:cNvPr>
          <p:cNvGrpSpPr/>
          <p:nvPr/>
        </p:nvGrpSpPr>
        <p:grpSpPr>
          <a:xfrm>
            <a:off x="571082" y="4613162"/>
            <a:ext cx="11277988" cy="1745641"/>
            <a:chOff x="570297" y="4479514"/>
            <a:chExt cx="11279588" cy="1745889"/>
          </a:xfrm>
        </p:grpSpPr>
        <p:pic>
          <p:nvPicPr>
            <p:cNvPr id="2" name="Picture 1">
              <a:extLst>
                <a:ext uri="{FF2B5EF4-FFF2-40B4-BE49-F238E27FC236}">
                  <a16:creationId xmlns:a16="http://schemas.microsoft.com/office/drawing/2014/main" id="{0B19A98F-23F3-8A02-ED12-3FE5D20B81C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87266" y="4627018"/>
              <a:ext cx="1576068" cy="1576068"/>
            </a:xfrm>
            <a:prstGeom prst="rect">
              <a:avLst/>
            </a:prstGeom>
          </p:spPr>
        </p:pic>
        <p:pic>
          <p:nvPicPr>
            <p:cNvPr id="4" name="Picture 3">
              <a:extLst>
                <a:ext uri="{FF2B5EF4-FFF2-40B4-BE49-F238E27FC236}">
                  <a16:creationId xmlns:a16="http://schemas.microsoft.com/office/drawing/2014/main" id="{7711D228-9F12-6B68-C591-BC532E8440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73434" y="4627018"/>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BC96BD1A-466A-9860-CF2C-52954AA32B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59602" y="4627018"/>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Microsoft Certified Trainer 2023-2024">
              <a:extLst>
                <a:ext uri="{FF2B5EF4-FFF2-40B4-BE49-F238E27FC236}">
                  <a16:creationId xmlns:a16="http://schemas.microsoft.com/office/drawing/2014/main" id="{C1008DB4-E576-5520-3018-6270A80326C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01098" y="4627018"/>
              <a:ext cx="1576068" cy="157606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D7B675BD-6144-3A48-A1EB-AC5090B8CA8E}"/>
                </a:ext>
              </a:extLst>
            </p:cNvPr>
            <p:cNvGrpSpPr/>
            <p:nvPr/>
          </p:nvGrpSpPr>
          <p:grpSpPr>
            <a:xfrm>
              <a:off x="570297" y="4604702"/>
              <a:ext cx="1620701" cy="1620701"/>
              <a:chOff x="2731130" y="4872599"/>
              <a:chExt cx="1620701" cy="1620701"/>
            </a:xfrm>
          </p:grpSpPr>
          <p:pic>
            <p:nvPicPr>
              <p:cNvPr id="16" name="Picture 15">
                <a:extLst>
                  <a:ext uri="{FF2B5EF4-FFF2-40B4-BE49-F238E27FC236}">
                    <a16:creationId xmlns:a16="http://schemas.microsoft.com/office/drawing/2014/main" id="{CFE9E2FB-A7CC-FEB2-493D-D9599A45E18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31130" y="4872599"/>
                <a:ext cx="1620701" cy="162070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MVP Alumni badge image. Validation. Issued by Microsoft Next Generation Experiences">
                <a:extLst>
                  <a:ext uri="{FF2B5EF4-FFF2-40B4-BE49-F238E27FC236}">
                    <a16:creationId xmlns:a16="http://schemas.microsoft.com/office/drawing/2014/main" id="{950E339C-EF90-F273-D2C0-F2526F8E7B8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83434" y="4940823"/>
                <a:ext cx="1520725" cy="1520725"/>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descr="SQLskills Blackbelt - SQL Server 2019 badge image. Learning. Advanced level. Issued by SQLskills">
              <a:extLst>
                <a:ext uri="{FF2B5EF4-FFF2-40B4-BE49-F238E27FC236}">
                  <a16:creationId xmlns:a16="http://schemas.microsoft.com/office/drawing/2014/main" id="{6EC1ED86-6E3B-112F-1B5F-9B8B10E32F6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05529" y="4479514"/>
              <a:ext cx="1944356" cy="171205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512175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671675" y="2985801"/>
            <a:ext cx="4344412" cy="886397"/>
          </a:xfrm>
        </p:spPr>
        <p:txBody>
          <a:bodyPr/>
          <a:lstStyle/>
          <a:p>
            <a:pPr algn="ctr"/>
            <a:r>
              <a:rPr lang="en-US" dirty="0"/>
              <a:t>Zone Redundancy in Azure SQL?</a:t>
            </a:r>
          </a:p>
        </p:txBody>
      </p:sp>
    </p:spTree>
    <p:extLst>
      <p:ext uri="{BB962C8B-B14F-4D97-AF65-F5344CB8AC3E}">
        <p14:creationId xmlns:p14="http://schemas.microsoft.com/office/powerpoint/2010/main" val="312580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1AC3C7-034D-4D76-8A4B-7B32534D1BDE}"/>
              </a:ext>
            </a:extLst>
          </p:cNvPr>
          <p:cNvSpPr>
            <a:spLocks noGrp="1"/>
          </p:cNvSpPr>
          <p:nvPr>
            <p:ph type="title"/>
          </p:nvPr>
        </p:nvSpPr>
        <p:spPr>
          <a:xfrm>
            <a:off x="655637" y="304800"/>
            <a:ext cx="10880725" cy="461665"/>
          </a:xfrm>
        </p:spPr>
        <p:txBody>
          <a:bodyPr/>
          <a:lstStyle/>
          <a:p>
            <a:r>
              <a:rPr lang="en-US" dirty="0"/>
              <a:t>Zone redundant configuration – General Purpose</a:t>
            </a:r>
          </a:p>
        </p:txBody>
      </p:sp>
      <p:graphicFrame>
        <p:nvGraphicFramePr>
          <p:cNvPr id="2" name="Content Placeholder 1">
            <a:extLst>
              <a:ext uri="{FF2B5EF4-FFF2-40B4-BE49-F238E27FC236}">
                <a16:creationId xmlns:a16="http://schemas.microsoft.com/office/drawing/2014/main" id="{379A31AE-F22F-4235-8226-276E242C2A3B}"/>
              </a:ext>
            </a:extLst>
          </p:cNvPr>
          <p:cNvGraphicFramePr>
            <a:graphicFrameLocks noGrp="1"/>
          </p:cNvGraphicFramePr>
          <p:nvPr>
            <p:ph sz="quarter" idx="13"/>
          </p:nvPr>
        </p:nvGraphicFramePr>
        <p:xfrm>
          <a:off x="413240" y="1157791"/>
          <a:ext cx="563973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2480DE5A-6C31-316B-B3C9-1351E3C516ED}"/>
              </a:ext>
            </a:extLst>
          </p:cNvPr>
          <p:cNvPicPr>
            <a:picLocks noChangeAspect="1"/>
          </p:cNvPicPr>
          <p:nvPr/>
        </p:nvPicPr>
        <p:blipFill>
          <a:blip r:embed="rId8"/>
          <a:stretch>
            <a:fillRect/>
          </a:stretch>
        </p:blipFill>
        <p:spPr>
          <a:xfrm>
            <a:off x="6324599" y="1170283"/>
            <a:ext cx="5713219" cy="4807158"/>
          </a:xfrm>
          <a:prstGeom prst="rect">
            <a:avLst/>
          </a:prstGeom>
        </p:spPr>
      </p:pic>
    </p:spTree>
    <p:extLst>
      <p:ext uri="{BB962C8B-B14F-4D97-AF65-F5344CB8AC3E}">
        <p14:creationId xmlns:p14="http://schemas.microsoft.com/office/powerpoint/2010/main" val="27972096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1AC3C7-034D-4D76-8A4B-7B32534D1BDE}"/>
              </a:ext>
            </a:extLst>
          </p:cNvPr>
          <p:cNvSpPr>
            <a:spLocks noGrp="1"/>
          </p:cNvSpPr>
          <p:nvPr>
            <p:ph type="title"/>
          </p:nvPr>
        </p:nvSpPr>
        <p:spPr>
          <a:xfrm>
            <a:off x="533400" y="320040"/>
            <a:ext cx="11514360" cy="923330"/>
          </a:xfrm>
        </p:spPr>
        <p:txBody>
          <a:bodyPr/>
          <a:lstStyle/>
          <a:p>
            <a:r>
              <a:rPr lang="en-US" dirty="0"/>
              <a:t>Zone redundant configuration – Premium and Business Critical</a:t>
            </a:r>
          </a:p>
        </p:txBody>
      </p:sp>
      <p:graphicFrame>
        <p:nvGraphicFramePr>
          <p:cNvPr id="2" name="Content Placeholder 1">
            <a:extLst>
              <a:ext uri="{FF2B5EF4-FFF2-40B4-BE49-F238E27FC236}">
                <a16:creationId xmlns:a16="http://schemas.microsoft.com/office/drawing/2014/main" id="{379A31AE-F22F-4235-8226-276E242C2A3B}"/>
              </a:ext>
            </a:extLst>
          </p:cNvPr>
          <p:cNvGraphicFramePr>
            <a:graphicFrameLocks noGrp="1"/>
          </p:cNvGraphicFramePr>
          <p:nvPr>
            <p:ph sz="quarter" idx="13"/>
          </p:nvPr>
        </p:nvGraphicFramePr>
        <p:xfrm>
          <a:off x="413240" y="1157791"/>
          <a:ext cx="563973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55" name="Group 154">
            <a:extLst>
              <a:ext uri="{FF2B5EF4-FFF2-40B4-BE49-F238E27FC236}">
                <a16:creationId xmlns:a16="http://schemas.microsoft.com/office/drawing/2014/main" id="{0620EF19-59A0-D76D-7B10-4B9C3A6B4CC2}"/>
              </a:ext>
            </a:extLst>
          </p:cNvPr>
          <p:cNvGrpSpPr/>
          <p:nvPr/>
        </p:nvGrpSpPr>
        <p:grpSpPr>
          <a:xfrm>
            <a:off x="6293469" y="1147129"/>
            <a:ext cx="5754291" cy="4760801"/>
            <a:chOff x="6049700" y="1091395"/>
            <a:chExt cx="5754291" cy="4760801"/>
          </a:xfrm>
        </p:grpSpPr>
        <p:sp>
          <p:nvSpPr>
            <p:cNvPr id="156" name="Rectangle 155">
              <a:extLst>
                <a:ext uri="{FF2B5EF4-FFF2-40B4-BE49-F238E27FC236}">
                  <a16:creationId xmlns:a16="http://schemas.microsoft.com/office/drawing/2014/main" id="{35E4ABE4-20E0-2D3F-FE0F-9484EA5D1843}"/>
                </a:ext>
              </a:extLst>
            </p:cNvPr>
            <p:cNvSpPr/>
            <p:nvPr/>
          </p:nvSpPr>
          <p:spPr bwMode="auto">
            <a:xfrm>
              <a:off x="10046520" y="1718188"/>
              <a:ext cx="1552755" cy="4051822"/>
            </a:xfrm>
            <a:prstGeom prst="rect">
              <a:avLst/>
            </a:prstGeom>
            <a:noFill/>
            <a:ln w="19050" cap="flat" cmpd="sng" algn="ctr">
              <a:solidFill>
                <a:sysClr val="window" lastClr="FFFFFF">
                  <a:lumMod val="75000"/>
                </a:sys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Rectangle 156">
              <a:extLst>
                <a:ext uri="{FF2B5EF4-FFF2-40B4-BE49-F238E27FC236}">
                  <a16:creationId xmlns:a16="http://schemas.microsoft.com/office/drawing/2014/main" id="{CD7837A3-81C6-8D34-9641-3856741BE91B}"/>
                </a:ext>
              </a:extLst>
            </p:cNvPr>
            <p:cNvSpPr/>
            <p:nvPr/>
          </p:nvSpPr>
          <p:spPr bwMode="auto">
            <a:xfrm>
              <a:off x="8404682" y="1718188"/>
              <a:ext cx="1552755" cy="4051822"/>
            </a:xfrm>
            <a:prstGeom prst="rect">
              <a:avLst/>
            </a:prstGeom>
            <a:noFill/>
            <a:ln w="19050" cap="flat" cmpd="sng" algn="ctr">
              <a:solidFill>
                <a:sysClr val="window" lastClr="FFFFFF">
                  <a:lumMod val="75000"/>
                </a:sys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Oval 157">
              <a:extLst>
                <a:ext uri="{FF2B5EF4-FFF2-40B4-BE49-F238E27FC236}">
                  <a16:creationId xmlns:a16="http://schemas.microsoft.com/office/drawing/2014/main" id="{29FBB791-414F-1F09-65B3-6932B3DF8A80}"/>
                </a:ext>
              </a:extLst>
            </p:cNvPr>
            <p:cNvSpPr/>
            <p:nvPr/>
          </p:nvSpPr>
          <p:spPr bwMode="auto">
            <a:xfrm>
              <a:off x="7358383" y="3031580"/>
              <a:ext cx="3938835" cy="1530239"/>
            </a:xfrm>
            <a:prstGeom prst="ellipse">
              <a:avLst/>
            </a:prstGeom>
            <a:noFill/>
            <a:ln w="12700" cap="rnd"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9" name="TextBox 158">
              <a:extLst>
                <a:ext uri="{FF2B5EF4-FFF2-40B4-BE49-F238E27FC236}">
                  <a16:creationId xmlns:a16="http://schemas.microsoft.com/office/drawing/2014/main" id="{1D301DDF-CD02-795F-25B4-A26DE4FC111A}"/>
                </a:ext>
              </a:extLst>
            </p:cNvPr>
            <p:cNvSpPr txBox="1"/>
            <p:nvPr/>
          </p:nvSpPr>
          <p:spPr>
            <a:xfrm>
              <a:off x="9123122" y="1155931"/>
              <a:ext cx="1880942"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Segoe UI"/>
                  <a:ea typeface="+mn-ea"/>
                  <a:cs typeface="+mn-cs"/>
                </a:rPr>
                <a:t>Azure Traffic Manager</a:t>
              </a:r>
            </a:p>
          </p:txBody>
        </p:sp>
        <p:sp>
          <p:nvSpPr>
            <p:cNvPr id="160" name="TextBox 159">
              <a:extLst>
                <a:ext uri="{FF2B5EF4-FFF2-40B4-BE49-F238E27FC236}">
                  <a16:creationId xmlns:a16="http://schemas.microsoft.com/office/drawing/2014/main" id="{BD082A54-03B4-A717-5751-B2DBE6CA0BED}"/>
                </a:ext>
              </a:extLst>
            </p:cNvPr>
            <p:cNvSpPr txBox="1"/>
            <p:nvPr/>
          </p:nvSpPr>
          <p:spPr>
            <a:xfrm>
              <a:off x="6049700" y="1942243"/>
              <a:ext cx="64120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Application</a:t>
              </a:r>
            </a:p>
          </p:txBody>
        </p:sp>
        <p:sp>
          <p:nvSpPr>
            <p:cNvPr id="161" name="TextBox 160">
              <a:extLst>
                <a:ext uri="{FF2B5EF4-FFF2-40B4-BE49-F238E27FC236}">
                  <a16:creationId xmlns:a16="http://schemas.microsoft.com/office/drawing/2014/main" id="{B5235487-4C41-E097-0FA5-AC06AD620F7B}"/>
                </a:ext>
              </a:extLst>
            </p:cNvPr>
            <p:cNvSpPr txBox="1"/>
            <p:nvPr/>
          </p:nvSpPr>
          <p:spPr>
            <a:xfrm>
              <a:off x="6842653" y="3844921"/>
              <a:ext cx="466474"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Primary </a:t>
              </a:r>
              <a:br>
                <a:rPr kumimoji="0" lang="en-US" sz="1000" b="0" i="0" u="none" strike="noStrike" kern="0" cap="none" spc="0" normalizeH="0" baseline="0" noProof="0">
                  <a:ln>
                    <a:noFill/>
                  </a:ln>
                  <a:solidFill>
                    <a:prstClr val="black"/>
                  </a:solidFill>
                  <a:effectLst/>
                  <a:uLnTx/>
                  <a:uFillTx/>
                  <a:latin typeface="Segoe UI"/>
                  <a:ea typeface="+mn-ea"/>
                  <a:cs typeface="+mn-cs"/>
                </a:rPr>
              </a:br>
              <a:r>
                <a:rPr kumimoji="0" lang="en-US" sz="1000" b="0" i="0" u="none" strike="noStrike" kern="0" cap="none" spc="0" normalizeH="0" baseline="0" noProof="0">
                  <a:ln>
                    <a:noFill/>
                  </a:ln>
                  <a:solidFill>
                    <a:prstClr val="black"/>
                  </a:solidFill>
                  <a:effectLst/>
                  <a:uLnTx/>
                  <a:uFillTx/>
                  <a:latin typeface="Segoe UI"/>
                  <a:ea typeface="+mn-ea"/>
                  <a:cs typeface="+mn-cs"/>
                </a:rPr>
                <a:t>Replica</a:t>
              </a:r>
            </a:p>
          </p:txBody>
        </p:sp>
        <p:sp>
          <p:nvSpPr>
            <p:cNvPr id="162" name="Rectangle 161">
              <a:extLst>
                <a:ext uri="{FF2B5EF4-FFF2-40B4-BE49-F238E27FC236}">
                  <a16:creationId xmlns:a16="http://schemas.microsoft.com/office/drawing/2014/main" id="{E45AB739-FB06-F9B9-AD89-E1CB24C4A189}"/>
                </a:ext>
              </a:extLst>
            </p:cNvPr>
            <p:cNvSpPr/>
            <p:nvPr/>
          </p:nvSpPr>
          <p:spPr bwMode="auto">
            <a:xfrm>
              <a:off x="8569572" y="4704334"/>
              <a:ext cx="871227" cy="392194"/>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Segoe UI" pitchFamily="34" charset="0"/>
                  <a:cs typeface="Segoe UI" pitchFamily="34" charset="0"/>
                </a:rPr>
                <a:t>SSD, data, log</a:t>
              </a:r>
            </a:p>
          </p:txBody>
        </p:sp>
        <p:pic>
          <p:nvPicPr>
            <p:cNvPr id="163" name="Graphic 162">
              <a:extLst>
                <a:ext uri="{FF2B5EF4-FFF2-40B4-BE49-F238E27FC236}">
                  <a16:creationId xmlns:a16="http://schemas.microsoft.com/office/drawing/2014/main" id="{906042CD-BEC3-2243-AF79-F5AF17E5EA9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94538" y="4280273"/>
              <a:ext cx="467684" cy="467684"/>
            </a:xfrm>
            <a:prstGeom prst="rect">
              <a:avLst/>
            </a:prstGeom>
          </p:spPr>
        </p:pic>
        <p:grpSp>
          <p:nvGrpSpPr>
            <p:cNvPr id="164" name="Group 163">
              <a:extLst>
                <a:ext uri="{FF2B5EF4-FFF2-40B4-BE49-F238E27FC236}">
                  <a16:creationId xmlns:a16="http://schemas.microsoft.com/office/drawing/2014/main" id="{AC172AC2-F9E8-2816-DDF3-B3B5D6A67ED5}"/>
                </a:ext>
              </a:extLst>
            </p:cNvPr>
            <p:cNvGrpSpPr/>
            <p:nvPr/>
          </p:nvGrpSpPr>
          <p:grpSpPr>
            <a:xfrm>
              <a:off x="6162325" y="2144370"/>
              <a:ext cx="399480" cy="383886"/>
              <a:chOff x="6069106" y="2256333"/>
              <a:chExt cx="479511" cy="460793"/>
            </a:xfrm>
          </p:grpSpPr>
          <p:sp>
            <p:nvSpPr>
              <p:cNvPr id="298" name="Rounded Rectangle 54">
                <a:extLst>
                  <a:ext uri="{FF2B5EF4-FFF2-40B4-BE49-F238E27FC236}">
                    <a16:creationId xmlns:a16="http://schemas.microsoft.com/office/drawing/2014/main" id="{B235EFD5-5D83-5264-13D0-9FCDC4DF7951}"/>
                  </a:ext>
                </a:extLst>
              </p:cNvPr>
              <p:cNvSpPr/>
              <p:nvPr/>
            </p:nvSpPr>
            <p:spPr bwMode="auto">
              <a:xfrm>
                <a:off x="6096000" y="2283228"/>
                <a:ext cx="433898" cy="433898"/>
              </a:xfrm>
              <a:prstGeom prst="roundRect">
                <a:avLst>
                  <a:gd name="adj" fmla="val 8237"/>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99" name="Straight Connector 298">
                <a:extLst>
                  <a:ext uri="{FF2B5EF4-FFF2-40B4-BE49-F238E27FC236}">
                    <a16:creationId xmlns:a16="http://schemas.microsoft.com/office/drawing/2014/main" id="{B386B13F-28E8-A433-5A24-394E9B0EDD3C}"/>
                  </a:ext>
                </a:extLst>
              </p:cNvPr>
              <p:cNvCxnSpPr/>
              <p:nvPr/>
            </p:nvCxnSpPr>
            <p:spPr>
              <a:xfrm>
                <a:off x="6237722" y="2256333"/>
                <a:ext cx="0" cy="460793"/>
              </a:xfrm>
              <a:prstGeom prst="line">
                <a:avLst/>
              </a:prstGeom>
              <a:noFill/>
              <a:ln w="12700" cap="flat" cmpd="sng" algn="ctr">
                <a:solidFill>
                  <a:srgbClr val="FFFFFF"/>
                </a:solidFill>
                <a:prstDash val="solid"/>
                <a:headEnd type="none" w="lg" len="med"/>
                <a:tailEnd type="none" w="lg" len="med"/>
              </a:ln>
              <a:effectLst/>
            </p:spPr>
          </p:cxnSp>
          <p:cxnSp>
            <p:nvCxnSpPr>
              <p:cNvPr id="300" name="Straight Connector 299">
                <a:extLst>
                  <a:ext uri="{FF2B5EF4-FFF2-40B4-BE49-F238E27FC236}">
                    <a16:creationId xmlns:a16="http://schemas.microsoft.com/office/drawing/2014/main" id="{B6C6E25B-98E2-6BCB-05D4-5D8119E7F2FC}"/>
                  </a:ext>
                </a:extLst>
              </p:cNvPr>
              <p:cNvCxnSpPr/>
              <p:nvPr/>
            </p:nvCxnSpPr>
            <p:spPr>
              <a:xfrm>
                <a:off x="6393170" y="2256333"/>
                <a:ext cx="0" cy="460793"/>
              </a:xfrm>
              <a:prstGeom prst="line">
                <a:avLst/>
              </a:prstGeom>
              <a:noFill/>
              <a:ln w="12700" cap="flat" cmpd="sng" algn="ctr">
                <a:solidFill>
                  <a:srgbClr val="FFFFFF"/>
                </a:solidFill>
                <a:prstDash val="solid"/>
                <a:headEnd type="none" w="lg" len="med"/>
                <a:tailEnd type="none" w="lg" len="med"/>
              </a:ln>
              <a:effectLst/>
            </p:spPr>
          </p:cxnSp>
          <p:cxnSp>
            <p:nvCxnSpPr>
              <p:cNvPr id="301" name="Straight Connector 300">
                <a:extLst>
                  <a:ext uri="{FF2B5EF4-FFF2-40B4-BE49-F238E27FC236}">
                    <a16:creationId xmlns:a16="http://schemas.microsoft.com/office/drawing/2014/main" id="{13202909-4115-493E-B972-F553A658CAEA}"/>
                  </a:ext>
                </a:extLst>
              </p:cNvPr>
              <p:cNvCxnSpPr>
                <a:cxnSpLocks/>
              </p:cNvCxnSpPr>
              <p:nvPr/>
            </p:nvCxnSpPr>
            <p:spPr>
              <a:xfrm rot="16200000">
                <a:off x="6318221" y="2189127"/>
                <a:ext cx="0" cy="460793"/>
              </a:xfrm>
              <a:prstGeom prst="line">
                <a:avLst/>
              </a:prstGeom>
              <a:noFill/>
              <a:ln w="12700" cap="flat" cmpd="sng" algn="ctr">
                <a:solidFill>
                  <a:srgbClr val="FFFFFF"/>
                </a:solidFill>
                <a:prstDash val="solid"/>
                <a:headEnd type="none" w="lg" len="med"/>
                <a:tailEnd type="none" w="lg" len="med"/>
              </a:ln>
              <a:effectLst/>
            </p:spPr>
          </p:cxnSp>
          <p:cxnSp>
            <p:nvCxnSpPr>
              <p:cNvPr id="302" name="Straight Connector 301">
                <a:extLst>
                  <a:ext uri="{FF2B5EF4-FFF2-40B4-BE49-F238E27FC236}">
                    <a16:creationId xmlns:a16="http://schemas.microsoft.com/office/drawing/2014/main" id="{BACCE3D5-2EFF-96E6-F148-7421EC736782}"/>
                  </a:ext>
                </a:extLst>
              </p:cNvPr>
              <p:cNvCxnSpPr>
                <a:cxnSpLocks/>
              </p:cNvCxnSpPr>
              <p:nvPr/>
            </p:nvCxnSpPr>
            <p:spPr>
              <a:xfrm rot="16200000">
                <a:off x="6299503" y="2339390"/>
                <a:ext cx="0" cy="460793"/>
              </a:xfrm>
              <a:prstGeom prst="line">
                <a:avLst/>
              </a:prstGeom>
              <a:noFill/>
              <a:ln w="12700" cap="flat" cmpd="sng" algn="ctr">
                <a:solidFill>
                  <a:srgbClr val="FFFFFF"/>
                </a:solidFill>
                <a:prstDash val="solid"/>
                <a:headEnd type="none" w="lg" len="med"/>
                <a:tailEnd type="none" w="lg" len="med"/>
              </a:ln>
              <a:effectLst/>
            </p:spPr>
          </p:cxnSp>
        </p:grpSp>
        <p:sp>
          <p:nvSpPr>
            <p:cNvPr id="165" name="Rectangle 164">
              <a:extLst>
                <a:ext uri="{FF2B5EF4-FFF2-40B4-BE49-F238E27FC236}">
                  <a16:creationId xmlns:a16="http://schemas.microsoft.com/office/drawing/2014/main" id="{DBBE243F-B81A-A7D3-E056-172564C1E1F7}"/>
                </a:ext>
              </a:extLst>
            </p:cNvPr>
            <p:cNvSpPr/>
            <p:nvPr/>
          </p:nvSpPr>
          <p:spPr bwMode="auto">
            <a:xfrm>
              <a:off x="6762843" y="1718188"/>
              <a:ext cx="1552755" cy="4051822"/>
            </a:xfrm>
            <a:prstGeom prst="rect">
              <a:avLst/>
            </a:prstGeom>
            <a:noFill/>
            <a:ln w="19050" cap="flat" cmpd="sng" algn="ctr">
              <a:solidFill>
                <a:sysClr val="window" lastClr="FFFFFF">
                  <a:lumMod val="75000"/>
                </a:sys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6" name="Elbow Connector 64">
              <a:extLst>
                <a:ext uri="{FF2B5EF4-FFF2-40B4-BE49-F238E27FC236}">
                  <a16:creationId xmlns:a16="http://schemas.microsoft.com/office/drawing/2014/main" id="{8CE82E6B-6EDA-2681-2860-C899487592D3}"/>
                </a:ext>
              </a:extLst>
            </p:cNvPr>
            <p:cNvCxnSpPr>
              <a:cxnSpLocks/>
              <a:stCxn id="298" idx="2"/>
              <a:endCxn id="183" idx="1"/>
            </p:cNvCxnSpPr>
            <p:nvPr/>
          </p:nvCxnSpPr>
          <p:spPr>
            <a:xfrm rot="16200000" flipH="1">
              <a:off x="6025613" y="2868112"/>
              <a:ext cx="1662584" cy="982871"/>
            </a:xfrm>
            <a:prstGeom prst="bentConnector2">
              <a:avLst/>
            </a:prstGeom>
            <a:noFill/>
            <a:ln w="12700" cap="flat" cmpd="sng" algn="ctr">
              <a:solidFill>
                <a:sysClr val="windowText" lastClr="000000"/>
              </a:solidFill>
              <a:prstDash val="solid"/>
              <a:headEnd type="none" w="lg" len="med"/>
              <a:tailEnd type="triangle"/>
            </a:ln>
            <a:effectLst/>
          </p:spPr>
        </p:cxnSp>
        <p:cxnSp>
          <p:nvCxnSpPr>
            <p:cNvPr id="167" name="Elbow Connector 65">
              <a:extLst>
                <a:ext uri="{FF2B5EF4-FFF2-40B4-BE49-F238E27FC236}">
                  <a16:creationId xmlns:a16="http://schemas.microsoft.com/office/drawing/2014/main" id="{614405CB-DFCD-134B-1DF1-E3F300FD6DB3}"/>
                </a:ext>
              </a:extLst>
            </p:cNvPr>
            <p:cNvCxnSpPr>
              <a:cxnSpLocks/>
              <a:endCxn id="163" idx="0"/>
            </p:cNvCxnSpPr>
            <p:nvPr/>
          </p:nvCxnSpPr>
          <p:spPr>
            <a:xfrm>
              <a:off x="7585900" y="4039006"/>
              <a:ext cx="1442480" cy="241267"/>
            </a:xfrm>
            <a:prstGeom prst="bentConnector2">
              <a:avLst/>
            </a:prstGeom>
            <a:noFill/>
            <a:ln w="12700" cap="flat" cmpd="sng" algn="ctr">
              <a:solidFill>
                <a:srgbClr val="C00000"/>
              </a:solidFill>
              <a:prstDash val="solid"/>
              <a:headEnd type="none" w="lg" len="med"/>
              <a:tailEnd type="triangle"/>
            </a:ln>
            <a:effectLst/>
          </p:spPr>
        </p:cxnSp>
        <p:sp>
          <p:nvSpPr>
            <p:cNvPr id="168" name="TextBox 167">
              <a:extLst>
                <a:ext uri="{FF2B5EF4-FFF2-40B4-BE49-F238E27FC236}">
                  <a16:creationId xmlns:a16="http://schemas.microsoft.com/office/drawing/2014/main" id="{755AD0DD-A7ED-910C-35D5-B1845F03E1CB}"/>
                </a:ext>
              </a:extLst>
            </p:cNvPr>
            <p:cNvSpPr txBox="1"/>
            <p:nvPr/>
          </p:nvSpPr>
          <p:spPr>
            <a:xfrm>
              <a:off x="7840198" y="4070413"/>
              <a:ext cx="437620"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C00000"/>
                  </a:solidFill>
                  <a:effectLst/>
                  <a:uLnTx/>
                  <a:uFillTx/>
                  <a:latin typeface="Segoe UI"/>
                  <a:ea typeface="+mn-ea"/>
                  <a:cs typeface="+mn-cs"/>
                </a:rPr>
                <a:t>Failover</a:t>
              </a:r>
            </a:p>
          </p:txBody>
        </p:sp>
        <p:sp>
          <p:nvSpPr>
            <p:cNvPr id="169" name="TextBox 168">
              <a:extLst>
                <a:ext uri="{FF2B5EF4-FFF2-40B4-BE49-F238E27FC236}">
                  <a16:creationId xmlns:a16="http://schemas.microsoft.com/office/drawing/2014/main" id="{93FBB7B4-7E27-78AC-5ABE-9C0257C1A046}"/>
                </a:ext>
              </a:extLst>
            </p:cNvPr>
            <p:cNvSpPr txBox="1"/>
            <p:nvPr/>
          </p:nvSpPr>
          <p:spPr>
            <a:xfrm>
              <a:off x="9302549" y="4220112"/>
              <a:ext cx="866747" cy="3048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Secondary Replica</a:t>
              </a:r>
            </a:p>
          </p:txBody>
        </p:sp>
        <p:sp>
          <p:nvSpPr>
            <p:cNvPr id="170" name="Rectangle 169">
              <a:extLst>
                <a:ext uri="{FF2B5EF4-FFF2-40B4-BE49-F238E27FC236}">
                  <a16:creationId xmlns:a16="http://schemas.microsoft.com/office/drawing/2014/main" id="{405277FA-6ADF-0486-4B2E-A8D3F60938AE}"/>
                </a:ext>
              </a:extLst>
            </p:cNvPr>
            <p:cNvSpPr/>
            <p:nvPr/>
          </p:nvSpPr>
          <p:spPr bwMode="auto">
            <a:xfrm>
              <a:off x="10209680" y="3442953"/>
              <a:ext cx="871227" cy="392194"/>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Segoe UI" pitchFamily="34" charset="0"/>
                  <a:cs typeface="Segoe UI" pitchFamily="34" charset="0"/>
                </a:rPr>
                <a:t>SSD, data, log</a:t>
              </a:r>
            </a:p>
          </p:txBody>
        </p:sp>
        <p:pic>
          <p:nvPicPr>
            <p:cNvPr id="171" name="Graphic 170">
              <a:extLst>
                <a:ext uri="{FF2B5EF4-FFF2-40B4-BE49-F238E27FC236}">
                  <a16:creationId xmlns:a16="http://schemas.microsoft.com/office/drawing/2014/main" id="{410996E2-3412-CAEB-92BE-ED774A79BB8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434646" y="3018892"/>
              <a:ext cx="467684" cy="467684"/>
            </a:xfrm>
            <a:prstGeom prst="rect">
              <a:avLst/>
            </a:prstGeom>
          </p:spPr>
        </p:pic>
        <p:sp>
          <p:nvSpPr>
            <p:cNvPr id="172" name="TextBox 171">
              <a:extLst>
                <a:ext uri="{FF2B5EF4-FFF2-40B4-BE49-F238E27FC236}">
                  <a16:creationId xmlns:a16="http://schemas.microsoft.com/office/drawing/2014/main" id="{C6F49922-3F21-06F5-3976-1C846702D3F0}"/>
                </a:ext>
              </a:extLst>
            </p:cNvPr>
            <p:cNvSpPr txBox="1"/>
            <p:nvPr/>
          </p:nvSpPr>
          <p:spPr>
            <a:xfrm>
              <a:off x="10937244" y="3022830"/>
              <a:ext cx="866747" cy="3048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Secondary Replica</a:t>
              </a:r>
            </a:p>
          </p:txBody>
        </p:sp>
        <p:sp>
          <p:nvSpPr>
            <p:cNvPr id="173" name="Rectangle 172">
              <a:extLst>
                <a:ext uri="{FF2B5EF4-FFF2-40B4-BE49-F238E27FC236}">
                  <a16:creationId xmlns:a16="http://schemas.microsoft.com/office/drawing/2014/main" id="{446D2485-E49E-64D6-0C9E-3A2783FE8C3D}"/>
                </a:ext>
              </a:extLst>
            </p:cNvPr>
            <p:cNvSpPr/>
            <p:nvPr/>
          </p:nvSpPr>
          <p:spPr bwMode="auto">
            <a:xfrm>
              <a:off x="7376671" y="3420871"/>
              <a:ext cx="871227" cy="392194"/>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Segoe UI" pitchFamily="34" charset="0"/>
                  <a:cs typeface="Segoe UI" pitchFamily="34" charset="0"/>
                </a:rPr>
                <a:t>SSD, data, log</a:t>
              </a:r>
            </a:p>
          </p:txBody>
        </p:sp>
        <p:pic>
          <p:nvPicPr>
            <p:cNvPr id="174" name="Graphic 173">
              <a:extLst>
                <a:ext uri="{FF2B5EF4-FFF2-40B4-BE49-F238E27FC236}">
                  <a16:creationId xmlns:a16="http://schemas.microsoft.com/office/drawing/2014/main" id="{EE2E4944-49F6-6254-C658-B0BDC936DF3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1637" y="2996810"/>
              <a:ext cx="467684" cy="467684"/>
            </a:xfrm>
            <a:prstGeom prst="rect">
              <a:avLst/>
            </a:prstGeom>
          </p:spPr>
        </p:pic>
        <p:grpSp>
          <p:nvGrpSpPr>
            <p:cNvPr id="175" name="Group 174">
              <a:extLst>
                <a:ext uri="{FF2B5EF4-FFF2-40B4-BE49-F238E27FC236}">
                  <a16:creationId xmlns:a16="http://schemas.microsoft.com/office/drawing/2014/main" id="{2A1543E4-B213-4459-6571-D640E6F84CE3}"/>
                </a:ext>
              </a:extLst>
            </p:cNvPr>
            <p:cNvGrpSpPr/>
            <p:nvPr/>
          </p:nvGrpSpPr>
          <p:grpSpPr>
            <a:xfrm>
              <a:off x="6845404" y="2104361"/>
              <a:ext cx="1438611" cy="737094"/>
              <a:chOff x="7426628" y="1653795"/>
              <a:chExt cx="1438611" cy="737094"/>
            </a:xfrm>
          </p:grpSpPr>
          <p:sp>
            <p:nvSpPr>
              <p:cNvPr id="270" name="Oval 269">
                <a:extLst>
                  <a:ext uri="{FF2B5EF4-FFF2-40B4-BE49-F238E27FC236}">
                    <a16:creationId xmlns:a16="http://schemas.microsoft.com/office/drawing/2014/main" id="{262139BB-0229-4D81-9223-C35F740C3890}"/>
                  </a:ext>
                </a:extLst>
              </p:cNvPr>
              <p:cNvSpPr/>
              <p:nvPr/>
            </p:nvSpPr>
            <p:spPr bwMode="auto">
              <a:xfrm>
                <a:off x="7519447" y="1892129"/>
                <a:ext cx="1300145" cy="474476"/>
              </a:xfrm>
              <a:prstGeom prst="ellipse">
                <a:avLst/>
              </a:prstGeom>
              <a:noFill/>
              <a:ln w="19050" cap="rnd"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1" name="Rectangle 270">
                <a:extLst>
                  <a:ext uri="{FF2B5EF4-FFF2-40B4-BE49-F238E27FC236}">
                    <a16:creationId xmlns:a16="http://schemas.microsoft.com/office/drawing/2014/main" id="{93742F8F-3280-551B-35B6-4D542990B726}"/>
                  </a:ext>
                </a:extLst>
              </p:cNvPr>
              <p:cNvSpPr/>
              <p:nvPr/>
            </p:nvSpPr>
            <p:spPr bwMode="auto">
              <a:xfrm>
                <a:off x="7519448" y="1966369"/>
                <a:ext cx="1345791" cy="424520"/>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2" name="Oval 271">
                <a:extLst>
                  <a:ext uri="{FF2B5EF4-FFF2-40B4-BE49-F238E27FC236}">
                    <a16:creationId xmlns:a16="http://schemas.microsoft.com/office/drawing/2014/main" id="{45659644-35BE-09B4-9B75-83A262407DB4}"/>
                  </a:ext>
                </a:extLst>
              </p:cNvPr>
              <p:cNvSpPr/>
              <p:nvPr/>
            </p:nvSpPr>
            <p:spPr bwMode="auto">
              <a:xfrm>
                <a:off x="7525009" y="1892236"/>
                <a:ext cx="1290785" cy="474476"/>
              </a:xfrm>
              <a:prstGeom prst="ellipse">
                <a:avLst/>
              </a:prstGeom>
              <a:noFill/>
              <a:ln w="28575" cap="rnd" cmpd="sng" algn="ctr">
                <a:solidFill>
                  <a:srgbClr val="0078D4"/>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3" name="TextBox 272">
                <a:extLst>
                  <a:ext uri="{FF2B5EF4-FFF2-40B4-BE49-F238E27FC236}">
                    <a16:creationId xmlns:a16="http://schemas.microsoft.com/office/drawing/2014/main" id="{CE4593FA-0A17-6BFA-5CB9-E77E9F84E6CE}"/>
                  </a:ext>
                </a:extLst>
              </p:cNvPr>
              <p:cNvSpPr txBox="1"/>
              <p:nvPr/>
            </p:nvSpPr>
            <p:spPr>
              <a:xfrm>
                <a:off x="7426628" y="1748736"/>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74" name="TextBox 273">
                <a:extLst>
                  <a:ext uri="{FF2B5EF4-FFF2-40B4-BE49-F238E27FC236}">
                    <a16:creationId xmlns:a16="http://schemas.microsoft.com/office/drawing/2014/main" id="{941D31ED-9CE2-D2A9-BE69-56AEC715C28C}"/>
                  </a:ext>
                </a:extLst>
              </p:cNvPr>
              <p:cNvSpPr txBox="1"/>
              <p:nvPr/>
            </p:nvSpPr>
            <p:spPr>
              <a:xfrm>
                <a:off x="7854156" y="1653795"/>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75" name="TextBox 274">
                <a:extLst>
                  <a:ext uri="{FF2B5EF4-FFF2-40B4-BE49-F238E27FC236}">
                    <a16:creationId xmlns:a16="http://schemas.microsoft.com/office/drawing/2014/main" id="{A3A6B261-4CDA-D329-3CFC-28702C96888A}"/>
                  </a:ext>
                </a:extLst>
              </p:cNvPr>
              <p:cNvSpPr txBox="1"/>
              <p:nvPr/>
            </p:nvSpPr>
            <p:spPr>
              <a:xfrm>
                <a:off x="8269272" y="1663321"/>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76" name="TextBox 275">
                <a:extLst>
                  <a:ext uri="{FF2B5EF4-FFF2-40B4-BE49-F238E27FC236}">
                    <a16:creationId xmlns:a16="http://schemas.microsoft.com/office/drawing/2014/main" id="{AC2B3DE2-F620-1E8E-4588-5FCE552DA49A}"/>
                  </a:ext>
                </a:extLst>
              </p:cNvPr>
              <p:cNvSpPr txBox="1"/>
              <p:nvPr/>
            </p:nvSpPr>
            <p:spPr>
              <a:xfrm>
                <a:off x="7814342" y="2088626"/>
                <a:ext cx="634025"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Control Ring</a:t>
                </a:r>
              </a:p>
            </p:txBody>
          </p:sp>
          <p:grpSp>
            <p:nvGrpSpPr>
              <p:cNvPr id="277" name="Group 276">
                <a:extLst>
                  <a:ext uri="{FF2B5EF4-FFF2-40B4-BE49-F238E27FC236}">
                    <a16:creationId xmlns:a16="http://schemas.microsoft.com/office/drawing/2014/main" id="{4E3C483A-03BA-C2A9-91C2-EACD548BF32A}"/>
                  </a:ext>
                </a:extLst>
              </p:cNvPr>
              <p:cNvGrpSpPr/>
              <p:nvPr/>
            </p:nvGrpSpPr>
            <p:grpSpPr>
              <a:xfrm>
                <a:off x="7608266" y="1838124"/>
                <a:ext cx="214840" cy="223285"/>
                <a:chOff x="13071009" y="3404199"/>
                <a:chExt cx="369615" cy="384144"/>
              </a:xfrm>
            </p:grpSpPr>
            <p:sp>
              <p:nvSpPr>
                <p:cNvPr id="292" name="Rectangle 291">
                  <a:extLst>
                    <a:ext uri="{FF2B5EF4-FFF2-40B4-BE49-F238E27FC236}">
                      <a16:creationId xmlns:a16="http://schemas.microsoft.com/office/drawing/2014/main" id="{CBC28E9A-BE70-CEDF-B088-7B3F0164899C}"/>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3" name="Group 292">
                  <a:extLst>
                    <a:ext uri="{FF2B5EF4-FFF2-40B4-BE49-F238E27FC236}">
                      <a16:creationId xmlns:a16="http://schemas.microsoft.com/office/drawing/2014/main" id="{D7BC3968-513F-AB4E-05FC-790D150ED7B1}"/>
                    </a:ext>
                  </a:extLst>
                </p:cNvPr>
                <p:cNvGrpSpPr/>
                <p:nvPr/>
              </p:nvGrpSpPr>
              <p:grpSpPr>
                <a:xfrm>
                  <a:off x="13124976" y="3422562"/>
                  <a:ext cx="263000" cy="365781"/>
                  <a:chOff x="12590745" y="5672000"/>
                  <a:chExt cx="522378" cy="726522"/>
                </a:xfrm>
              </p:grpSpPr>
              <p:sp>
                <p:nvSpPr>
                  <p:cNvPr id="294" name="Freeform 101">
                    <a:extLst>
                      <a:ext uri="{FF2B5EF4-FFF2-40B4-BE49-F238E27FC236}">
                        <a16:creationId xmlns:a16="http://schemas.microsoft.com/office/drawing/2014/main" id="{8F3764BF-FB1F-B082-4FB8-FC5165AE6630}"/>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Down Arrow 102">
                    <a:extLst>
                      <a:ext uri="{FF2B5EF4-FFF2-40B4-BE49-F238E27FC236}">
                        <a16:creationId xmlns:a16="http://schemas.microsoft.com/office/drawing/2014/main" id="{1DFD1A29-294D-A1FC-8AA8-FF5DDD5B0241}"/>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Down Arrow 103">
                    <a:extLst>
                      <a:ext uri="{FF2B5EF4-FFF2-40B4-BE49-F238E27FC236}">
                        <a16:creationId xmlns:a16="http://schemas.microsoft.com/office/drawing/2014/main" id="{B553C149-8048-2897-07F3-68C76813EFE1}"/>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7" name="Down Arrow 104">
                    <a:extLst>
                      <a:ext uri="{FF2B5EF4-FFF2-40B4-BE49-F238E27FC236}">
                        <a16:creationId xmlns:a16="http://schemas.microsoft.com/office/drawing/2014/main" id="{76023440-ED6A-AD52-CD0A-A9E6421C98F5}"/>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78" name="Group 277">
                <a:extLst>
                  <a:ext uri="{FF2B5EF4-FFF2-40B4-BE49-F238E27FC236}">
                    <a16:creationId xmlns:a16="http://schemas.microsoft.com/office/drawing/2014/main" id="{E094F86D-32F3-232D-7684-67CA93980ECC}"/>
                  </a:ext>
                </a:extLst>
              </p:cNvPr>
              <p:cNvGrpSpPr/>
              <p:nvPr/>
            </p:nvGrpSpPr>
            <p:grpSpPr>
              <a:xfrm>
                <a:off x="8009735" y="1787294"/>
                <a:ext cx="214840" cy="223285"/>
                <a:chOff x="13071009" y="3404199"/>
                <a:chExt cx="369615" cy="384144"/>
              </a:xfrm>
            </p:grpSpPr>
            <p:sp>
              <p:nvSpPr>
                <p:cNvPr id="286" name="Rectangle 285">
                  <a:extLst>
                    <a:ext uri="{FF2B5EF4-FFF2-40B4-BE49-F238E27FC236}">
                      <a16:creationId xmlns:a16="http://schemas.microsoft.com/office/drawing/2014/main" id="{8B824CD7-171A-594D-D384-C08D5549BC90}"/>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7" name="Group 286">
                  <a:extLst>
                    <a:ext uri="{FF2B5EF4-FFF2-40B4-BE49-F238E27FC236}">
                      <a16:creationId xmlns:a16="http://schemas.microsoft.com/office/drawing/2014/main" id="{E9AC00B9-EB75-6A4A-F642-D7E7A172D4F1}"/>
                    </a:ext>
                  </a:extLst>
                </p:cNvPr>
                <p:cNvGrpSpPr/>
                <p:nvPr/>
              </p:nvGrpSpPr>
              <p:grpSpPr>
                <a:xfrm>
                  <a:off x="13124976" y="3422562"/>
                  <a:ext cx="263000" cy="365781"/>
                  <a:chOff x="12590745" y="5672000"/>
                  <a:chExt cx="522378" cy="726522"/>
                </a:xfrm>
              </p:grpSpPr>
              <p:sp>
                <p:nvSpPr>
                  <p:cNvPr id="288" name="Freeform 95">
                    <a:extLst>
                      <a:ext uri="{FF2B5EF4-FFF2-40B4-BE49-F238E27FC236}">
                        <a16:creationId xmlns:a16="http://schemas.microsoft.com/office/drawing/2014/main" id="{F4073FD8-7667-41D6-BBD5-514F4F3022C3}"/>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9" name="Down Arrow 96">
                    <a:extLst>
                      <a:ext uri="{FF2B5EF4-FFF2-40B4-BE49-F238E27FC236}">
                        <a16:creationId xmlns:a16="http://schemas.microsoft.com/office/drawing/2014/main" id="{37B0249D-1CD7-A0F5-64AD-80B8A0708C63}"/>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0" name="Down Arrow 97">
                    <a:extLst>
                      <a:ext uri="{FF2B5EF4-FFF2-40B4-BE49-F238E27FC236}">
                        <a16:creationId xmlns:a16="http://schemas.microsoft.com/office/drawing/2014/main" id="{AF34323F-716C-9DAE-8573-2AE1CF1EC0EE}"/>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1" name="Down Arrow 98">
                    <a:extLst>
                      <a:ext uri="{FF2B5EF4-FFF2-40B4-BE49-F238E27FC236}">
                        <a16:creationId xmlns:a16="http://schemas.microsoft.com/office/drawing/2014/main" id="{938A93D0-A023-AE12-81FF-3B57AC1C03DE}"/>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79" name="Group 278">
                <a:extLst>
                  <a:ext uri="{FF2B5EF4-FFF2-40B4-BE49-F238E27FC236}">
                    <a16:creationId xmlns:a16="http://schemas.microsoft.com/office/drawing/2014/main" id="{E854575A-DFD9-7FA2-951E-4D77C4715F58}"/>
                  </a:ext>
                </a:extLst>
              </p:cNvPr>
              <p:cNvGrpSpPr/>
              <p:nvPr/>
            </p:nvGrpSpPr>
            <p:grpSpPr>
              <a:xfrm>
                <a:off x="8433705" y="1791360"/>
                <a:ext cx="214840" cy="223285"/>
                <a:chOff x="13071009" y="3404199"/>
                <a:chExt cx="369615" cy="384144"/>
              </a:xfrm>
            </p:grpSpPr>
            <p:sp>
              <p:nvSpPr>
                <p:cNvPr id="280" name="Rectangle 279">
                  <a:extLst>
                    <a:ext uri="{FF2B5EF4-FFF2-40B4-BE49-F238E27FC236}">
                      <a16:creationId xmlns:a16="http://schemas.microsoft.com/office/drawing/2014/main" id="{769A8036-89B3-E700-87E2-9ECDC7F30683}"/>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1" name="Group 280">
                  <a:extLst>
                    <a:ext uri="{FF2B5EF4-FFF2-40B4-BE49-F238E27FC236}">
                      <a16:creationId xmlns:a16="http://schemas.microsoft.com/office/drawing/2014/main" id="{74E8E3B1-9897-603D-3A91-87031421386D}"/>
                    </a:ext>
                  </a:extLst>
                </p:cNvPr>
                <p:cNvGrpSpPr/>
                <p:nvPr/>
              </p:nvGrpSpPr>
              <p:grpSpPr>
                <a:xfrm>
                  <a:off x="13124976" y="3422562"/>
                  <a:ext cx="263000" cy="365781"/>
                  <a:chOff x="12590745" y="5672000"/>
                  <a:chExt cx="522378" cy="726522"/>
                </a:xfrm>
              </p:grpSpPr>
              <p:sp>
                <p:nvSpPr>
                  <p:cNvPr id="282" name="Freeform 89">
                    <a:extLst>
                      <a:ext uri="{FF2B5EF4-FFF2-40B4-BE49-F238E27FC236}">
                        <a16:creationId xmlns:a16="http://schemas.microsoft.com/office/drawing/2014/main" id="{A8D35E34-B76B-E427-1828-A43CD46FE4F7}"/>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3" name="Down Arrow 90">
                    <a:extLst>
                      <a:ext uri="{FF2B5EF4-FFF2-40B4-BE49-F238E27FC236}">
                        <a16:creationId xmlns:a16="http://schemas.microsoft.com/office/drawing/2014/main" id="{ACEE729C-A5A0-93F3-96C5-80ADA8D03968}"/>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4" name="Down Arrow 91">
                    <a:extLst>
                      <a:ext uri="{FF2B5EF4-FFF2-40B4-BE49-F238E27FC236}">
                        <a16:creationId xmlns:a16="http://schemas.microsoft.com/office/drawing/2014/main" id="{1FDF7708-64B7-7883-0301-7E6977977BC0}"/>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5" name="Down Arrow 92">
                    <a:extLst>
                      <a:ext uri="{FF2B5EF4-FFF2-40B4-BE49-F238E27FC236}">
                        <a16:creationId xmlns:a16="http://schemas.microsoft.com/office/drawing/2014/main" id="{A2B84119-F5B3-6602-41DC-2FC2DD269D14}"/>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176" name="TextBox 175">
              <a:extLst>
                <a:ext uri="{FF2B5EF4-FFF2-40B4-BE49-F238E27FC236}">
                  <a16:creationId xmlns:a16="http://schemas.microsoft.com/office/drawing/2014/main" id="{5ED0941E-FC92-0F8F-D07E-F2EB5B552753}"/>
                </a:ext>
              </a:extLst>
            </p:cNvPr>
            <p:cNvSpPr txBox="1"/>
            <p:nvPr/>
          </p:nvSpPr>
          <p:spPr>
            <a:xfrm>
              <a:off x="6863692" y="2959489"/>
              <a:ext cx="665058" cy="307777"/>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Secondary Replica</a:t>
              </a:r>
            </a:p>
          </p:txBody>
        </p:sp>
        <p:sp>
          <p:nvSpPr>
            <p:cNvPr id="177" name="TextBox 176">
              <a:extLst>
                <a:ext uri="{FF2B5EF4-FFF2-40B4-BE49-F238E27FC236}">
                  <a16:creationId xmlns:a16="http://schemas.microsoft.com/office/drawing/2014/main" id="{E89157FE-A7F3-E67A-7898-286A38FB9C48}"/>
                </a:ext>
              </a:extLst>
            </p:cNvPr>
            <p:cNvSpPr txBox="1"/>
            <p:nvPr/>
          </p:nvSpPr>
          <p:spPr>
            <a:xfrm>
              <a:off x="8560594" y="3399881"/>
              <a:ext cx="1294890" cy="36933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Segoe UI"/>
                  <a:ea typeface="+mn-ea"/>
                  <a:cs typeface="+mn-cs"/>
                </a:rPr>
                <a:t>Always ON Availability Group</a:t>
              </a:r>
            </a:p>
          </p:txBody>
        </p:sp>
        <p:sp>
          <p:nvSpPr>
            <p:cNvPr id="178" name="Rectangle 177">
              <a:extLst>
                <a:ext uri="{FF2B5EF4-FFF2-40B4-BE49-F238E27FC236}">
                  <a16:creationId xmlns:a16="http://schemas.microsoft.com/office/drawing/2014/main" id="{CAC0F7B1-0499-09FA-0A2F-B4674B17B3BC}"/>
                </a:ext>
              </a:extLst>
            </p:cNvPr>
            <p:cNvSpPr/>
            <p:nvPr/>
          </p:nvSpPr>
          <p:spPr bwMode="auto">
            <a:xfrm>
              <a:off x="6762844" y="5194473"/>
              <a:ext cx="4831300" cy="657723"/>
            </a:xfrm>
            <a:prstGeom prst="rect">
              <a:avLst/>
            </a:prstGeom>
            <a:solidFill>
              <a:srgbClr val="0078D4">
                <a:lumMod val="20000"/>
                <a:lumOff val="80000"/>
              </a:srgbClr>
            </a:solidFill>
            <a:ln w="9525" cap="flat" cmpd="sng" algn="ctr">
              <a:solidFill>
                <a:srgbClr val="0078D4">
                  <a:lumMod val="20000"/>
                  <a:lumOff val="8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9" name="Group 178">
              <a:extLst>
                <a:ext uri="{FF2B5EF4-FFF2-40B4-BE49-F238E27FC236}">
                  <a16:creationId xmlns:a16="http://schemas.microsoft.com/office/drawing/2014/main" id="{794156F5-34EC-4A3E-35FA-79F3714179B8}"/>
                </a:ext>
              </a:extLst>
            </p:cNvPr>
            <p:cNvGrpSpPr/>
            <p:nvPr/>
          </p:nvGrpSpPr>
          <p:grpSpPr>
            <a:xfrm>
              <a:off x="6969385" y="5319072"/>
              <a:ext cx="342403" cy="409614"/>
              <a:chOff x="6191877" y="4806490"/>
              <a:chExt cx="413768" cy="494987"/>
            </a:xfrm>
          </p:grpSpPr>
          <p:grpSp>
            <p:nvGrpSpPr>
              <p:cNvPr id="254" name="Group 253">
                <a:extLst>
                  <a:ext uri="{FF2B5EF4-FFF2-40B4-BE49-F238E27FC236}">
                    <a16:creationId xmlns:a16="http://schemas.microsoft.com/office/drawing/2014/main" id="{05F626F5-B66E-87E3-2C79-A38E9EF9A531}"/>
                  </a:ext>
                </a:extLst>
              </p:cNvPr>
              <p:cNvGrpSpPr/>
              <p:nvPr/>
            </p:nvGrpSpPr>
            <p:grpSpPr>
              <a:xfrm>
                <a:off x="6191877" y="4806490"/>
                <a:ext cx="293717" cy="359549"/>
                <a:chOff x="965200" y="3436897"/>
                <a:chExt cx="528881" cy="647424"/>
              </a:xfrm>
            </p:grpSpPr>
            <p:grpSp>
              <p:nvGrpSpPr>
                <p:cNvPr id="263" name="Group 262">
                  <a:extLst>
                    <a:ext uri="{FF2B5EF4-FFF2-40B4-BE49-F238E27FC236}">
                      <a16:creationId xmlns:a16="http://schemas.microsoft.com/office/drawing/2014/main" id="{053CB87D-4BD6-3154-AEDE-BDFCEFDC6BC9}"/>
                    </a:ext>
                  </a:extLst>
                </p:cNvPr>
                <p:cNvGrpSpPr/>
                <p:nvPr/>
              </p:nvGrpSpPr>
              <p:grpSpPr>
                <a:xfrm flipH="1">
                  <a:off x="965200" y="3436897"/>
                  <a:ext cx="528881" cy="647424"/>
                  <a:chOff x="3003960" y="3685414"/>
                  <a:chExt cx="403310" cy="493707"/>
                </a:xfrm>
              </p:grpSpPr>
              <p:sp>
                <p:nvSpPr>
                  <p:cNvPr id="268" name="Snip Single Corner Rectangle 26">
                    <a:extLst>
                      <a:ext uri="{FF2B5EF4-FFF2-40B4-BE49-F238E27FC236}">
                        <a16:creationId xmlns:a16="http://schemas.microsoft.com/office/drawing/2014/main" id="{AC239D84-007C-11E8-98AB-CD6BCB27B15B}"/>
                      </a:ext>
                    </a:extLst>
                  </p:cNvPr>
                  <p:cNvSpPr/>
                  <p:nvPr/>
                </p:nvSpPr>
                <p:spPr bwMode="auto">
                  <a:xfrm flipH="1">
                    <a:off x="3003960" y="3685414"/>
                    <a:ext cx="403310" cy="493707"/>
                  </a:xfrm>
                  <a:prstGeom prst="snip1Rect">
                    <a:avLst>
                      <a:gd name="adj" fmla="val 28736"/>
                    </a:avLst>
                  </a:prstGeom>
                  <a:solidFill>
                    <a:srgbClr val="0078D4"/>
                  </a:solidFill>
                  <a:ln w="1270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9" name="Triangle 27">
                    <a:extLst>
                      <a:ext uri="{FF2B5EF4-FFF2-40B4-BE49-F238E27FC236}">
                        <a16:creationId xmlns:a16="http://schemas.microsoft.com/office/drawing/2014/main" id="{8990E9D0-8253-7654-08B8-4BDDF0BF8399}"/>
                      </a:ext>
                    </a:extLst>
                  </p:cNvPr>
                  <p:cNvSpPr/>
                  <p:nvPr/>
                </p:nvSpPr>
                <p:spPr bwMode="auto">
                  <a:xfrm rot="8100000">
                    <a:off x="3012552" y="3733609"/>
                    <a:ext cx="160049" cy="80930"/>
                  </a:xfrm>
                  <a:prstGeom prst="triangle">
                    <a:avLst/>
                  </a:prstGeom>
                  <a:solidFill>
                    <a:sysClr val="windowText" lastClr="000000"/>
                  </a:solidFill>
                  <a:ln w="12700" cap="flat" cmpd="sng" algn="ctr">
                    <a:no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64" name="Straight Connector 263">
                  <a:extLst>
                    <a:ext uri="{FF2B5EF4-FFF2-40B4-BE49-F238E27FC236}">
                      <a16:creationId xmlns:a16="http://schemas.microsoft.com/office/drawing/2014/main" id="{EFE749A3-6600-C367-D567-D2C279A6FCF9}"/>
                    </a:ext>
                  </a:extLst>
                </p:cNvPr>
                <p:cNvCxnSpPr/>
                <p:nvPr/>
              </p:nvCxnSpPr>
              <p:spPr>
                <a:xfrm>
                  <a:off x="1047750" y="3578225"/>
                  <a:ext cx="215900" cy="0"/>
                </a:xfrm>
                <a:prstGeom prst="line">
                  <a:avLst/>
                </a:prstGeom>
                <a:noFill/>
                <a:ln w="12700" cap="rnd" cmpd="sng" algn="ctr">
                  <a:solidFill>
                    <a:sysClr val="windowText" lastClr="000000"/>
                  </a:solidFill>
                  <a:prstDash val="solid"/>
                  <a:miter lim="800000"/>
                  <a:headEnd type="none"/>
                  <a:tailEnd type="none"/>
                </a:ln>
                <a:effectLst/>
              </p:spPr>
            </p:cxnSp>
            <p:cxnSp>
              <p:nvCxnSpPr>
                <p:cNvPr id="265" name="Straight Connector 264">
                  <a:extLst>
                    <a:ext uri="{FF2B5EF4-FFF2-40B4-BE49-F238E27FC236}">
                      <a16:creationId xmlns:a16="http://schemas.microsoft.com/office/drawing/2014/main" id="{5087C026-4162-9307-1DFF-6ED7C0AC8A12}"/>
                    </a:ext>
                  </a:extLst>
                </p:cNvPr>
                <p:cNvCxnSpPr/>
                <p:nvPr/>
              </p:nvCxnSpPr>
              <p:spPr>
                <a:xfrm>
                  <a:off x="1047750" y="3697817"/>
                  <a:ext cx="368300" cy="0"/>
                </a:xfrm>
                <a:prstGeom prst="line">
                  <a:avLst/>
                </a:prstGeom>
                <a:noFill/>
                <a:ln w="12700" cap="rnd" cmpd="sng" algn="ctr">
                  <a:solidFill>
                    <a:sysClr val="windowText" lastClr="000000"/>
                  </a:solidFill>
                  <a:prstDash val="solid"/>
                  <a:miter lim="800000"/>
                  <a:headEnd type="none"/>
                  <a:tailEnd type="none"/>
                </a:ln>
                <a:effectLst/>
              </p:spPr>
            </p:cxnSp>
            <p:cxnSp>
              <p:nvCxnSpPr>
                <p:cNvPr id="266" name="Straight Connector 265">
                  <a:extLst>
                    <a:ext uri="{FF2B5EF4-FFF2-40B4-BE49-F238E27FC236}">
                      <a16:creationId xmlns:a16="http://schemas.microsoft.com/office/drawing/2014/main" id="{64CDB6E8-1320-4382-15D7-D85EB4D255F0}"/>
                    </a:ext>
                  </a:extLst>
                </p:cNvPr>
                <p:cNvCxnSpPr/>
                <p:nvPr/>
              </p:nvCxnSpPr>
              <p:spPr>
                <a:xfrm>
                  <a:off x="1047750" y="3817409"/>
                  <a:ext cx="368300" cy="0"/>
                </a:xfrm>
                <a:prstGeom prst="line">
                  <a:avLst/>
                </a:prstGeom>
                <a:noFill/>
                <a:ln w="12700" cap="rnd" cmpd="sng" algn="ctr">
                  <a:solidFill>
                    <a:sysClr val="windowText" lastClr="000000"/>
                  </a:solidFill>
                  <a:prstDash val="solid"/>
                  <a:miter lim="800000"/>
                  <a:headEnd type="none"/>
                  <a:tailEnd type="none"/>
                </a:ln>
                <a:effectLst/>
              </p:spPr>
            </p:cxnSp>
            <p:cxnSp>
              <p:nvCxnSpPr>
                <p:cNvPr id="267" name="Straight Connector 266">
                  <a:extLst>
                    <a:ext uri="{FF2B5EF4-FFF2-40B4-BE49-F238E27FC236}">
                      <a16:creationId xmlns:a16="http://schemas.microsoft.com/office/drawing/2014/main" id="{7CC762E7-C6BE-C8F1-1293-0154ABB9F97F}"/>
                    </a:ext>
                  </a:extLst>
                </p:cNvPr>
                <p:cNvCxnSpPr/>
                <p:nvPr/>
              </p:nvCxnSpPr>
              <p:spPr>
                <a:xfrm>
                  <a:off x="1047750" y="3937000"/>
                  <a:ext cx="368300" cy="0"/>
                </a:xfrm>
                <a:prstGeom prst="line">
                  <a:avLst/>
                </a:prstGeom>
                <a:noFill/>
                <a:ln w="12700" cap="rnd" cmpd="sng" algn="ctr">
                  <a:solidFill>
                    <a:sysClr val="windowText" lastClr="000000"/>
                  </a:solidFill>
                  <a:prstDash val="solid"/>
                  <a:miter lim="800000"/>
                  <a:headEnd type="none"/>
                  <a:tailEnd type="none"/>
                </a:ln>
                <a:effectLst/>
              </p:spPr>
            </p:cxnSp>
          </p:grpSp>
          <p:grpSp>
            <p:nvGrpSpPr>
              <p:cNvPr id="255" name="Group 254">
                <a:extLst>
                  <a:ext uri="{FF2B5EF4-FFF2-40B4-BE49-F238E27FC236}">
                    <a16:creationId xmlns:a16="http://schemas.microsoft.com/office/drawing/2014/main" id="{A14262D4-7BE8-D470-7148-50D0D3A6D4F6}"/>
                  </a:ext>
                </a:extLst>
              </p:cNvPr>
              <p:cNvGrpSpPr/>
              <p:nvPr/>
            </p:nvGrpSpPr>
            <p:grpSpPr>
              <a:xfrm>
                <a:off x="6311928" y="4941928"/>
                <a:ext cx="293717" cy="359549"/>
                <a:chOff x="965200" y="3436897"/>
                <a:chExt cx="528881" cy="647424"/>
              </a:xfrm>
            </p:grpSpPr>
            <p:grpSp>
              <p:nvGrpSpPr>
                <p:cNvPr id="256" name="Group 255">
                  <a:extLst>
                    <a:ext uri="{FF2B5EF4-FFF2-40B4-BE49-F238E27FC236}">
                      <a16:creationId xmlns:a16="http://schemas.microsoft.com/office/drawing/2014/main" id="{CE723C85-B587-8C4C-414B-9439A866591E}"/>
                    </a:ext>
                  </a:extLst>
                </p:cNvPr>
                <p:cNvGrpSpPr/>
                <p:nvPr/>
              </p:nvGrpSpPr>
              <p:grpSpPr>
                <a:xfrm flipH="1">
                  <a:off x="965200" y="3436897"/>
                  <a:ext cx="528881" cy="647424"/>
                  <a:chOff x="3003960" y="3685414"/>
                  <a:chExt cx="403310" cy="493707"/>
                </a:xfrm>
              </p:grpSpPr>
              <p:sp>
                <p:nvSpPr>
                  <p:cNvPr id="261" name="Snip Single Corner Rectangle 26">
                    <a:extLst>
                      <a:ext uri="{FF2B5EF4-FFF2-40B4-BE49-F238E27FC236}">
                        <a16:creationId xmlns:a16="http://schemas.microsoft.com/office/drawing/2014/main" id="{8AAAAE40-F050-5E30-B105-2C97AA5B34B2}"/>
                      </a:ext>
                    </a:extLst>
                  </p:cNvPr>
                  <p:cNvSpPr/>
                  <p:nvPr/>
                </p:nvSpPr>
                <p:spPr bwMode="auto">
                  <a:xfrm flipH="1">
                    <a:off x="3003960" y="3685414"/>
                    <a:ext cx="403310" cy="493707"/>
                  </a:xfrm>
                  <a:prstGeom prst="snip1Rect">
                    <a:avLst>
                      <a:gd name="adj" fmla="val 28736"/>
                    </a:avLst>
                  </a:prstGeom>
                  <a:solidFill>
                    <a:srgbClr val="0078D4"/>
                  </a:solidFill>
                  <a:ln w="12700" cap="flat" cmpd="sng" algn="ctr">
                    <a:solidFill>
                      <a:srgbClr val="0078D4">
                        <a:lumMod val="20000"/>
                        <a:lumOff val="8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2" name="Triangle 27">
                    <a:extLst>
                      <a:ext uri="{FF2B5EF4-FFF2-40B4-BE49-F238E27FC236}">
                        <a16:creationId xmlns:a16="http://schemas.microsoft.com/office/drawing/2014/main" id="{F84786A6-0FC4-F61E-D6D5-E45044FCF303}"/>
                      </a:ext>
                    </a:extLst>
                  </p:cNvPr>
                  <p:cNvSpPr/>
                  <p:nvPr/>
                </p:nvSpPr>
                <p:spPr bwMode="auto">
                  <a:xfrm rot="8100000">
                    <a:off x="3012552" y="3733609"/>
                    <a:ext cx="160049" cy="80930"/>
                  </a:xfrm>
                  <a:prstGeom prst="triangle">
                    <a:avLst/>
                  </a:prstGeom>
                  <a:solidFill>
                    <a:sysClr val="windowText" lastClr="000000"/>
                  </a:solidFill>
                  <a:ln w="12700" cap="flat" cmpd="sng" algn="ctr">
                    <a:no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57" name="Straight Connector 256">
                  <a:extLst>
                    <a:ext uri="{FF2B5EF4-FFF2-40B4-BE49-F238E27FC236}">
                      <a16:creationId xmlns:a16="http://schemas.microsoft.com/office/drawing/2014/main" id="{EABECBF9-E2FD-41CC-5EED-20DA89C73A1E}"/>
                    </a:ext>
                  </a:extLst>
                </p:cNvPr>
                <p:cNvCxnSpPr/>
                <p:nvPr/>
              </p:nvCxnSpPr>
              <p:spPr>
                <a:xfrm>
                  <a:off x="1047750" y="3578225"/>
                  <a:ext cx="215900" cy="0"/>
                </a:xfrm>
                <a:prstGeom prst="line">
                  <a:avLst/>
                </a:prstGeom>
                <a:noFill/>
                <a:ln w="12700" cap="rnd" cmpd="sng" algn="ctr">
                  <a:solidFill>
                    <a:sysClr val="windowText" lastClr="000000"/>
                  </a:solidFill>
                  <a:prstDash val="solid"/>
                  <a:miter lim="800000"/>
                  <a:headEnd type="none"/>
                  <a:tailEnd type="none"/>
                </a:ln>
                <a:effectLst/>
              </p:spPr>
            </p:cxnSp>
            <p:cxnSp>
              <p:nvCxnSpPr>
                <p:cNvPr id="258" name="Straight Connector 257">
                  <a:extLst>
                    <a:ext uri="{FF2B5EF4-FFF2-40B4-BE49-F238E27FC236}">
                      <a16:creationId xmlns:a16="http://schemas.microsoft.com/office/drawing/2014/main" id="{8144BC3A-6991-031E-97F6-91A36A318E5A}"/>
                    </a:ext>
                  </a:extLst>
                </p:cNvPr>
                <p:cNvCxnSpPr/>
                <p:nvPr/>
              </p:nvCxnSpPr>
              <p:spPr>
                <a:xfrm>
                  <a:off x="1047750" y="3697817"/>
                  <a:ext cx="368300" cy="0"/>
                </a:xfrm>
                <a:prstGeom prst="line">
                  <a:avLst/>
                </a:prstGeom>
                <a:noFill/>
                <a:ln w="12700" cap="rnd" cmpd="sng" algn="ctr">
                  <a:solidFill>
                    <a:sysClr val="windowText" lastClr="000000"/>
                  </a:solidFill>
                  <a:prstDash val="solid"/>
                  <a:miter lim="800000"/>
                  <a:headEnd type="none"/>
                  <a:tailEnd type="none"/>
                </a:ln>
                <a:effectLst/>
              </p:spPr>
            </p:cxnSp>
            <p:cxnSp>
              <p:nvCxnSpPr>
                <p:cNvPr id="259" name="Straight Connector 258">
                  <a:extLst>
                    <a:ext uri="{FF2B5EF4-FFF2-40B4-BE49-F238E27FC236}">
                      <a16:creationId xmlns:a16="http://schemas.microsoft.com/office/drawing/2014/main" id="{D8955FAA-EF3D-8035-DEAC-321D9EEBAE6B}"/>
                    </a:ext>
                  </a:extLst>
                </p:cNvPr>
                <p:cNvCxnSpPr/>
                <p:nvPr/>
              </p:nvCxnSpPr>
              <p:spPr>
                <a:xfrm>
                  <a:off x="1047750" y="3817409"/>
                  <a:ext cx="368300" cy="0"/>
                </a:xfrm>
                <a:prstGeom prst="line">
                  <a:avLst/>
                </a:prstGeom>
                <a:noFill/>
                <a:ln w="12700" cap="rnd" cmpd="sng" algn="ctr">
                  <a:solidFill>
                    <a:sysClr val="windowText" lastClr="000000"/>
                  </a:solidFill>
                  <a:prstDash val="solid"/>
                  <a:miter lim="800000"/>
                  <a:headEnd type="none"/>
                  <a:tailEnd type="none"/>
                </a:ln>
                <a:effectLst/>
              </p:spPr>
            </p:cxnSp>
            <p:cxnSp>
              <p:nvCxnSpPr>
                <p:cNvPr id="260" name="Straight Connector 259">
                  <a:extLst>
                    <a:ext uri="{FF2B5EF4-FFF2-40B4-BE49-F238E27FC236}">
                      <a16:creationId xmlns:a16="http://schemas.microsoft.com/office/drawing/2014/main" id="{B57D321B-7BC9-E1F6-6EAE-2E51702236A4}"/>
                    </a:ext>
                  </a:extLst>
                </p:cNvPr>
                <p:cNvCxnSpPr/>
                <p:nvPr/>
              </p:nvCxnSpPr>
              <p:spPr>
                <a:xfrm>
                  <a:off x="1047750" y="3937000"/>
                  <a:ext cx="368300" cy="0"/>
                </a:xfrm>
                <a:prstGeom prst="line">
                  <a:avLst/>
                </a:prstGeom>
                <a:noFill/>
                <a:ln w="12700" cap="rnd" cmpd="sng" algn="ctr">
                  <a:solidFill>
                    <a:sysClr val="windowText" lastClr="000000"/>
                  </a:solidFill>
                  <a:prstDash val="solid"/>
                  <a:miter lim="800000"/>
                  <a:headEnd type="none"/>
                  <a:tailEnd type="none"/>
                </a:ln>
                <a:effectLst/>
              </p:spPr>
            </p:cxnSp>
          </p:grpSp>
        </p:grpSp>
        <p:grpSp>
          <p:nvGrpSpPr>
            <p:cNvPr id="180" name="Group 179">
              <a:extLst>
                <a:ext uri="{FF2B5EF4-FFF2-40B4-BE49-F238E27FC236}">
                  <a16:creationId xmlns:a16="http://schemas.microsoft.com/office/drawing/2014/main" id="{FA20AFB3-3DC0-01C3-72B6-DE956840085F}"/>
                </a:ext>
              </a:extLst>
            </p:cNvPr>
            <p:cNvGrpSpPr/>
            <p:nvPr/>
          </p:nvGrpSpPr>
          <p:grpSpPr>
            <a:xfrm>
              <a:off x="10633938" y="5404066"/>
              <a:ext cx="461466" cy="273112"/>
              <a:chOff x="1105279" y="2995020"/>
              <a:chExt cx="155575" cy="92075"/>
            </a:xfrm>
            <a:solidFill>
              <a:srgbClr val="0078D4"/>
            </a:solidFill>
          </p:grpSpPr>
          <p:sp>
            <p:nvSpPr>
              <p:cNvPr id="251" name="Oval 19">
                <a:extLst>
                  <a:ext uri="{FF2B5EF4-FFF2-40B4-BE49-F238E27FC236}">
                    <a16:creationId xmlns:a16="http://schemas.microsoft.com/office/drawing/2014/main" id="{D173B979-2995-E3A6-484A-E4211879B2F6}"/>
                  </a:ext>
                </a:extLst>
              </p:cNvPr>
              <p:cNvSpPr>
                <a:spLocks noChangeArrowheads="1"/>
              </p:cNvSpPr>
              <p:nvPr/>
            </p:nvSpPr>
            <p:spPr bwMode="auto">
              <a:xfrm>
                <a:off x="1121154" y="2995020"/>
                <a:ext cx="9366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52" name="Freeform 20">
                <a:extLst>
                  <a:ext uri="{FF2B5EF4-FFF2-40B4-BE49-F238E27FC236}">
                    <a16:creationId xmlns:a16="http://schemas.microsoft.com/office/drawing/2014/main" id="{36DC6047-0A5A-634E-3FE8-42C399B3822A}"/>
                  </a:ext>
                </a:extLst>
              </p:cNvPr>
              <p:cNvSpPr>
                <a:spLocks/>
              </p:cNvSpPr>
              <p:nvPr/>
            </p:nvSpPr>
            <p:spPr bwMode="auto">
              <a:xfrm>
                <a:off x="1105279" y="3052170"/>
                <a:ext cx="155575" cy="34925"/>
              </a:xfrm>
              <a:custGeom>
                <a:avLst/>
                <a:gdLst>
                  <a:gd name="T0" fmla="*/ 379 w 427"/>
                  <a:gd name="T1" fmla="*/ 96 h 96"/>
                  <a:gd name="T2" fmla="*/ 48 w 427"/>
                  <a:gd name="T3" fmla="*/ 96 h 96"/>
                  <a:gd name="T4" fmla="*/ 0 w 427"/>
                  <a:gd name="T5" fmla="*/ 48 h 96"/>
                  <a:gd name="T6" fmla="*/ 0 w 427"/>
                  <a:gd name="T7" fmla="*/ 48 h 96"/>
                  <a:gd name="T8" fmla="*/ 48 w 427"/>
                  <a:gd name="T9" fmla="*/ 0 h 96"/>
                  <a:gd name="T10" fmla="*/ 379 w 427"/>
                  <a:gd name="T11" fmla="*/ 0 h 96"/>
                  <a:gd name="T12" fmla="*/ 427 w 427"/>
                  <a:gd name="T13" fmla="*/ 48 h 96"/>
                  <a:gd name="T14" fmla="*/ 427 w 427"/>
                  <a:gd name="T15" fmla="*/ 48 h 96"/>
                  <a:gd name="T16" fmla="*/ 379 w 427"/>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96">
                    <a:moveTo>
                      <a:pt x="379" y="96"/>
                    </a:moveTo>
                    <a:cubicBezTo>
                      <a:pt x="48" y="96"/>
                      <a:pt x="48" y="96"/>
                      <a:pt x="48" y="96"/>
                    </a:cubicBezTo>
                    <a:cubicBezTo>
                      <a:pt x="22" y="96"/>
                      <a:pt x="0" y="75"/>
                      <a:pt x="0" y="48"/>
                    </a:cubicBezTo>
                    <a:cubicBezTo>
                      <a:pt x="0" y="48"/>
                      <a:pt x="0" y="48"/>
                      <a:pt x="0" y="48"/>
                    </a:cubicBezTo>
                    <a:cubicBezTo>
                      <a:pt x="0" y="21"/>
                      <a:pt x="22" y="0"/>
                      <a:pt x="48" y="0"/>
                    </a:cubicBezTo>
                    <a:cubicBezTo>
                      <a:pt x="379" y="0"/>
                      <a:pt x="379" y="0"/>
                      <a:pt x="379" y="0"/>
                    </a:cubicBezTo>
                    <a:cubicBezTo>
                      <a:pt x="406" y="0"/>
                      <a:pt x="427" y="21"/>
                      <a:pt x="427" y="48"/>
                    </a:cubicBezTo>
                    <a:cubicBezTo>
                      <a:pt x="427" y="48"/>
                      <a:pt x="427" y="48"/>
                      <a:pt x="427" y="48"/>
                    </a:cubicBezTo>
                    <a:cubicBezTo>
                      <a:pt x="427" y="75"/>
                      <a:pt x="406" y="96"/>
                      <a:pt x="3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253" name="Oval 21">
                <a:extLst>
                  <a:ext uri="{FF2B5EF4-FFF2-40B4-BE49-F238E27FC236}">
                    <a16:creationId xmlns:a16="http://schemas.microsoft.com/office/drawing/2014/main" id="{90A73EE6-3B07-90C5-D8A7-CBDC9EA276D8}"/>
                  </a:ext>
                </a:extLst>
              </p:cNvPr>
              <p:cNvSpPr>
                <a:spLocks noChangeArrowheads="1"/>
              </p:cNvSpPr>
              <p:nvPr/>
            </p:nvSpPr>
            <p:spPr bwMode="auto">
              <a:xfrm>
                <a:off x="1183066" y="3010895"/>
                <a:ext cx="61913"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grpSp>
        <p:sp>
          <p:nvSpPr>
            <p:cNvPr id="181" name="TextBox 180">
              <a:extLst>
                <a:ext uri="{FF2B5EF4-FFF2-40B4-BE49-F238E27FC236}">
                  <a16:creationId xmlns:a16="http://schemas.microsoft.com/office/drawing/2014/main" id="{72D3B799-6C02-0B49-9F1E-25EC162990EE}"/>
                </a:ext>
              </a:extLst>
            </p:cNvPr>
            <p:cNvSpPr txBox="1"/>
            <p:nvPr/>
          </p:nvSpPr>
          <p:spPr>
            <a:xfrm>
              <a:off x="7392270" y="5440088"/>
              <a:ext cx="410369"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Backup</a:t>
              </a:r>
              <a:br>
                <a:rPr kumimoji="0" lang="en-US" sz="1000" b="0" i="0" u="none" strike="noStrike" kern="0" cap="none" spc="0" normalizeH="0" baseline="0" noProof="0">
                  <a:ln>
                    <a:noFill/>
                  </a:ln>
                  <a:solidFill>
                    <a:prstClr val="black"/>
                  </a:solidFill>
                  <a:effectLst/>
                  <a:uLnTx/>
                  <a:uFillTx/>
                  <a:latin typeface="Segoe UI"/>
                  <a:ea typeface="+mn-ea"/>
                  <a:cs typeface="+mn-cs"/>
                </a:rPr>
              </a:br>
              <a:r>
                <a:rPr kumimoji="0" lang="en-US" sz="1000" b="0" i="0" u="none" strike="noStrike" kern="0" cap="none" spc="0" normalizeH="0" baseline="0" noProof="0">
                  <a:ln>
                    <a:noFill/>
                  </a:ln>
                  <a:solidFill>
                    <a:prstClr val="black"/>
                  </a:solidFill>
                  <a:effectLst/>
                  <a:uLnTx/>
                  <a:uFillTx/>
                  <a:latin typeface="Segoe UI"/>
                  <a:ea typeface="+mn-ea"/>
                  <a:cs typeface="+mn-cs"/>
                </a:rPr>
                <a:t>files</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182" name="TextBox 181">
              <a:extLst>
                <a:ext uri="{FF2B5EF4-FFF2-40B4-BE49-F238E27FC236}">
                  <a16:creationId xmlns:a16="http://schemas.microsoft.com/office/drawing/2014/main" id="{E5F2A070-B742-6A29-D7B7-35FA410AC05A}"/>
                </a:ext>
              </a:extLst>
            </p:cNvPr>
            <p:cNvSpPr txBox="1"/>
            <p:nvPr/>
          </p:nvSpPr>
          <p:spPr>
            <a:xfrm>
              <a:off x="8414943" y="5370991"/>
              <a:ext cx="1681422" cy="369332"/>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Segoe UI"/>
                  <a:ea typeface="+mn-ea"/>
                  <a:cs typeface="+mn-cs"/>
                </a:rPr>
                <a:t>Azure standard storag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Segoe UI"/>
                  <a:ea typeface="+mn-ea"/>
                  <a:cs typeface="+mn-cs"/>
                </a:rPr>
                <a:t>(RA-GRS, LRS, ZRS)</a:t>
              </a:r>
              <a:endParaRPr kumimoji="0" lang="en-US" sz="1800" b="1" i="0" u="none" strike="noStrike" kern="0" cap="none" spc="0" normalizeH="0" baseline="0" noProof="0" dirty="0">
                <a:ln>
                  <a:noFill/>
                </a:ln>
                <a:solidFill>
                  <a:prstClr val="black"/>
                </a:solidFill>
                <a:effectLst/>
                <a:uLnTx/>
                <a:uFillTx/>
                <a:latin typeface="Segoe UI"/>
                <a:ea typeface="+mn-ea"/>
                <a:cs typeface="+mn-cs"/>
              </a:endParaRPr>
            </a:p>
          </p:txBody>
        </p:sp>
        <p:pic>
          <p:nvPicPr>
            <p:cNvPr id="183" name="Graphic 182">
              <a:extLst>
                <a:ext uri="{FF2B5EF4-FFF2-40B4-BE49-F238E27FC236}">
                  <a16:creationId xmlns:a16="http://schemas.microsoft.com/office/drawing/2014/main" id="{11CB0E8B-551C-9C13-7051-9F8C7CDD0FE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48341" y="3956998"/>
              <a:ext cx="467684" cy="467684"/>
            </a:xfrm>
            <a:prstGeom prst="rect">
              <a:avLst/>
            </a:prstGeom>
          </p:spPr>
        </p:pic>
        <p:sp>
          <p:nvSpPr>
            <p:cNvPr id="184" name="Rectangle 183">
              <a:extLst>
                <a:ext uri="{FF2B5EF4-FFF2-40B4-BE49-F238E27FC236}">
                  <a16:creationId xmlns:a16="http://schemas.microsoft.com/office/drawing/2014/main" id="{6EE0162F-E0B7-AB82-B5DF-E1CC4A22E3BD}"/>
                </a:ext>
              </a:extLst>
            </p:cNvPr>
            <p:cNvSpPr/>
            <p:nvPr/>
          </p:nvSpPr>
          <p:spPr bwMode="auto">
            <a:xfrm>
              <a:off x="7158272" y="4392124"/>
              <a:ext cx="871227" cy="392194"/>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Segoe UI" pitchFamily="34" charset="0"/>
                  <a:cs typeface="Segoe UI" pitchFamily="34" charset="0"/>
                </a:rPr>
                <a:t>SSD, data, log</a:t>
              </a:r>
            </a:p>
          </p:txBody>
        </p:sp>
        <p:grpSp>
          <p:nvGrpSpPr>
            <p:cNvPr id="185" name="Group 184">
              <a:extLst>
                <a:ext uri="{FF2B5EF4-FFF2-40B4-BE49-F238E27FC236}">
                  <a16:creationId xmlns:a16="http://schemas.microsoft.com/office/drawing/2014/main" id="{1217AFA7-BA41-ED07-51A1-005A95FBFE28}"/>
                </a:ext>
              </a:extLst>
            </p:cNvPr>
            <p:cNvGrpSpPr/>
            <p:nvPr/>
          </p:nvGrpSpPr>
          <p:grpSpPr>
            <a:xfrm>
              <a:off x="8473036" y="2104361"/>
              <a:ext cx="1438611" cy="737094"/>
              <a:chOff x="7426628" y="1653795"/>
              <a:chExt cx="1438611" cy="737094"/>
            </a:xfrm>
          </p:grpSpPr>
          <p:sp>
            <p:nvSpPr>
              <p:cNvPr id="223" name="Oval 222">
                <a:extLst>
                  <a:ext uri="{FF2B5EF4-FFF2-40B4-BE49-F238E27FC236}">
                    <a16:creationId xmlns:a16="http://schemas.microsoft.com/office/drawing/2014/main" id="{9648DB7B-68F3-1BFB-23B5-059444E16E5A}"/>
                  </a:ext>
                </a:extLst>
              </p:cNvPr>
              <p:cNvSpPr/>
              <p:nvPr/>
            </p:nvSpPr>
            <p:spPr bwMode="auto">
              <a:xfrm>
                <a:off x="7519447" y="1892129"/>
                <a:ext cx="1300145" cy="474476"/>
              </a:xfrm>
              <a:prstGeom prst="ellipse">
                <a:avLst/>
              </a:prstGeom>
              <a:noFill/>
              <a:ln w="19050" cap="rnd"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Rectangle 223">
                <a:extLst>
                  <a:ext uri="{FF2B5EF4-FFF2-40B4-BE49-F238E27FC236}">
                    <a16:creationId xmlns:a16="http://schemas.microsoft.com/office/drawing/2014/main" id="{A83E6949-B905-580E-7802-FF732C7BEB6D}"/>
                  </a:ext>
                </a:extLst>
              </p:cNvPr>
              <p:cNvSpPr/>
              <p:nvPr/>
            </p:nvSpPr>
            <p:spPr bwMode="auto">
              <a:xfrm>
                <a:off x="7519448" y="1966369"/>
                <a:ext cx="1345791" cy="424520"/>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Oval 224">
                <a:extLst>
                  <a:ext uri="{FF2B5EF4-FFF2-40B4-BE49-F238E27FC236}">
                    <a16:creationId xmlns:a16="http://schemas.microsoft.com/office/drawing/2014/main" id="{6650FB75-E647-150F-5210-27176200D696}"/>
                  </a:ext>
                </a:extLst>
              </p:cNvPr>
              <p:cNvSpPr/>
              <p:nvPr/>
            </p:nvSpPr>
            <p:spPr bwMode="auto">
              <a:xfrm>
                <a:off x="7525009" y="1892236"/>
                <a:ext cx="1290785" cy="474476"/>
              </a:xfrm>
              <a:prstGeom prst="ellipse">
                <a:avLst/>
              </a:prstGeom>
              <a:noFill/>
              <a:ln w="28575" cap="rnd" cmpd="sng" algn="ctr">
                <a:solidFill>
                  <a:srgbClr val="0078D4"/>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6" name="TextBox 225">
                <a:extLst>
                  <a:ext uri="{FF2B5EF4-FFF2-40B4-BE49-F238E27FC236}">
                    <a16:creationId xmlns:a16="http://schemas.microsoft.com/office/drawing/2014/main" id="{78A9CED2-A828-2CA4-8138-4F29E0FD6185}"/>
                  </a:ext>
                </a:extLst>
              </p:cNvPr>
              <p:cNvSpPr txBox="1"/>
              <p:nvPr/>
            </p:nvSpPr>
            <p:spPr>
              <a:xfrm>
                <a:off x="7426628" y="1748736"/>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27" name="TextBox 226">
                <a:extLst>
                  <a:ext uri="{FF2B5EF4-FFF2-40B4-BE49-F238E27FC236}">
                    <a16:creationId xmlns:a16="http://schemas.microsoft.com/office/drawing/2014/main" id="{F99D185A-86A3-DB13-B302-3A5DBE448DE8}"/>
                  </a:ext>
                </a:extLst>
              </p:cNvPr>
              <p:cNvSpPr txBox="1"/>
              <p:nvPr/>
            </p:nvSpPr>
            <p:spPr>
              <a:xfrm>
                <a:off x="7854156" y="1653795"/>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28" name="TextBox 227">
                <a:extLst>
                  <a:ext uri="{FF2B5EF4-FFF2-40B4-BE49-F238E27FC236}">
                    <a16:creationId xmlns:a16="http://schemas.microsoft.com/office/drawing/2014/main" id="{5D007BA9-6FD0-9BD3-4D02-72AD42A53228}"/>
                  </a:ext>
                </a:extLst>
              </p:cNvPr>
              <p:cNvSpPr txBox="1"/>
              <p:nvPr/>
            </p:nvSpPr>
            <p:spPr>
              <a:xfrm>
                <a:off x="8269272" y="1663321"/>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29" name="TextBox 228">
                <a:extLst>
                  <a:ext uri="{FF2B5EF4-FFF2-40B4-BE49-F238E27FC236}">
                    <a16:creationId xmlns:a16="http://schemas.microsoft.com/office/drawing/2014/main" id="{2780B959-FE37-D43C-9456-CB2CFEDC836D}"/>
                  </a:ext>
                </a:extLst>
              </p:cNvPr>
              <p:cNvSpPr txBox="1"/>
              <p:nvPr/>
            </p:nvSpPr>
            <p:spPr>
              <a:xfrm>
                <a:off x="7814342" y="2088626"/>
                <a:ext cx="634025"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Control Ring</a:t>
                </a:r>
              </a:p>
            </p:txBody>
          </p:sp>
          <p:grpSp>
            <p:nvGrpSpPr>
              <p:cNvPr id="230" name="Group 229">
                <a:extLst>
                  <a:ext uri="{FF2B5EF4-FFF2-40B4-BE49-F238E27FC236}">
                    <a16:creationId xmlns:a16="http://schemas.microsoft.com/office/drawing/2014/main" id="{1A079228-45F7-B490-A4EE-4B9DDFCC20C5}"/>
                  </a:ext>
                </a:extLst>
              </p:cNvPr>
              <p:cNvGrpSpPr/>
              <p:nvPr/>
            </p:nvGrpSpPr>
            <p:grpSpPr>
              <a:xfrm>
                <a:off x="7608266" y="1838124"/>
                <a:ext cx="214840" cy="223285"/>
                <a:chOff x="13071009" y="3404199"/>
                <a:chExt cx="369615" cy="384144"/>
              </a:xfrm>
            </p:grpSpPr>
            <p:sp>
              <p:nvSpPr>
                <p:cNvPr id="245" name="Rectangle 244">
                  <a:extLst>
                    <a:ext uri="{FF2B5EF4-FFF2-40B4-BE49-F238E27FC236}">
                      <a16:creationId xmlns:a16="http://schemas.microsoft.com/office/drawing/2014/main" id="{092CBBFB-6FBB-9F3E-6285-41D0A4D9FF64}"/>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6" name="Group 245">
                  <a:extLst>
                    <a:ext uri="{FF2B5EF4-FFF2-40B4-BE49-F238E27FC236}">
                      <a16:creationId xmlns:a16="http://schemas.microsoft.com/office/drawing/2014/main" id="{6C6315DC-60F1-0105-95F5-04EDBDA9CB94}"/>
                    </a:ext>
                  </a:extLst>
                </p:cNvPr>
                <p:cNvGrpSpPr/>
                <p:nvPr/>
              </p:nvGrpSpPr>
              <p:grpSpPr>
                <a:xfrm>
                  <a:off x="13124976" y="3422562"/>
                  <a:ext cx="263000" cy="365781"/>
                  <a:chOff x="12590745" y="5672000"/>
                  <a:chExt cx="522378" cy="726522"/>
                </a:xfrm>
              </p:grpSpPr>
              <p:sp>
                <p:nvSpPr>
                  <p:cNvPr id="247" name="Freeform 141">
                    <a:extLst>
                      <a:ext uri="{FF2B5EF4-FFF2-40B4-BE49-F238E27FC236}">
                        <a16:creationId xmlns:a16="http://schemas.microsoft.com/office/drawing/2014/main" id="{F4933100-8C13-D97A-8AA4-560A2285FC15}"/>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8" name="Down Arrow 142">
                    <a:extLst>
                      <a:ext uri="{FF2B5EF4-FFF2-40B4-BE49-F238E27FC236}">
                        <a16:creationId xmlns:a16="http://schemas.microsoft.com/office/drawing/2014/main" id="{253F7EB1-3743-A494-63CF-94600028E552}"/>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Down Arrow 143">
                    <a:extLst>
                      <a:ext uri="{FF2B5EF4-FFF2-40B4-BE49-F238E27FC236}">
                        <a16:creationId xmlns:a16="http://schemas.microsoft.com/office/drawing/2014/main" id="{AFB468F7-ADAB-E387-CB06-D17371CB7C95}"/>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Down Arrow 144">
                    <a:extLst>
                      <a:ext uri="{FF2B5EF4-FFF2-40B4-BE49-F238E27FC236}">
                        <a16:creationId xmlns:a16="http://schemas.microsoft.com/office/drawing/2014/main" id="{27D20AFA-CF07-98DC-1693-00506E089A83}"/>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31" name="Group 230">
                <a:extLst>
                  <a:ext uri="{FF2B5EF4-FFF2-40B4-BE49-F238E27FC236}">
                    <a16:creationId xmlns:a16="http://schemas.microsoft.com/office/drawing/2014/main" id="{822DBC85-2123-4683-8DF8-583501338CC9}"/>
                  </a:ext>
                </a:extLst>
              </p:cNvPr>
              <p:cNvGrpSpPr/>
              <p:nvPr/>
            </p:nvGrpSpPr>
            <p:grpSpPr>
              <a:xfrm>
                <a:off x="8009735" y="1787294"/>
                <a:ext cx="214840" cy="223285"/>
                <a:chOff x="13071009" y="3404199"/>
                <a:chExt cx="369615" cy="384144"/>
              </a:xfrm>
            </p:grpSpPr>
            <p:sp>
              <p:nvSpPr>
                <p:cNvPr id="239" name="Rectangle 238">
                  <a:extLst>
                    <a:ext uri="{FF2B5EF4-FFF2-40B4-BE49-F238E27FC236}">
                      <a16:creationId xmlns:a16="http://schemas.microsoft.com/office/drawing/2014/main" id="{2374A8E4-6E8D-F17C-46BA-284103FB4868}"/>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0" name="Group 239">
                  <a:extLst>
                    <a:ext uri="{FF2B5EF4-FFF2-40B4-BE49-F238E27FC236}">
                      <a16:creationId xmlns:a16="http://schemas.microsoft.com/office/drawing/2014/main" id="{CD0762BC-E14C-E348-EA72-5F6C7304213F}"/>
                    </a:ext>
                  </a:extLst>
                </p:cNvPr>
                <p:cNvGrpSpPr/>
                <p:nvPr/>
              </p:nvGrpSpPr>
              <p:grpSpPr>
                <a:xfrm>
                  <a:off x="13124976" y="3422562"/>
                  <a:ext cx="263000" cy="365781"/>
                  <a:chOff x="12590745" y="5672000"/>
                  <a:chExt cx="522378" cy="726522"/>
                </a:xfrm>
              </p:grpSpPr>
              <p:sp>
                <p:nvSpPr>
                  <p:cNvPr id="241" name="Freeform 135">
                    <a:extLst>
                      <a:ext uri="{FF2B5EF4-FFF2-40B4-BE49-F238E27FC236}">
                        <a16:creationId xmlns:a16="http://schemas.microsoft.com/office/drawing/2014/main" id="{864D0E84-626F-A2B4-BF1D-FE9770D67243}"/>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Down Arrow 136">
                    <a:extLst>
                      <a:ext uri="{FF2B5EF4-FFF2-40B4-BE49-F238E27FC236}">
                        <a16:creationId xmlns:a16="http://schemas.microsoft.com/office/drawing/2014/main" id="{94D141F7-2256-CCA3-778A-FE1C5865A06B}"/>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3" name="Down Arrow 137">
                    <a:extLst>
                      <a:ext uri="{FF2B5EF4-FFF2-40B4-BE49-F238E27FC236}">
                        <a16:creationId xmlns:a16="http://schemas.microsoft.com/office/drawing/2014/main" id="{32148176-21BB-243C-6128-70B3C27F1C20}"/>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Down Arrow 138">
                    <a:extLst>
                      <a:ext uri="{FF2B5EF4-FFF2-40B4-BE49-F238E27FC236}">
                        <a16:creationId xmlns:a16="http://schemas.microsoft.com/office/drawing/2014/main" id="{AFD14D6B-C225-F62C-73FC-022BA08B76BE}"/>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32" name="Group 231">
                <a:extLst>
                  <a:ext uri="{FF2B5EF4-FFF2-40B4-BE49-F238E27FC236}">
                    <a16:creationId xmlns:a16="http://schemas.microsoft.com/office/drawing/2014/main" id="{0A170C89-C5E0-FC90-0C09-963451CEF399}"/>
                  </a:ext>
                </a:extLst>
              </p:cNvPr>
              <p:cNvGrpSpPr/>
              <p:nvPr/>
            </p:nvGrpSpPr>
            <p:grpSpPr>
              <a:xfrm>
                <a:off x="8433705" y="1791360"/>
                <a:ext cx="214840" cy="223285"/>
                <a:chOff x="13071009" y="3404199"/>
                <a:chExt cx="369615" cy="384144"/>
              </a:xfrm>
            </p:grpSpPr>
            <p:sp>
              <p:nvSpPr>
                <p:cNvPr id="233" name="Rectangle 232">
                  <a:extLst>
                    <a:ext uri="{FF2B5EF4-FFF2-40B4-BE49-F238E27FC236}">
                      <a16:creationId xmlns:a16="http://schemas.microsoft.com/office/drawing/2014/main" id="{D4CCAA10-2ED2-74B8-46A7-EA40386DC8DD}"/>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4" name="Group 233">
                  <a:extLst>
                    <a:ext uri="{FF2B5EF4-FFF2-40B4-BE49-F238E27FC236}">
                      <a16:creationId xmlns:a16="http://schemas.microsoft.com/office/drawing/2014/main" id="{8A198883-82B1-2609-0FA7-4EA3A955A375}"/>
                    </a:ext>
                  </a:extLst>
                </p:cNvPr>
                <p:cNvGrpSpPr/>
                <p:nvPr/>
              </p:nvGrpSpPr>
              <p:grpSpPr>
                <a:xfrm>
                  <a:off x="13124976" y="3422562"/>
                  <a:ext cx="263000" cy="365781"/>
                  <a:chOff x="12590745" y="5672000"/>
                  <a:chExt cx="522378" cy="726522"/>
                </a:xfrm>
              </p:grpSpPr>
              <p:sp>
                <p:nvSpPr>
                  <p:cNvPr id="235" name="Freeform 129">
                    <a:extLst>
                      <a:ext uri="{FF2B5EF4-FFF2-40B4-BE49-F238E27FC236}">
                        <a16:creationId xmlns:a16="http://schemas.microsoft.com/office/drawing/2014/main" id="{BAEEBDDD-21EA-DF93-2A3D-4D6378EB552A}"/>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6" name="Down Arrow 130">
                    <a:extLst>
                      <a:ext uri="{FF2B5EF4-FFF2-40B4-BE49-F238E27FC236}">
                        <a16:creationId xmlns:a16="http://schemas.microsoft.com/office/drawing/2014/main" id="{7D0141D0-1783-07FF-3809-C9EEC0A61730}"/>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7" name="Down Arrow 131">
                    <a:extLst>
                      <a:ext uri="{FF2B5EF4-FFF2-40B4-BE49-F238E27FC236}">
                        <a16:creationId xmlns:a16="http://schemas.microsoft.com/office/drawing/2014/main" id="{B00628E7-0780-B7EA-AC84-E5523D1E376F}"/>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8" name="Down Arrow 132">
                    <a:extLst>
                      <a:ext uri="{FF2B5EF4-FFF2-40B4-BE49-F238E27FC236}">
                        <a16:creationId xmlns:a16="http://schemas.microsoft.com/office/drawing/2014/main" id="{A0542C8E-BBD9-C4AB-BDF0-609701024C0F}"/>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186" name="Group 185">
              <a:extLst>
                <a:ext uri="{FF2B5EF4-FFF2-40B4-BE49-F238E27FC236}">
                  <a16:creationId xmlns:a16="http://schemas.microsoft.com/office/drawing/2014/main" id="{BAA7F987-7262-B3B2-C157-24447AA2DBC3}"/>
                </a:ext>
              </a:extLst>
            </p:cNvPr>
            <p:cNvGrpSpPr/>
            <p:nvPr/>
          </p:nvGrpSpPr>
          <p:grpSpPr>
            <a:xfrm>
              <a:off x="10155532" y="2104361"/>
              <a:ext cx="1438611" cy="737094"/>
              <a:chOff x="7426628" y="1653795"/>
              <a:chExt cx="1438611" cy="737094"/>
            </a:xfrm>
          </p:grpSpPr>
          <p:sp>
            <p:nvSpPr>
              <p:cNvPr id="195" name="Oval 194">
                <a:extLst>
                  <a:ext uri="{FF2B5EF4-FFF2-40B4-BE49-F238E27FC236}">
                    <a16:creationId xmlns:a16="http://schemas.microsoft.com/office/drawing/2014/main" id="{A638A349-1565-8952-6492-0FE42EE2B72F}"/>
                  </a:ext>
                </a:extLst>
              </p:cNvPr>
              <p:cNvSpPr/>
              <p:nvPr/>
            </p:nvSpPr>
            <p:spPr bwMode="auto">
              <a:xfrm>
                <a:off x="7519447" y="1892129"/>
                <a:ext cx="1300145" cy="474476"/>
              </a:xfrm>
              <a:prstGeom prst="ellipse">
                <a:avLst/>
              </a:prstGeom>
              <a:noFill/>
              <a:ln w="19050" cap="rnd"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6" name="Rectangle 195">
                <a:extLst>
                  <a:ext uri="{FF2B5EF4-FFF2-40B4-BE49-F238E27FC236}">
                    <a16:creationId xmlns:a16="http://schemas.microsoft.com/office/drawing/2014/main" id="{1758F169-0698-A65A-4B1C-BEFA456A0153}"/>
                  </a:ext>
                </a:extLst>
              </p:cNvPr>
              <p:cNvSpPr/>
              <p:nvPr/>
            </p:nvSpPr>
            <p:spPr bwMode="auto">
              <a:xfrm>
                <a:off x="7519448" y="1966369"/>
                <a:ext cx="1345791" cy="424520"/>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7" name="Oval 196">
                <a:extLst>
                  <a:ext uri="{FF2B5EF4-FFF2-40B4-BE49-F238E27FC236}">
                    <a16:creationId xmlns:a16="http://schemas.microsoft.com/office/drawing/2014/main" id="{F5C1BFD5-F17B-3D6A-E788-E70F068360C7}"/>
                  </a:ext>
                </a:extLst>
              </p:cNvPr>
              <p:cNvSpPr/>
              <p:nvPr/>
            </p:nvSpPr>
            <p:spPr bwMode="auto">
              <a:xfrm>
                <a:off x="7525009" y="1892236"/>
                <a:ext cx="1290785" cy="474476"/>
              </a:xfrm>
              <a:prstGeom prst="ellipse">
                <a:avLst/>
              </a:prstGeom>
              <a:noFill/>
              <a:ln w="28575" cap="rnd" cmpd="sng" algn="ctr">
                <a:solidFill>
                  <a:srgbClr val="0078D4"/>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8" name="TextBox 197">
                <a:extLst>
                  <a:ext uri="{FF2B5EF4-FFF2-40B4-BE49-F238E27FC236}">
                    <a16:creationId xmlns:a16="http://schemas.microsoft.com/office/drawing/2014/main" id="{D96FABE3-F690-B383-89BA-DEEAD7E0F2DD}"/>
                  </a:ext>
                </a:extLst>
              </p:cNvPr>
              <p:cNvSpPr txBox="1"/>
              <p:nvPr/>
            </p:nvSpPr>
            <p:spPr>
              <a:xfrm>
                <a:off x="7426628" y="1748736"/>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199" name="TextBox 198">
                <a:extLst>
                  <a:ext uri="{FF2B5EF4-FFF2-40B4-BE49-F238E27FC236}">
                    <a16:creationId xmlns:a16="http://schemas.microsoft.com/office/drawing/2014/main" id="{330F41D4-41CC-80C7-ABEC-2BA0680B9F31}"/>
                  </a:ext>
                </a:extLst>
              </p:cNvPr>
              <p:cNvSpPr txBox="1"/>
              <p:nvPr/>
            </p:nvSpPr>
            <p:spPr>
              <a:xfrm>
                <a:off x="7854156" y="1653795"/>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00" name="TextBox 199">
                <a:extLst>
                  <a:ext uri="{FF2B5EF4-FFF2-40B4-BE49-F238E27FC236}">
                    <a16:creationId xmlns:a16="http://schemas.microsoft.com/office/drawing/2014/main" id="{56EC9870-FE3C-33E9-E849-C3F88B6DB744}"/>
                  </a:ext>
                </a:extLst>
              </p:cNvPr>
              <p:cNvSpPr txBox="1"/>
              <p:nvPr/>
            </p:nvSpPr>
            <p:spPr>
              <a:xfrm>
                <a:off x="8269272" y="1663321"/>
                <a:ext cx="185638"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GW</a:t>
                </a:r>
                <a:endParaRPr kumimoji="0" lang="en-US" sz="1200" b="0" i="0" u="none" strike="noStrike" kern="0" cap="none" spc="0" normalizeH="0" baseline="0" noProof="0">
                  <a:ln>
                    <a:noFill/>
                  </a:ln>
                  <a:solidFill>
                    <a:prstClr val="black"/>
                  </a:solidFill>
                  <a:effectLst/>
                  <a:uLnTx/>
                  <a:uFillTx/>
                  <a:latin typeface="Segoe UI"/>
                  <a:ea typeface="+mn-ea"/>
                  <a:cs typeface="+mn-cs"/>
                </a:endParaRPr>
              </a:p>
            </p:txBody>
          </p:sp>
          <p:sp>
            <p:nvSpPr>
              <p:cNvPr id="201" name="TextBox 200">
                <a:extLst>
                  <a:ext uri="{FF2B5EF4-FFF2-40B4-BE49-F238E27FC236}">
                    <a16:creationId xmlns:a16="http://schemas.microsoft.com/office/drawing/2014/main" id="{1B54A78D-08D1-5925-7303-595F5E55CFCC}"/>
                  </a:ext>
                </a:extLst>
              </p:cNvPr>
              <p:cNvSpPr txBox="1"/>
              <p:nvPr/>
            </p:nvSpPr>
            <p:spPr>
              <a:xfrm>
                <a:off x="7814342" y="2088626"/>
                <a:ext cx="634025" cy="13708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a:ea typeface="+mn-ea"/>
                    <a:cs typeface="+mn-cs"/>
                  </a:rPr>
                  <a:t>Control Ring</a:t>
                </a:r>
              </a:p>
            </p:txBody>
          </p:sp>
          <p:grpSp>
            <p:nvGrpSpPr>
              <p:cNvPr id="202" name="Group 201">
                <a:extLst>
                  <a:ext uri="{FF2B5EF4-FFF2-40B4-BE49-F238E27FC236}">
                    <a16:creationId xmlns:a16="http://schemas.microsoft.com/office/drawing/2014/main" id="{C7AE0733-C538-DEEC-82E3-BE1260B7E11C}"/>
                  </a:ext>
                </a:extLst>
              </p:cNvPr>
              <p:cNvGrpSpPr/>
              <p:nvPr/>
            </p:nvGrpSpPr>
            <p:grpSpPr>
              <a:xfrm>
                <a:off x="7608266" y="1838124"/>
                <a:ext cx="214840" cy="223285"/>
                <a:chOff x="13071009" y="3404199"/>
                <a:chExt cx="369615" cy="384144"/>
              </a:xfrm>
            </p:grpSpPr>
            <p:sp>
              <p:nvSpPr>
                <p:cNvPr id="217" name="Rectangle 216">
                  <a:extLst>
                    <a:ext uri="{FF2B5EF4-FFF2-40B4-BE49-F238E27FC236}">
                      <a16:creationId xmlns:a16="http://schemas.microsoft.com/office/drawing/2014/main" id="{E3BEEFC8-EEB8-B368-0020-7D8E6BF78C5C}"/>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8" name="Group 217">
                  <a:extLst>
                    <a:ext uri="{FF2B5EF4-FFF2-40B4-BE49-F238E27FC236}">
                      <a16:creationId xmlns:a16="http://schemas.microsoft.com/office/drawing/2014/main" id="{7B4CE282-A4DE-E4BB-6DD8-A1463A012F6A}"/>
                    </a:ext>
                  </a:extLst>
                </p:cNvPr>
                <p:cNvGrpSpPr/>
                <p:nvPr/>
              </p:nvGrpSpPr>
              <p:grpSpPr>
                <a:xfrm>
                  <a:off x="13124976" y="3422562"/>
                  <a:ext cx="263000" cy="365781"/>
                  <a:chOff x="12590745" y="5672000"/>
                  <a:chExt cx="522378" cy="726522"/>
                </a:xfrm>
              </p:grpSpPr>
              <p:sp>
                <p:nvSpPr>
                  <p:cNvPr id="219" name="Freeform 170">
                    <a:extLst>
                      <a:ext uri="{FF2B5EF4-FFF2-40B4-BE49-F238E27FC236}">
                        <a16:creationId xmlns:a16="http://schemas.microsoft.com/office/drawing/2014/main" id="{E60BDE3B-94E9-2E2C-C478-3E37F5298876}"/>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0" name="Down Arrow 171">
                    <a:extLst>
                      <a:ext uri="{FF2B5EF4-FFF2-40B4-BE49-F238E27FC236}">
                        <a16:creationId xmlns:a16="http://schemas.microsoft.com/office/drawing/2014/main" id="{89585370-1B20-8415-E043-691F0610F8E2}"/>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1" name="Down Arrow 172">
                    <a:extLst>
                      <a:ext uri="{FF2B5EF4-FFF2-40B4-BE49-F238E27FC236}">
                        <a16:creationId xmlns:a16="http://schemas.microsoft.com/office/drawing/2014/main" id="{F69463DB-F71E-2187-5925-5094FE4A9840}"/>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Down Arrow 173">
                    <a:extLst>
                      <a:ext uri="{FF2B5EF4-FFF2-40B4-BE49-F238E27FC236}">
                        <a16:creationId xmlns:a16="http://schemas.microsoft.com/office/drawing/2014/main" id="{21135288-5741-5C77-5084-73F3779FFF1D}"/>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03" name="Group 202">
                <a:extLst>
                  <a:ext uri="{FF2B5EF4-FFF2-40B4-BE49-F238E27FC236}">
                    <a16:creationId xmlns:a16="http://schemas.microsoft.com/office/drawing/2014/main" id="{17300BED-5BED-8EC5-1F70-90F725843E40}"/>
                  </a:ext>
                </a:extLst>
              </p:cNvPr>
              <p:cNvGrpSpPr/>
              <p:nvPr/>
            </p:nvGrpSpPr>
            <p:grpSpPr>
              <a:xfrm>
                <a:off x="8009735" y="1787294"/>
                <a:ext cx="214840" cy="223285"/>
                <a:chOff x="13071009" y="3404199"/>
                <a:chExt cx="369615" cy="384144"/>
              </a:xfrm>
            </p:grpSpPr>
            <p:sp>
              <p:nvSpPr>
                <p:cNvPr id="211" name="Rectangle 210">
                  <a:extLst>
                    <a:ext uri="{FF2B5EF4-FFF2-40B4-BE49-F238E27FC236}">
                      <a16:creationId xmlns:a16="http://schemas.microsoft.com/office/drawing/2014/main" id="{338EE5C4-3CF5-5E97-8874-D4E361CF58CB}"/>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2" name="Group 211">
                  <a:extLst>
                    <a:ext uri="{FF2B5EF4-FFF2-40B4-BE49-F238E27FC236}">
                      <a16:creationId xmlns:a16="http://schemas.microsoft.com/office/drawing/2014/main" id="{4A07FA11-A332-999E-BCF8-59A95ADB83B3}"/>
                    </a:ext>
                  </a:extLst>
                </p:cNvPr>
                <p:cNvGrpSpPr/>
                <p:nvPr/>
              </p:nvGrpSpPr>
              <p:grpSpPr>
                <a:xfrm>
                  <a:off x="13124976" y="3422562"/>
                  <a:ext cx="263000" cy="365781"/>
                  <a:chOff x="12590745" y="5672000"/>
                  <a:chExt cx="522378" cy="726522"/>
                </a:xfrm>
              </p:grpSpPr>
              <p:sp>
                <p:nvSpPr>
                  <p:cNvPr id="213" name="Freeform 164">
                    <a:extLst>
                      <a:ext uri="{FF2B5EF4-FFF2-40B4-BE49-F238E27FC236}">
                        <a16:creationId xmlns:a16="http://schemas.microsoft.com/office/drawing/2014/main" id="{DEBEB03E-C191-2659-23CD-471D3DF05157}"/>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Down Arrow 165">
                    <a:extLst>
                      <a:ext uri="{FF2B5EF4-FFF2-40B4-BE49-F238E27FC236}">
                        <a16:creationId xmlns:a16="http://schemas.microsoft.com/office/drawing/2014/main" id="{E0E99401-867B-53D4-E4E5-5851A579AEC0}"/>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5" name="Down Arrow 166">
                    <a:extLst>
                      <a:ext uri="{FF2B5EF4-FFF2-40B4-BE49-F238E27FC236}">
                        <a16:creationId xmlns:a16="http://schemas.microsoft.com/office/drawing/2014/main" id="{396F1C22-FFD7-57E7-2944-D610EF379C38}"/>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Down Arrow 167">
                    <a:extLst>
                      <a:ext uri="{FF2B5EF4-FFF2-40B4-BE49-F238E27FC236}">
                        <a16:creationId xmlns:a16="http://schemas.microsoft.com/office/drawing/2014/main" id="{60CDF348-8671-745A-F98F-764A740468C5}"/>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04" name="Group 203">
                <a:extLst>
                  <a:ext uri="{FF2B5EF4-FFF2-40B4-BE49-F238E27FC236}">
                    <a16:creationId xmlns:a16="http://schemas.microsoft.com/office/drawing/2014/main" id="{EB647CBD-252F-00D9-A48F-717809D62B51}"/>
                  </a:ext>
                </a:extLst>
              </p:cNvPr>
              <p:cNvGrpSpPr/>
              <p:nvPr/>
            </p:nvGrpSpPr>
            <p:grpSpPr>
              <a:xfrm>
                <a:off x="8433705" y="1791360"/>
                <a:ext cx="214840" cy="223285"/>
                <a:chOff x="13071009" y="3404199"/>
                <a:chExt cx="369615" cy="384144"/>
              </a:xfrm>
            </p:grpSpPr>
            <p:sp>
              <p:nvSpPr>
                <p:cNvPr id="205" name="Rectangle 204">
                  <a:extLst>
                    <a:ext uri="{FF2B5EF4-FFF2-40B4-BE49-F238E27FC236}">
                      <a16:creationId xmlns:a16="http://schemas.microsoft.com/office/drawing/2014/main" id="{D504DB5F-AA13-EED9-C721-7340599B6EA4}"/>
                    </a:ext>
                  </a:extLst>
                </p:cNvPr>
                <p:cNvSpPr/>
                <p:nvPr/>
              </p:nvSpPr>
              <p:spPr bwMode="auto">
                <a:xfrm rot="2700000">
                  <a:off x="13071009" y="3404199"/>
                  <a:ext cx="369615" cy="36961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133F02DF-1CBD-29AD-D8C0-7E6E49D463E2}"/>
                    </a:ext>
                  </a:extLst>
                </p:cNvPr>
                <p:cNvGrpSpPr/>
                <p:nvPr/>
              </p:nvGrpSpPr>
              <p:grpSpPr>
                <a:xfrm>
                  <a:off x="13124976" y="3422562"/>
                  <a:ext cx="263000" cy="365781"/>
                  <a:chOff x="12590745" y="5672000"/>
                  <a:chExt cx="522378" cy="726522"/>
                </a:xfrm>
              </p:grpSpPr>
              <p:sp>
                <p:nvSpPr>
                  <p:cNvPr id="207" name="Freeform 158">
                    <a:extLst>
                      <a:ext uri="{FF2B5EF4-FFF2-40B4-BE49-F238E27FC236}">
                        <a16:creationId xmlns:a16="http://schemas.microsoft.com/office/drawing/2014/main" id="{5516DD50-9C90-7F2D-3BCF-6911133A74F1}"/>
                      </a:ext>
                    </a:extLst>
                  </p:cNvPr>
                  <p:cNvSpPr/>
                  <p:nvPr/>
                </p:nvSpPr>
                <p:spPr bwMode="auto">
                  <a:xfrm>
                    <a:off x="12659967" y="5672000"/>
                    <a:ext cx="361406" cy="361407"/>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Down Arrow 159">
                    <a:extLst>
                      <a:ext uri="{FF2B5EF4-FFF2-40B4-BE49-F238E27FC236}">
                        <a16:creationId xmlns:a16="http://schemas.microsoft.com/office/drawing/2014/main" id="{4D7B4A2C-5FB6-CC03-AC23-66BA20C2597F}"/>
                      </a:ext>
                    </a:extLst>
                  </p:cNvPr>
                  <p:cNvSpPr/>
                  <p:nvPr/>
                </p:nvSpPr>
                <p:spPr bwMode="auto">
                  <a:xfrm>
                    <a:off x="12789109" y="6025027"/>
                    <a:ext cx="114589" cy="373495"/>
                  </a:xfrm>
                  <a:prstGeom prst="downArrow">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Down Arrow 160">
                    <a:extLst>
                      <a:ext uri="{FF2B5EF4-FFF2-40B4-BE49-F238E27FC236}">
                        <a16:creationId xmlns:a16="http://schemas.microsoft.com/office/drawing/2014/main" id="{CF251931-2731-4160-C0F4-022549718913}"/>
                      </a:ext>
                    </a:extLst>
                  </p:cNvPr>
                  <p:cNvSpPr/>
                  <p:nvPr/>
                </p:nvSpPr>
                <p:spPr bwMode="auto">
                  <a:xfrm rot="18374732">
                    <a:off x="12925416" y="5978241"/>
                    <a:ext cx="90808" cy="284606"/>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Down Arrow 161">
                    <a:extLst>
                      <a:ext uri="{FF2B5EF4-FFF2-40B4-BE49-F238E27FC236}">
                        <a16:creationId xmlns:a16="http://schemas.microsoft.com/office/drawing/2014/main" id="{85D516D3-1244-C1E5-FC8B-5EB0BD962994}"/>
                      </a:ext>
                    </a:extLst>
                  </p:cNvPr>
                  <p:cNvSpPr/>
                  <p:nvPr/>
                </p:nvSpPr>
                <p:spPr bwMode="auto">
                  <a:xfrm rot="2930966">
                    <a:off x="12687645" y="5979173"/>
                    <a:ext cx="90808" cy="284607"/>
                  </a:xfrm>
                  <a:prstGeom prst="downArrow">
                    <a:avLst>
                      <a:gd name="adj1" fmla="val 5496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187" name="Left Brace 186">
              <a:extLst>
                <a:ext uri="{FF2B5EF4-FFF2-40B4-BE49-F238E27FC236}">
                  <a16:creationId xmlns:a16="http://schemas.microsoft.com/office/drawing/2014/main" id="{A9498F8A-C01F-82AF-A062-00B1CF8C6135}"/>
                </a:ext>
              </a:extLst>
            </p:cNvPr>
            <p:cNvSpPr/>
            <p:nvPr/>
          </p:nvSpPr>
          <p:spPr>
            <a:xfrm rot="5400000">
              <a:off x="9080186" y="-129897"/>
              <a:ext cx="303830" cy="3392340"/>
            </a:xfrm>
            <a:prstGeom prst="leftBrace">
              <a:avLst>
                <a:gd name="adj1" fmla="val 0"/>
                <a:gd name="adj2" fmla="val 50000"/>
              </a:avLst>
            </a:prstGeom>
            <a:noFill/>
            <a:ln w="12700" cap="flat" cmpd="sng" algn="ctr">
              <a:solidFill>
                <a:sysClr val="windowText" lastClr="000000"/>
              </a:solidFill>
              <a:prstDash val="solid"/>
              <a:headEnd type="triangle" w="med" len="med"/>
              <a:tailEnd type="triangle" w="med"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cxnSp>
          <p:nvCxnSpPr>
            <p:cNvPr id="188" name="Straight Arrow Connector 187">
              <a:extLst>
                <a:ext uri="{FF2B5EF4-FFF2-40B4-BE49-F238E27FC236}">
                  <a16:creationId xmlns:a16="http://schemas.microsoft.com/office/drawing/2014/main" id="{EFC317BC-0172-C3E4-C369-8A14153F33F8}"/>
                </a:ext>
              </a:extLst>
            </p:cNvPr>
            <p:cNvCxnSpPr>
              <a:stCxn id="187" idx="1"/>
            </p:cNvCxnSpPr>
            <p:nvPr/>
          </p:nvCxnSpPr>
          <p:spPr>
            <a:xfrm>
              <a:off x="9232101" y="1414358"/>
              <a:ext cx="6650" cy="303830"/>
            </a:xfrm>
            <a:prstGeom prst="straightConnector1">
              <a:avLst/>
            </a:prstGeom>
            <a:noFill/>
            <a:ln w="12700" cap="flat" cmpd="sng" algn="ctr">
              <a:solidFill>
                <a:sysClr val="windowText" lastClr="000000"/>
              </a:solidFill>
              <a:prstDash val="solid"/>
              <a:headEnd type="none" w="lg" len="med"/>
              <a:tailEnd type="triangle"/>
            </a:ln>
            <a:effectLst/>
          </p:spPr>
        </p:cxnSp>
        <p:cxnSp>
          <p:nvCxnSpPr>
            <p:cNvPr id="189" name="Elbow Connector 179">
              <a:extLst>
                <a:ext uri="{FF2B5EF4-FFF2-40B4-BE49-F238E27FC236}">
                  <a16:creationId xmlns:a16="http://schemas.microsoft.com/office/drawing/2014/main" id="{5AC1CE73-E3F3-79A4-A1F4-7F7381463869}"/>
                </a:ext>
              </a:extLst>
            </p:cNvPr>
            <p:cNvCxnSpPr>
              <a:cxnSpLocks/>
              <a:stCxn id="160" idx="0"/>
            </p:cNvCxnSpPr>
            <p:nvPr/>
          </p:nvCxnSpPr>
          <p:spPr>
            <a:xfrm rot="5400000" flipH="1" flipV="1">
              <a:off x="7154014" y="486078"/>
              <a:ext cx="672452" cy="2239878"/>
            </a:xfrm>
            <a:prstGeom prst="bentConnector2">
              <a:avLst/>
            </a:prstGeom>
            <a:noFill/>
            <a:ln w="12700" cap="flat" cmpd="sng" algn="ctr">
              <a:solidFill>
                <a:sysClr val="windowText" lastClr="000000"/>
              </a:solidFill>
              <a:prstDash val="solid"/>
              <a:headEnd type="none" w="lg" len="med"/>
              <a:tailEnd type="triangle"/>
            </a:ln>
            <a:effectLst/>
          </p:spPr>
        </p:cxnSp>
        <p:sp>
          <p:nvSpPr>
            <p:cNvPr id="190" name="TextBox 189">
              <a:extLst>
                <a:ext uri="{FF2B5EF4-FFF2-40B4-BE49-F238E27FC236}">
                  <a16:creationId xmlns:a16="http://schemas.microsoft.com/office/drawing/2014/main" id="{F41C971C-C5C3-61D7-4A62-DF8187B033C2}"/>
                </a:ext>
              </a:extLst>
            </p:cNvPr>
            <p:cNvSpPr txBox="1"/>
            <p:nvPr/>
          </p:nvSpPr>
          <p:spPr>
            <a:xfrm>
              <a:off x="7378901" y="1819238"/>
              <a:ext cx="333553"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Segoe UI"/>
                  <a:ea typeface="+mn-ea"/>
                  <a:cs typeface="+mn-cs"/>
                </a:rPr>
                <a:t>AZ 1</a:t>
              </a:r>
            </a:p>
          </p:txBody>
        </p:sp>
        <p:sp>
          <p:nvSpPr>
            <p:cNvPr id="191" name="TextBox 190">
              <a:extLst>
                <a:ext uri="{FF2B5EF4-FFF2-40B4-BE49-F238E27FC236}">
                  <a16:creationId xmlns:a16="http://schemas.microsoft.com/office/drawing/2014/main" id="{0035AE46-D466-7ABE-9F07-14F0C1F2D05D}"/>
                </a:ext>
              </a:extLst>
            </p:cNvPr>
            <p:cNvSpPr txBox="1"/>
            <p:nvPr/>
          </p:nvSpPr>
          <p:spPr>
            <a:xfrm>
              <a:off x="9065301" y="1819238"/>
              <a:ext cx="333553"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Segoe UI"/>
                  <a:ea typeface="+mn-ea"/>
                  <a:cs typeface="+mn-cs"/>
                </a:rPr>
                <a:t>AZ 2</a:t>
              </a:r>
            </a:p>
          </p:txBody>
        </p:sp>
        <p:sp>
          <p:nvSpPr>
            <p:cNvPr id="192" name="TextBox 191">
              <a:extLst>
                <a:ext uri="{FF2B5EF4-FFF2-40B4-BE49-F238E27FC236}">
                  <a16:creationId xmlns:a16="http://schemas.microsoft.com/office/drawing/2014/main" id="{C0E23346-7CC4-7420-EA79-E8320791D117}"/>
                </a:ext>
              </a:extLst>
            </p:cNvPr>
            <p:cNvSpPr txBox="1"/>
            <p:nvPr/>
          </p:nvSpPr>
          <p:spPr>
            <a:xfrm>
              <a:off x="10768698" y="1819238"/>
              <a:ext cx="333553"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Segoe UI"/>
                  <a:ea typeface="+mn-ea"/>
                  <a:cs typeface="+mn-cs"/>
                </a:rPr>
                <a:t>AZ 3</a:t>
              </a:r>
            </a:p>
          </p:txBody>
        </p:sp>
        <p:cxnSp>
          <p:nvCxnSpPr>
            <p:cNvPr id="193" name="Elbow Connector 185">
              <a:extLst>
                <a:ext uri="{FF2B5EF4-FFF2-40B4-BE49-F238E27FC236}">
                  <a16:creationId xmlns:a16="http://schemas.microsoft.com/office/drawing/2014/main" id="{B27CD7E6-6111-54D5-FDA2-F732EFE51C2C}"/>
                </a:ext>
              </a:extLst>
            </p:cNvPr>
            <p:cNvCxnSpPr>
              <a:stCxn id="184" idx="1"/>
            </p:cNvCxnSpPr>
            <p:nvPr/>
          </p:nvCxnSpPr>
          <p:spPr>
            <a:xfrm rot="10800000" flipV="1">
              <a:off x="7031042" y="4588220"/>
              <a:ext cx="127230" cy="701549"/>
            </a:xfrm>
            <a:prstGeom prst="bentConnector2">
              <a:avLst/>
            </a:prstGeom>
            <a:noFill/>
            <a:ln w="12700" cap="flat" cmpd="sng" algn="ctr">
              <a:solidFill>
                <a:sysClr val="windowText" lastClr="000000"/>
              </a:solidFill>
              <a:prstDash val="solid"/>
              <a:headEnd type="none" w="lg" len="med"/>
              <a:tailEnd type="triangle"/>
            </a:ln>
            <a:effectLst/>
          </p:spPr>
        </p:cxnSp>
        <p:sp>
          <p:nvSpPr>
            <p:cNvPr id="194" name="Freeform 186">
              <a:extLst>
                <a:ext uri="{FF2B5EF4-FFF2-40B4-BE49-F238E27FC236}">
                  <a16:creationId xmlns:a16="http://schemas.microsoft.com/office/drawing/2014/main" id="{AC2265CF-9DD0-153F-5AC6-B6CC8116C492}"/>
                </a:ext>
              </a:extLst>
            </p:cNvPr>
            <p:cNvSpPr/>
            <p:nvPr/>
          </p:nvSpPr>
          <p:spPr bwMode="auto">
            <a:xfrm>
              <a:off x="8698431" y="1091395"/>
              <a:ext cx="348898" cy="348898"/>
            </a:xfrm>
            <a:custGeom>
              <a:avLst/>
              <a:gdLst>
                <a:gd name="connsiteX0" fmla="*/ 1874730 w 6400800"/>
                <a:gd name="connsiteY0" fmla="*/ 0 h 6400800"/>
                <a:gd name="connsiteX1" fmla="*/ 4526071 w 6400800"/>
                <a:gd name="connsiteY1" fmla="*/ 0 h 6400800"/>
                <a:gd name="connsiteX2" fmla="*/ 6400800 w 6400800"/>
                <a:gd name="connsiteY2" fmla="*/ 1874730 h 6400800"/>
                <a:gd name="connsiteX3" fmla="*/ 6400800 w 6400800"/>
                <a:gd name="connsiteY3" fmla="*/ 4526071 h 6400800"/>
                <a:gd name="connsiteX4" fmla="*/ 6358322 w 6400800"/>
                <a:gd name="connsiteY4" fmla="*/ 4568549 h 6400800"/>
                <a:gd name="connsiteX5" fmla="*/ 5058175 w 6400800"/>
                <a:gd name="connsiteY5" fmla="*/ 3268403 h 6400800"/>
                <a:gd name="connsiteX6" fmla="*/ 5507673 w 6400800"/>
                <a:gd name="connsiteY6" fmla="*/ 2818903 h 6400800"/>
                <a:gd name="connsiteX7" fmla="*/ 4122192 w 6400800"/>
                <a:gd name="connsiteY7" fmla="*/ 2818903 h 6400800"/>
                <a:gd name="connsiteX8" fmla="*/ 4122192 w 6400800"/>
                <a:gd name="connsiteY8" fmla="*/ 4204384 h 6400800"/>
                <a:gd name="connsiteX9" fmla="*/ 4571690 w 6400800"/>
                <a:gd name="connsiteY9" fmla="*/ 3754886 h 6400800"/>
                <a:gd name="connsiteX10" fmla="*/ 5871838 w 6400800"/>
                <a:gd name="connsiteY10" fmla="*/ 5055033 h 6400800"/>
                <a:gd name="connsiteX11" fmla="*/ 4721644 w 6400800"/>
                <a:gd name="connsiteY11" fmla="*/ 6205226 h 6400800"/>
                <a:gd name="connsiteX12" fmla="*/ 2793868 w 6400800"/>
                <a:gd name="connsiteY12" fmla="*/ 4277450 h 6400800"/>
                <a:gd name="connsiteX13" fmla="*/ 3118372 w 6400800"/>
                <a:gd name="connsiteY13" fmla="*/ 3952945 h 6400800"/>
                <a:gd name="connsiteX14" fmla="*/ 2118156 w 6400800"/>
                <a:gd name="connsiteY14" fmla="*/ 3952944 h 6400800"/>
                <a:gd name="connsiteX15" fmla="*/ 2118156 w 6400800"/>
                <a:gd name="connsiteY15" fmla="*/ 4953160 h 6400800"/>
                <a:gd name="connsiteX16" fmla="*/ 2442662 w 6400800"/>
                <a:gd name="connsiteY16" fmla="*/ 4628656 h 6400800"/>
                <a:gd name="connsiteX17" fmla="*/ 4214806 w 6400800"/>
                <a:gd name="connsiteY17" fmla="*/ 6400800 h 6400800"/>
                <a:gd name="connsiteX18" fmla="*/ 1874730 w 6400800"/>
                <a:gd name="connsiteY18" fmla="*/ 6400800 h 6400800"/>
                <a:gd name="connsiteX19" fmla="*/ 0 w 6400800"/>
                <a:gd name="connsiteY19" fmla="*/ 4526071 h 6400800"/>
                <a:gd name="connsiteX20" fmla="*/ 0 w 6400800"/>
                <a:gd name="connsiteY20" fmla="*/ 1874730 h 6400800"/>
                <a:gd name="connsiteX21" fmla="*/ 668307 w 6400800"/>
                <a:gd name="connsiteY21" fmla="*/ 1206423 h 6400800"/>
                <a:gd name="connsiteX22" fmla="*/ 2195668 w 6400800"/>
                <a:gd name="connsiteY22" fmla="*/ 2733785 h 6400800"/>
                <a:gd name="connsiteX23" fmla="*/ 1539320 w 6400800"/>
                <a:gd name="connsiteY23" fmla="*/ 3390132 h 6400800"/>
                <a:gd name="connsiteX24" fmla="*/ 3562370 w 6400800"/>
                <a:gd name="connsiteY24" fmla="*/ 3390132 h 6400800"/>
                <a:gd name="connsiteX25" fmla="*/ 3562370 w 6400800"/>
                <a:gd name="connsiteY25" fmla="*/ 1367084 h 6400800"/>
                <a:gd name="connsiteX26" fmla="*/ 2906022 w 6400800"/>
                <a:gd name="connsiteY26" fmla="*/ 2023431 h 6400800"/>
                <a:gd name="connsiteX27" fmla="*/ 1378661 w 6400800"/>
                <a:gd name="connsiteY27" fmla="*/ 496069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400800" h="6400800">
                  <a:moveTo>
                    <a:pt x="1874730" y="0"/>
                  </a:moveTo>
                  <a:lnTo>
                    <a:pt x="4526071" y="0"/>
                  </a:lnTo>
                  <a:lnTo>
                    <a:pt x="6400800" y="1874730"/>
                  </a:lnTo>
                  <a:lnTo>
                    <a:pt x="6400800" y="4526071"/>
                  </a:lnTo>
                  <a:lnTo>
                    <a:pt x="6358322" y="4568549"/>
                  </a:lnTo>
                  <a:lnTo>
                    <a:pt x="5058175" y="3268403"/>
                  </a:lnTo>
                  <a:lnTo>
                    <a:pt x="5507673" y="2818903"/>
                  </a:lnTo>
                  <a:lnTo>
                    <a:pt x="4122192" y="2818903"/>
                  </a:lnTo>
                  <a:lnTo>
                    <a:pt x="4122192" y="4204384"/>
                  </a:lnTo>
                  <a:lnTo>
                    <a:pt x="4571690" y="3754886"/>
                  </a:lnTo>
                  <a:lnTo>
                    <a:pt x="5871838" y="5055033"/>
                  </a:lnTo>
                  <a:lnTo>
                    <a:pt x="4721644" y="6205226"/>
                  </a:lnTo>
                  <a:lnTo>
                    <a:pt x="2793868" y="4277450"/>
                  </a:lnTo>
                  <a:lnTo>
                    <a:pt x="3118372" y="3952945"/>
                  </a:lnTo>
                  <a:lnTo>
                    <a:pt x="2118156" y="3952944"/>
                  </a:lnTo>
                  <a:lnTo>
                    <a:pt x="2118156" y="4953160"/>
                  </a:lnTo>
                  <a:lnTo>
                    <a:pt x="2442662" y="4628656"/>
                  </a:lnTo>
                  <a:lnTo>
                    <a:pt x="4214806" y="6400800"/>
                  </a:lnTo>
                  <a:lnTo>
                    <a:pt x="1874730" y="6400800"/>
                  </a:lnTo>
                  <a:lnTo>
                    <a:pt x="0" y="4526071"/>
                  </a:lnTo>
                  <a:lnTo>
                    <a:pt x="0" y="1874730"/>
                  </a:lnTo>
                  <a:lnTo>
                    <a:pt x="668307" y="1206423"/>
                  </a:lnTo>
                  <a:lnTo>
                    <a:pt x="2195668" y="2733785"/>
                  </a:lnTo>
                  <a:lnTo>
                    <a:pt x="1539320" y="3390132"/>
                  </a:lnTo>
                  <a:lnTo>
                    <a:pt x="3562370" y="3390132"/>
                  </a:lnTo>
                  <a:lnTo>
                    <a:pt x="3562370" y="1367084"/>
                  </a:lnTo>
                  <a:lnTo>
                    <a:pt x="2906022" y="2023431"/>
                  </a:lnTo>
                  <a:lnTo>
                    <a:pt x="1378661" y="496069"/>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9492507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8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69953" rtl="0" eaLnBrk="1" fontAlgn="base" latinLnBrk="0" hangingPunct="1">
              <a:lnSpc>
                <a:spcPct val="90000"/>
              </a:lnSpc>
              <a:spcBef>
                <a:spcPct val="0"/>
              </a:spcBef>
              <a:spcAft>
                <a:spcPct val="0"/>
              </a:spcAft>
              <a:buClrTx/>
              <a:buSzTx/>
              <a:buFontTx/>
              <a:buNone/>
              <a:tabLst/>
              <a:defRPr/>
            </a:pPr>
            <a:r>
              <a:rPr kumimoji="0" lang="en-US" sz="8800" b="0" i="0" u="none" strike="noStrike" kern="0" cap="none" spc="0" normalizeH="0" baseline="0" noProof="0" dirty="0">
                <a:ln>
                  <a:noFill/>
                </a:ln>
                <a:solidFill>
                  <a:srgbClr val="2098D5">
                    <a:lumMod val="75000"/>
                  </a:srgbClr>
                </a:solidFill>
                <a:effectLst/>
                <a:uLnTx/>
                <a:uFillTx/>
                <a:latin typeface="Segoe UI"/>
                <a:ea typeface="Segoe UI" pitchFamily="34" charset="0"/>
                <a:cs typeface="Segoe UI" pitchFamily="34" charset="0"/>
              </a:rPr>
              <a:t>Demo Time</a:t>
            </a:r>
          </a:p>
        </p:txBody>
      </p:sp>
    </p:spTree>
    <p:extLst>
      <p:ext uri="{BB962C8B-B14F-4D97-AF65-F5344CB8AC3E}">
        <p14:creationId xmlns:p14="http://schemas.microsoft.com/office/powerpoint/2010/main" val="23460726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680911" y="2985801"/>
            <a:ext cx="4344412" cy="886397"/>
          </a:xfrm>
        </p:spPr>
        <p:txBody>
          <a:bodyPr/>
          <a:lstStyle/>
          <a:p>
            <a:pPr algn="ctr"/>
            <a:r>
              <a:rPr lang="en-US" dirty="0"/>
              <a:t>Disaster Recovery in Azure SQL?</a:t>
            </a:r>
          </a:p>
        </p:txBody>
      </p:sp>
    </p:spTree>
    <p:extLst>
      <p:ext uri="{BB962C8B-B14F-4D97-AF65-F5344CB8AC3E}">
        <p14:creationId xmlns:p14="http://schemas.microsoft.com/office/powerpoint/2010/main" val="3731506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923330"/>
          </a:xfrm>
        </p:spPr>
        <p:txBody>
          <a:bodyPr/>
          <a:lstStyle/>
          <a:p>
            <a:r>
              <a:rPr lang="en-US" dirty="0"/>
              <a:t>Active Geo-replication</a:t>
            </a:r>
            <a:br>
              <a:rPr lang="en-US" dirty="0"/>
            </a:br>
            <a:endParaRPr lang="en-US" dirty="0"/>
          </a:p>
        </p:txBody>
      </p:sp>
      <p:graphicFrame>
        <p:nvGraphicFramePr>
          <p:cNvPr id="5" name="Table 5">
            <a:extLst>
              <a:ext uri="{FF2B5EF4-FFF2-40B4-BE49-F238E27FC236}">
                <a16:creationId xmlns:a16="http://schemas.microsoft.com/office/drawing/2014/main" id="{5993BC06-789C-4EC9-B7A0-E295CDD25689}"/>
              </a:ext>
            </a:extLst>
          </p:cNvPr>
          <p:cNvGraphicFramePr>
            <a:graphicFrameLocks noGrp="1"/>
          </p:cNvGraphicFramePr>
          <p:nvPr>
            <p:ph sz="quarter" idx="13"/>
            <p:extLst>
              <p:ext uri="{D42A27DB-BD31-4B8C-83A1-F6EECF244321}">
                <p14:modId xmlns:p14="http://schemas.microsoft.com/office/powerpoint/2010/main" val="536636579"/>
              </p:ext>
            </p:extLst>
          </p:nvPr>
        </p:nvGraphicFramePr>
        <p:xfrm>
          <a:off x="564463" y="1046767"/>
          <a:ext cx="4678362" cy="4643120"/>
        </p:xfrm>
        <a:graphic>
          <a:graphicData uri="http://schemas.openxmlformats.org/drawingml/2006/table">
            <a:tbl>
              <a:tblPr bandRow="1">
                <a:tableStyleId>{BC89EF96-8CEA-46FF-86C4-4CE0E7609802}</a:tableStyleId>
              </a:tblPr>
              <a:tblGrid>
                <a:gridCol w="2339181">
                  <a:extLst>
                    <a:ext uri="{9D8B030D-6E8A-4147-A177-3AD203B41FA5}">
                      <a16:colId xmlns:a16="http://schemas.microsoft.com/office/drawing/2014/main" val="1556535743"/>
                    </a:ext>
                  </a:extLst>
                </a:gridCol>
                <a:gridCol w="2339181">
                  <a:extLst>
                    <a:ext uri="{9D8B030D-6E8A-4147-A177-3AD203B41FA5}">
                      <a16:colId xmlns:a16="http://schemas.microsoft.com/office/drawing/2014/main" val="3724558309"/>
                    </a:ext>
                  </a:extLst>
                </a:gridCol>
              </a:tblGrid>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dirty="0"/>
                        <a:t>Service</a:t>
                      </a:r>
                      <a:r>
                        <a:rPr lang="en-US" sz="1800" baseline="0" dirty="0"/>
                        <a:t> levels</a:t>
                      </a:r>
                      <a:endParaRPr lang="en-US" sz="1800" dirty="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Basic,</a:t>
                      </a:r>
                      <a:r>
                        <a:rPr lang="en-US" sz="1600" baseline="0" dirty="0"/>
                        <a:t> standard, premium </a:t>
                      </a:r>
                    </a:p>
                    <a:p>
                      <a:pPr marL="0" marR="0" indent="0" algn="l" defTabSz="914367" rtl="0" eaLnBrk="1" fontAlgn="auto" latinLnBrk="0" hangingPunct="1">
                        <a:lnSpc>
                          <a:spcPct val="100000"/>
                        </a:lnSpc>
                        <a:spcBef>
                          <a:spcPts val="0"/>
                        </a:spcBef>
                        <a:spcAft>
                          <a:spcPts val="0"/>
                        </a:spcAft>
                        <a:buClrTx/>
                        <a:buSzTx/>
                        <a:buFontTx/>
                        <a:buNone/>
                        <a:tabLst/>
                        <a:defRPr/>
                      </a:pPr>
                      <a:r>
                        <a:rPr lang="en-US" sz="1600" baseline="0" dirty="0"/>
                        <a:t>Self service </a:t>
                      </a:r>
                      <a:endParaRPr lang="en-US" sz="1600" dirty="0">
                        <a:solidFill>
                          <a:schemeClr val="tx1"/>
                        </a:solidFill>
                        <a:latin typeface="+mn-lt"/>
                        <a:cs typeface="+mn-cs"/>
                      </a:endParaRPr>
                    </a:p>
                  </a:txBody>
                  <a:tcPr anchor="ctr"/>
                </a:tc>
                <a:extLst>
                  <a:ext uri="{0D108BD9-81ED-4DB2-BD59-A6C34878D82A}">
                    <a16:rowId xmlns:a16="http://schemas.microsoft.com/office/drawing/2014/main" val="3498141553"/>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Readable</a:t>
                      </a:r>
                      <a:r>
                        <a:rPr lang="en-US" sz="1800" baseline="0"/>
                        <a:t> secondaries</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a:t>Up to 4</a:t>
                      </a:r>
                      <a:endParaRPr lang="en-US" sz="1600">
                        <a:solidFill>
                          <a:schemeClr val="tx1"/>
                        </a:solidFill>
                        <a:latin typeface="+mn-lt"/>
                        <a:cs typeface="+mn-cs"/>
                      </a:endParaRPr>
                    </a:p>
                  </a:txBody>
                  <a:tcPr anchor="ctr"/>
                </a:tc>
                <a:extLst>
                  <a:ext uri="{0D108BD9-81ED-4DB2-BD59-A6C34878D82A}">
                    <a16:rowId xmlns:a16="http://schemas.microsoft.com/office/drawing/2014/main" val="4098510825"/>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Regions</a:t>
                      </a:r>
                      <a:r>
                        <a:rPr lang="en-US" sz="1800" baseline="0"/>
                        <a:t> available</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Any</a:t>
                      </a:r>
                      <a:r>
                        <a:rPr lang="en-US" sz="1600" baseline="0" dirty="0"/>
                        <a:t> Azure region</a:t>
                      </a:r>
                      <a:endParaRPr lang="en-US" sz="1600" dirty="0">
                        <a:solidFill>
                          <a:schemeClr val="tx1"/>
                        </a:solidFill>
                        <a:latin typeface="+mn-lt"/>
                        <a:cs typeface="+mn-cs"/>
                      </a:endParaRPr>
                    </a:p>
                  </a:txBody>
                  <a:tcPr anchor="ctr"/>
                </a:tc>
                <a:extLst>
                  <a:ext uri="{0D108BD9-81ED-4DB2-BD59-A6C34878D82A}">
                    <a16:rowId xmlns:a16="http://schemas.microsoft.com/office/drawing/2014/main" val="254260333"/>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Replication</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a:t>Automatic, asynchronous</a:t>
                      </a:r>
                      <a:endParaRPr lang="en-US" sz="1600">
                        <a:solidFill>
                          <a:schemeClr val="tx1"/>
                        </a:solidFill>
                        <a:latin typeface="+mn-lt"/>
                        <a:cs typeface="+mn-cs"/>
                      </a:endParaRPr>
                    </a:p>
                  </a:txBody>
                  <a:tcPr anchor="ctr"/>
                </a:tc>
                <a:extLst>
                  <a:ext uri="{0D108BD9-81ED-4DB2-BD59-A6C34878D82A}">
                    <a16:rowId xmlns:a16="http://schemas.microsoft.com/office/drawing/2014/main" val="1815741526"/>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dirty="0"/>
                        <a:t>Manageability tools </a:t>
                      </a:r>
                      <a:endParaRPr lang="en-US" sz="1800" dirty="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REST API, PowerShell, or Azure Portal </a:t>
                      </a:r>
                      <a:endParaRPr lang="en-US" sz="1600" dirty="0">
                        <a:solidFill>
                          <a:schemeClr val="tx1"/>
                        </a:solidFill>
                        <a:latin typeface="+mn-lt"/>
                        <a:cs typeface="+mn-cs"/>
                      </a:endParaRPr>
                    </a:p>
                  </a:txBody>
                  <a:tcPr anchor="ctr"/>
                </a:tc>
                <a:extLst>
                  <a:ext uri="{0D108BD9-81ED-4DB2-BD59-A6C34878D82A}">
                    <a16:rowId xmlns:a16="http://schemas.microsoft.com/office/drawing/2014/main" val="3271581638"/>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Recovery</a:t>
                      </a:r>
                      <a:r>
                        <a:rPr lang="en-US" sz="1800" baseline="0"/>
                        <a:t> time objective (RTO)</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600"/>
                        <a:t>&lt;1 hour</a:t>
                      </a:r>
                    </a:p>
                  </a:txBody>
                  <a:tcPr anchor="ctr"/>
                </a:tc>
                <a:extLst>
                  <a:ext uri="{0D108BD9-81ED-4DB2-BD59-A6C34878D82A}">
                    <a16:rowId xmlns:a16="http://schemas.microsoft.com/office/drawing/2014/main" val="1917780852"/>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Recovery</a:t>
                      </a:r>
                      <a:r>
                        <a:rPr lang="en-US" sz="1800" baseline="0"/>
                        <a:t> point objective</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600" dirty="0"/>
                        <a:t>&lt;5 minutes</a:t>
                      </a:r>
                    </a:p>
                  </a:txBody>
                  <a:tcPr anchor="ctr"/>
                </a:tc>
                <a:extLst>
                  <a:ext uri="{0D108BD9-81ED-4DB2-BD59-A6C34878D82A}">
                    <a16:rowId xmlns:a16="http://schemas.microsoft.com/office/drawing/2014/main" val="3274122615"/>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Failover</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600" dirty="0"/>
                        <a:t>On</a:t>
                      </a:r>
                      <a:r>
                        <a:rPr lang="en-US" sz="1600" baseline="0" dirty="0"/>
                        <a:t> demand</a:t>
                      </a:r>
                      <a:endParaRPr lang="en-US" sz="1600" dirty="0"/>
                    </a:p>
                  </a:txBody>
                  <a:tcPr anchor="ctr"/>
                </a:tc>
                <a:extLst>
                  <a:ext uri="{0D108BD9-81ED-4DB2-BD59-A6C34878D82A}">
                    <a16:rowId xmlns:a16="http://schemas.microsoft.com/office/drawing/2014/main" val="939033867"/>
                  </a:ext>
                </a:extLst>
              </a:tr>
            </a:tbl>
          </a:graphicData>
        </a:graphic>
      </p:graphicFrame>
      <p:sp>
        <p:nvSpPr>
          <p:cNvPr id="7" name="TextBox 338">
            <a:extLst>
              <a:ext uri="{FF2B5EF4-FFF2-40B4-BE49-F238E27FC236}">
                <a16:creationId xmlns:a16="http://schemas.microsoft.com/office/drawing/2014/main" id="{39B28131-2BB4-4C7E-90EA-CA8188781BA2}"/>
              </a:ext>
            </a:extLst>
          </p:cNvPr>
          <p:cNvSpPr txBox="1"/>
          <p:nvPr/>
        </p:nvSpPr>
        <p:spPr>
          <a:xfrm>
            <a:off x="7959714" y="4927150"/>
            <a:ext cx="2380313" cy="276999"/>
          </a:xfrm>
          <a:prstGeom prst="rect">
            <a:avLst/>
          </a:prstGeom>
        </p:spPr>
        <p:txBody>
          <a:bodyPr wrap="square" rtlCol="0">
            <a:spAutoFit/>
          </a:bodyPr>
          <a:lstStyle>
            <a:defPPr>
              <a:defRPr lang="en-US"/>
            </a:defPPr>
            <a:lvl1pPr marR="0" lvl="0" indent="0" algn="ctr" defTabSz="914554" fontAlgn="auto">
              <a:lnSpc>
                <a:spcPct val="100000"/>
              </a:lnSpc>
              <a:spcBef>
                <a:spcPts val="0"/>
              </a:spcBef>
              <a:spcAft>
                <a:spcPts val="0"/>
              </a:spcAft>
              <a:buClrTx/>
              <a:buSzTx/>
              <a:buFontTx/>
              <a:buNone/>
              <a:tabLst/>
              <a:defRPr kumimoji="0" sz="1200" b="0" i="0" u="none" strike="noStrike" kern="0" cap="none" spc="0" normalizeH="0" baseline="0">
                <a:ln>
                  <a:noFill/>
                </a:ln>
                <a:solidFill>
                  <a:schemeClr val="tx2"/>
                </a:solidFill>
                <a:effectLst/>
                <a:uLnTx/>
                <a:uFillTx/>
                <a:latin typeface="Segoe UI Semilight" panose="020B0402040204020203" pitchFamily="34" charset="0"/>
                <a:cs typeface="Segoe UI Semilight" panose="020B0402040204020203" pitchFamily="34" charset="0"/>
              </a:defRPr>
            </a:lvl1pPr>
          </a:lstStyle>
          <a:p>
            <a:pPr marL="0" marR="0" lvl="0" indent="0" algn="ctr" defTabSz="914554"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cs typeface="Segoe UI Semilight" panose="020B0402040204020203" pitchFamily="34" charset="0"/>
              </a:rPr>
              <a:t>Up to 4 secondaries</a:t>
            </a:r>
          </a:p>
        </p:txBody>
      </p:sp>
      <p:sp>
        <p:nvSpPr>
          <p:cNvPr id="8" name="Freeform: Shape 7">
            <a:extLst>
              <a:ext uri="{FF2B5EF4-FFF2-40B4-BE49-F238E27FC236}">
                <a16:creationId xmlns:a16="http://schemas.microsoft.com/office/drawing/2014/main" id="{1EE8B0FA-2743-496C-8AA3-73977E0DC2D8}"/>
              </a:ext>
            </a:extLst>
          </p:cNvPr>
          <p:cNvSpPr>
            <a:spLocks/>
          </p:cNvSpPr>
          <p:nvPr/>
        </p:nvSpPr>
        <p:spPr bwMode="auto">
          <a:xfrm>
            <a:off x="5766653" y="1532620"/>
            <a:ext cx="5759648" cy="3161068"/>
          </a:xfrm>
          <a:custGeom>
            <a:avLst/>
            <a:gdLst>
              <a:gd name="connsiteX0" fmla="*/ 3172506 w 11625583"/>
              <a:gd name="connsiteY0" fmla="*/ 6251138 h 6380470"/>
              <a:gd name="connsiteX1" fmla="*/ 3237172 w 11625583"/>
              <a:gd name="connsiteY1" fmla="*/ 6315804 h 6380470"/>
              <a:gd name="connsiteX2" fmla="*/ 3172506 w 11625583"/>
              <a:gd name="connsiteY2" fmla="*/ 6380470 h 6380470"/>
              <a:gd name="connsiteX3" fmla="*/ 3107840 w 11625583"/>
              <a:gd name="connsiteY3" fmla="*/ 6315804 h 6380470"/>
              <a:gd name="connsiteX4" fmla="*/ 3172506 w 11625583"/>
              <a:gd name="connsiteY4" fmla="*/ 6251138 h 6380470"/>
              <a:gd name="connsiteX5" fmla="*/ 3321253 w 11625583"/>
              <a:gd name="connsiteY5" fmla="*/ 6251137 h 6380470"/>
              <a:gd name="connsiteX6" fmla="*/ 3385919 w 11625583"/>
              <a:gd name="connsiteY6" fmla="*/ 6315803 h 6380470"/>
              <a:gd name="connsiteX7" fmla="*/ 3321253 w 11625583"/>
              <a:gd name="connsiteY7" fmla="*/ 6380469 h 6380470"/>
              <a:gd name="connsiteX8" fmla="*/ 3256587 w 11625583"/>
              <a:gd name="connsiteY8" fmla="*/ 6315803 h 6380470"/>
              <a:gd name="connsiteX9" fmla="*/ 3321253 w 11625583"/>
              <a:gd name="connsiteY9" fmla="*/ 6251137 h 6380470"/>
              <a:gd name="connsiteX10" fmla="*/ 3172507 w 11625583"/>
              <a:gd name="connsiteY10" fmla="*/ 6110222 h 6380470"/>
              <a:gd name="connsiteX11" fmla="*/ 3237173 w 11625583"/>
              <a:gd name="connsiteY11" fmla="*/ 6174888 h 6380470"/>
              <a:gd name="connsiteX12" fmla="*/ 3172507 w 11625583"/>
              <a:gd name="connsiteY12" fmla="*/ 6239554 h 6380470"/>
              <a:gd name="connsiteX13" fmla="*/ 3107841 w 11625583"/>
              <a:gd name="connsiteY13" fmla="*/ 6174888 h 6380470"/>
              <a:gd name="connsiteX14" fmla="*/ 3172507 w 11625583"/>
              <a:gd name="connsiteY14" fmla="*/ 6110222 h 6380470"/>
              <a:gd name="connsiteX15" fmla="*/ 3172507 w 11625583"/>
              <a:gd name="connsiteY15" fmla="*/ 5965390 h 6380470"/>
              <a:gd name="connsiteX16" fmla="*/ 3237173 w 11625583"/>
              <a:gd name="connsiteY16" fmla="*/ 6030056 h 6380470"/>
              <a:gd name="connsiteX17" fmla="*/ 3172507 w 11625583"/>
              <a:gd name="connsiteY17" fmla="*/ 6094722 h 6380470"/>
              <a:gd name="connsiteX18" fmla="*/ 3107841 w 11625583"/>
              <a:gd name="connsiteY18" fmla="*/ 6030056 h 6380470"/>
              <a:gd name="connsiteX19" fmla="*/ 3172507 w 11625583"/>
              <a:gd name="connsiteY19" fmla="*/ 5965390 h 6380470"/>
              <a:gd name="connsiteX20" fmla="*/ 3321254 w 11625583"/>
              <a:gd name="connsiteY20" fmla="*/ 5965389 h 6380470"/>
              <a:gd name="connsiteX21" fmla="*/ 3385920 w 11625583"/>
              <a:gd name="connsiteY21" fmla="*/ 6030055 h 6380470"/>
              <a:gd name="connsiteX22" fmla="*/ 3321254 w 11625583"/>
              <a:gd name="connsiteY22" fmla="*/ 6094721 h 6380470"/>
              <a:gd name="connsiteX23" fmla="*/ 3256588 w 11625583"/>
              <a:gd name="connsiteY23" fmla="*/ 6030055 h 6380470"/>
              <a:gd name="connsiteX24" fmla="*/ 3321254 w 11625583"/>
              <a:gd name="connsiteY24" fmla="*/ 5965389 h 6380470"/>
              <a:gd name="connsiteX25" fmla="*/ 10938540 w 11625583"/>
              <a:gd name="connsiteY25" fmla="*/ 5824473 h 6380470"/>
              <a:gd name="connsiteX26" fmla="*/ 11003206 w 11625583"/>
              <a:gd name="connsiteY26" fmla="*/ 5889139 h 6380470"/>
              <a:gd name="connsiteX27" fmla="*/ 10938540 w 11625583"/>
              <a:gd name="connsiteY27" fmla="*/ 5953805 h 6380470"/>
              <a:gd name="connsiteX28" fmla="*/ 10873874 w 11625583"/>
              <a:gd name="connsiteY28" fmla="*/ 5889139 h 6380470"/>
              <a:gd name="connsiteX29" fmla="*/ 10938540 w 11625583"/>
              <a:gd name="connsiteY29" fmla="*/ 5824473 h 6380470"/>
              <a:gd name="connsiteX30" fmla="*/ 3321254 w 11625583"/>
              <a:gd name="connsiteY30" fmla="*/ 5824473 h 6380470"/>
              <a:gd name="connsiteX31" fmla="*/ 3385920 w 11625583"/>
              <a:gd name="connsiteY31" fmla="*/ 5889139 h 6380470"/>
              <a:gd name="connsiteX32" fmla="*/ 3321254 w 11625583"/>
              <a:gd name="connsiteY32" fmla="*/ 5953805 h 6380470"/>
              <a:gd name="connsiteX33" fmla="*/ 3256588 w 11625583"/>
              <a:gd name="connsiteY33" fmla="*/ 5889139 h 6380470"/>
              <a:gd name="connsiteX34" fmla="*/ 3321254 w 11625583"/>
              <a:gd name="connsiteY34" fmla="*/ 5824473 h 6380470"/>
              <a:gd name="connsiteX35" fmla="*/ 3172507 w 11625583"/>
              <a:gd name="connsiteY35" fmla="*/ 5824473 h 6380470"/>
              <a:gd name="connsiteX36" fmla="*/ 3237174 w 11625583"/>
              <a:gd name="connsiteY36" fmla="*/ 5889139 h 6380470"/>
              <a:gd name="connsiteX37" fmla="*/ 3172507 w 11625583"/>
              <a:gd name="connsiteY37" fmla="*/ 5953805 h 6380470"/>
              <a:gd name="connsiteX38" fmla="*/ 3107841 w 11625583"/>
              <a:gd name="connsiteY38" fmla="*/ 5889139 h 6380470"/>
              <a:gd name="connsiteX39" fmla="*/ 3172507 w 11625583"/>
              <a:gd name="connsiteY39" fmla="*/ 5824473 h 6380470"/>
              <a:gd name="connsiteX40" fmla="*/ 11095113 w 11625583"/>
              <a:gd name="connsiteY40" fmla="*/ 5683557 h 6380470"/>
              <a:gd name="connsiteX41" fmla="*/ 11159779 w 11625583"/>
              <a:gd name="connsiteY41" fmla="*/ 5748223 h 6380470"/>
              <a:gd name="connsiteX42" fmla="*/ 11095113 w 11625583"/>
              <a:gd name="connsiteY42" fmla="*/ 5812889 h 6380470"/>
              <a:gd name="connsiteX43" fmla="*/ 11030447 w 11625583"/>
              <a:gd name="connsiteY43" fmla="*/ 5748223 h 6380470"/>
              <a:gd name="connsiteX44" fmla="*/ 11095113 w 11625583"/>
              <a:gd name="connsiteY44" fmla="*/ 5683557 h 6380470"/>
              <a:gd name="connsiteX45" fmla="*/ 10312246 w 11625583"/>
              <a:gd name="connsiteY45" fmla="*/ 5683557 h 6380470"/>
              <a:gd name="connsiteX46" fmla="*/ 10376912 w 11625583"/>
              <a:gd name="connsiteY46" fmla="*/ 5748223 h 6380470"/>
              <a:gd name="connsiteX47" fmla="*/ 10312246 w 11625583"/>
              <a:gd name="connsiteY47" fmla="*/ 5812889 h 6380470"/>
              <a:gd name="connsiteX48" fmla="*/ 10247580 w 11625583"/>
              <a:gd name="connsiteY48" fmla="*/ 5748223 h 6380470"/>
              <a:gd name="connsiteX49" fmla="*/ 10312246 w 11625583"/>
              <a:gd name="connsiteY49" fmla="*/ 5683557 h 6380470"/>
              <a:gd name="connsiteX50" fmla="*/ 3321255 w 11625583"/>
              <a:gd name="connsiteY50" fmla="*/ 5683557 h 6380470"/>
              <a:gd name="connsiteX51" fmla="*/ 3385921 w 11625583"/>
              <a:gd name="connsiteY51" fmla="*/ 5748223 h 6380470"/>
              <a:gd name="connsiteX52" fmla="*/ 3321255 w 11625583"/>
              <a:gd name="connsiteY52" fmla="*/ 5812889 h 6380470"/>
              <a:gd name="connsiteX53" fmla="*/ 3256590 w 11625583"/>
              <a:gd name="connsiteY53" fmla="*/ 5748223 h 6380470"/>
              <a:gd name="connsiteX54" fmla="*/ 3321255 w 11625583"/>
              <a:gd name="connsiteY54" fmla="*/ 5683557 h 6380470"/>
              <a:gd name="connsiteX55" fmla="*/ 3172508 w 11625583"/>
              <a:gd name="connsiteY55" fmla="*/ 5683557 h 6380470"/>
              <a:gd name="connsiteX56" fmla="*/ 3237174 w 11625583"/>
              <a:gd name="connsiteY56" fmla="*/ 5748223 h 6380470"/>
              <a:gd name="connsiteX57" fmla="*/ 3172508 w 11625583"/>
              <a:gd name="connsiteY57" fmla="*/ 5812889 h 6380470"/>
              <a:gd name="connsiteX58" fmla="*/ 3107842 w 11625583"/>
              <a:gd name="connsiteY58" fmla="*/ 5748223 h 6380470"/>
              <a:gd name="connsiteX59" fmla="*/ 3172508 w 11625583"/>
              <a:gd name="connsiteY59" fmla="*/ 5683557 h 6380470"/>
              <a:gd name="connsiteX60" fmla="*/ 11251686 w 11625583"/>
              <a:gd name="connsiteY60" fmla="*/ 5538729 h 6380470"/>
              <a:gd name="connsiteX61" fmla="*/ 11316352 w 11625583"/>
              <a:gd name="connsiteY61" fmla="*/ 5603395 h 6380470"/>
              <a:gd name="connsiteX62" fmla="*/ 11251686 w 11625583"/>
              <a:gd name="connsiteY62" fmla="*/ 5668061 h 6380470"/>
              <a:gd name="connsiteX63" fmla="*/ 11187020 w 11625583"/>
              <a:gd name="connsiteY63" fmla="*/ 5603395 h 6380470"/>
              <a:gd name="connsiteX64" fmla="*/ 11251686 w 11625583"/>
              <a:gd name="connsiteY64" fmla="*/ 5538729 h 6380470"/>
              <a:gd name="connsiteX65" fmla="*/ 3481742 w 11625583"/>
              <a:gd name="connsiteY65" fmla="*/ 5538728 h 6380470"/>
              <a:gd name="connsiteX66" fmla="*/ 3546408 w 11625583"/>
              <a:gd name="connsiteY66" fmla="*/ 5603394 h 6380470"/>
              <a:gd name="connsiteX67" fmla="*/ 3481742 w 11625583"/>
              <a:gd name="connsiteY67" fmla="*/ 5668060 h 6380470"/>
              <a:gd name="connsiteX68" fmla="*/ 3417075 w 11625583"/>
              <a:gd name="connsiteY68" fmla="*/ 5603394 h 6380470"/>
              <a:gd name="connsiteX69" fmla="*/ 3481742 w 11625583"/>
              <a:gd name="connsiteY69" fmla="*/ 5538728 h 6380470"/>
              <a:gd name="connsiteX70" fmla="*/ 3172511 w 11625583"/>
              <a:gd name="connsiteY70" fmla="*/ 5538728 h 6380470"/>
              <a:gd name="connsiteX71" fmla="*/ 3237177 w 11625583"/>
              <a:gd name="connsiteY71" fmla="*/ 5603394 h 6380470"/>
              <a:gd name="connsiteX72" fmla="*/ 3172511 w 11625583"/>
              <a:gd name="connsiteY72" fmla="*/ 5668060 h 6380470"/>
              <a:gd name="connsiteX73" fmla="*/ 3107844 w 11625583"/>
              <a:gd name="connsiteY73" fmla="*/ 5603394 h 6380470"/>
              <a:gd name="connsiteX74" fmla="*/ 3172511 w 11625583"/>
              <a:gd name="connsiteY74" fmla="*/ 5538728 h 6380470"/>
              <a:gd name="connsiteX75" fmla="*/ 10312248 w 11625583"/>
              <a:gd name="connsiteY75" fmla="*/ 5538726 h 6380470"/>
              <a:gd name="connsiteX76" fmla="*/ 10376914 w 11625583"/>
              <a:gd name="connsiteY76" fmla="*/ 5603392 h 6380470"/>
              <a:gd name="connsiteX77" fmla="*/ 10312248 w 11625583"/>
              <a:gd name="connsiteY77" fmla="*/ 5668058 h 6380470"/>
              <a:gd name="connsiteX78" fmla="*/ 10247582 w 11625583"/>
              <a:gd name="connsiteY78" fmla="*/ 5603392 h 6380470"/>
              <a:gd name="connsiteX79" fmla="*/ 10312248 w 11625583"/>
              <a:gd name="connsiteY79" fmla="*/ 5538726 h 6380470"/>
              <a:gd name="connsiteX80" fmla="*/ 10159588 w 11625583"/>
              <a:gd name="connsiteY80" fmla="*/ 5538726 h 6380470"/>
              <a:gd name="connsiteX81" fmla="*/ 10224254 w 11625583"/>
              <a:gd name="connsiteY81" fmla="*/ 5603392 h 6380470"/>
              <a:gd name="connsiteX82" fmla="*/ 10159588 w 11625583"/>
              <a:gd name="connsiteY82" fmla="*/ 5668058 h 6380470"/>
              <a:gd name="connsiteX83" fmla="*/ 10094922 w 11625583"/>
              <a:gd name="connsiteY83" fmla="*/ 5603392 h 6380470"/>
              <a:gd name="connsiteX84" fmla="*/ 10159588 w 11625583"/>
              <a:gd name="connsiteY84" fmla="*/ 5538726 h 6380470"/>
              <a:gd name="connsiteX85" fmla="*/ 3321256 w 11625583"/>
              <a:gd name="connsiteY85" fmla="*/ 5538726 h 6380470"/>
              <a:gd name="connsiteX86" fmla="*/ 3385922 w 11625583"/>
              <a:gd name="connsiteY86" fmla="*/ 5603392 h 6380470"/>
              <a:gd name="connsiteX87" fmla="*/ 3321256 w 11625583"/>
              <a:gd name="connsiteY87" fmla="*/ 5668058 h 6380470"/>
              <a:gd name="connsiteX88" fmla="*/ 3256590 w 11625583"/>
              <a:gd name="connsiteY88" fmla="*/ 5603392 h 6380470"/>
              <a:gd name="connsiteX89" fmla="*/ 3321256 w 11625583"/>
              <a:gd name="connsiteY89" fmla="*/ 5538726 h 6380470"/>
              <a:gd name="connsiteX90" fmla="*/ 11251688 w 11625583"/>
              <a:gd name="connsiteY90" fmla="*/ 5401725 h 6380470"/>
              <a:gd name="connsiteX91" fmla="*/ 11316354 w 11625583"/>
              <a:gd name="connsiteY91" fmla="*/ 5466391 h 6380470"/>
              <a:gd name="connsiteX92" fmla="*/ 11251688 w 11625583"/>
              <a:gd name="connsiteY92" fmla="*/ 5531057 h 6380470"/>
              <a:gd name="connsiteX93" fmla="*/ 11187022 w 11625583"/>
              <a:gd name="connsiteY93" fmla="*/ 5466391 h 6380470"/>
              <a:gd name="connsiteX94" fmla="*/ 11251688 w 11625583"/>
              <a:gd name="connsiteY94" fmla="*/ 5401725 h 6380470"/>
              <a:gd name="connsiteX95" fmla="*/ 10312248 w 11625583"/>
              <a:gd name="connsiteY95" fmla="*/ 5401725 h 6380470"/>
              <a:gd name="connsiteX96" fmla="*/ 10376914 w 11625583"/>
              <a:gd name="connsiteY96" fmla="*/ 5466391 h 6380470"/>
              <a:gd name="connsiteX97" fmla="*/ 10312248 w 11625583"/>
              <a:gd name="connsiteY97" fmla="*/ 5531057 h 6380470"/>
              <a:gd name="connsiteX98" fmla="*/ 10247582 w 11625583"/>
              <a:gd name="connsiteY98" fmla="*/ 5466391 h 6380470"/>
              <a:gd name="connsiteX99" fmla="*/ 10312248 w 11625583"/>
              <a:gd name="connsiteY99" fmla="*/ 5401725 h 6380470"/>
              <a:gd name="connsiteX100" fmla="*/ 10159588 w 11625583"/>
              <a:gd name="connsiteY100" fmla="*/ 5401725 h 6380470"/>
              <a:gd name="connsiteX101" fmla="*/ 10224254 w 11625583"/>
              <a:gd name="connsiteY101" fmla="*/ 5466391 h 6380470"/>
              <a:gd name="connsiteX102" fmla="*/ 10159588 w 11625583"/>
              <a:gd name="connsiteY102" fmla="*/ 5531057 h 6380470"/>
              <a:gd name="connsiteX103" fmla="*/ 10094922 w 11625583"/>
              <a:gd name="connsiteY103" fmla="*/ 5466391 h 6380470"/>
              <a:gd name="connsiteX104" fmla="*/ 10159588 w 11625583"/>
              <a:gd name="connsiteY104" fmla="*/ 5401725 h 6380470"/>
              <a:gd name="connsiteX105" fmla="*/ 10003016 w 11625583"/>
              <a:gd name="connsiteY105" fmla="*/ 5401725 h 6380470"/>
              <a:gd name="connsiteX106" fmla="*/ 10067682 w 11625583"/>
              <a:gd name="connsiteY106" fmla="*/ 5466391 h 6380470"/>
              <a:gd name="connsiteX107" fmla="*/ 10003016 w 11625583"/>
              <a:gd name="connsiteY107" fmla="*/ 5531057 h 6380470"/>
              <a:gd name="connsiteX108" fmla="*/ 9938350 w 11625583"/>
              <a:gd name="connsiteY108" fmla="*/ 5466391 h 6380470"/>
              <a:gd name="connsiteX109" fmla="*/ 10003016 w 11625583"/>
              <a:gd name="connsiteY109" fmla="*/ 5401725 h 6380470"/>
              <a:gd name="connsiteX110" fmla="*/ 6119999 w 11625583"/>
              <a:gd name="connsiteY110" fmla="*/ 5401725 h 6380470"/>
              <a:gd name="connsiteX111" fmla="*/ 6184665 w 11625583"/>
              <a:gd name="connsiteY111" fmla="*/ 5466391 h 6380470"/>
              <a:gd name="connsiteX112" fmla="*/ 6119999 w 11625583"/>
              <a:gd name="connsiteY112" fmla="*/ 5531057 h 6380470"/>
              <a:gd name="connsiteX113" fmla="*/ 6055333 w 11625583"/>
              <a:gd name="connsiteY113" fmla="*/ 5466391 h 6380470"/>
              <a:gd name="connsiteX114" fmla="*/ 6119999 w 11625583"/>
              <a:gd name="connsiteY114" fmla="*/ 5401725 h 6380470"/>
              <a:gd name="connsiteX115" fmla="*/ 3630488 w 11625583"/>
              <a:gd name="connsiteY115" fmla="*/ 5401725 h 6380470"/>
              <a:gd name="connsiteX116" fmla="*/ 3695154 w 11625583"/>
              <a:gd name="connsiteY116" fmla="*/ 5466391 h 6380470"/>
              <a:gd name="connsiteX117" fmla="*/ 3630488 w 11625583"/>
              <a:gd name="connsiteY117" fmla="*/ 5531057 h 6380470"/>
              <a:gd name="connsiteX118" fmla="*/ 3565822 w 11625583"/>
              <a:gd name="connsiteY118" fmla="*/ 5466391 h 6380470"/>
              <a:gd name="connsiteX119" fmla="*/ 3630488 w 11625583"/>
              <a:gd name="connsiteY119" fmla="*/ 5401725 h 6380470"/>
              <a:gd name="connsiteX120" fmla="*/ 3481743 w 11625583"/>
              <a:gd name="connsiteY120" fmla="*/ 5401725 h 6380470"/>
              <a:gd name="connsiteX121" fmla="*/ 3546410 w 11625583"/>
              <a:gd name="connsiteY121" fmla="*/ 5466391 h 6380470"/>
              <a:gd name="connsiteX122" fmla="*/ 3481743 w 11625583"/>
              <a:gd name="connsiteY122" fmla="*/ 5531057 h 6380470"/>
              <a:gd name="connsiteX123" fmla="*/ 3417077 w 11625583"/>
              <a:gd name="connsiteY123" fmla="*/ 5466391 h 6380470"/>
              <a:gd name="connsiteX124" fmla="*/ 3481743 w 11625583"/>
              <a:gd name="connsiteY124" fmla="*/ 5401725 h 6380470"/>
              <a:gd name="connsiteX125" fmla="*/ 3321258 w 11625583"/>
              <a:gd name="connsiteY125" fmla="*/ 5401725 h 6380470"/>
              <a:gd name="connsiteX126" fmla="*/ 3385924 w 11625583"/>
              <a:gd name="connsiteY126" fmla="*/ 5466391 h 6380470"/>
              <a:gd name="connsiteX127" fmla="*/ 3321258 w 11625583"/>
              <a:gd name="connsiteY127" fmla="*/ 5531057 h 6380470"/>
              <a:gd name="connsiteX128" fmla="*/ 3256592 w 11625583"/>
              <a:gd name="connsiteY128" fmla="*/ 5466391 h 6380470"/>
              <a:gd name="connsiteX129" fmla="*/ 3321258 w 11625583"/>
              <a:gd name="connsiteY129" fmla="*/ 5401725 h 6380470"/>
              <a:gd name="connsiteX130" fmla="*/ 3172512 w 11625583"/>
              <a:gd name="connsiteY130" fmla="*/ 5401725 h 6380470"/>
              <a:gd name="connsiteX131" fmla="*/ 3237179 w 11625583"/>
              <a:gd name="connsiteY131" fmla="*/ 5466391 h 6380470"/>
              <a:gd name="connsiteX132" fmla="*/ 3172512 w 11625583"/>
              <a:gd name="connsiteY132" fmla="*/ 5531057 h 6380470"/>
              <a:gd name="connsiteX133" fmla="*/ 3107846 w 11625583"/>
              <a:gd name="connsiteY133" fmla="*/ 5466391 h 6380470"/>
              <a:gd name="connsiteX134" fmla="*/ 3172512 w 11625583"/>
              <a:gd name="connsiteY134" fmla="*/ 5401725 h 6380470"/>
              <a:gd name="connsiteX135" fmla="*/ 9850358 w 11625583"/>
              <a:gd name="connsiteY135" fmla="*/ 5256896 h 6380470"/>
              <a:gd name="connsiteX136" fmla="*/ 9915024 w 11625583"/>
              <a:gd name="connsiteY136" fmla="*/ 5321562 h 6380470"/>
              <a:gd name="connsiteX137" fmla="*/ 9850358 w 11625583"/>
              <a:gd name="connsiteY137" fmla="*/ 5386228 h 6380470"/>
              <a:gd name="connsiteX138" fmla="*/ 9785692 w 11625583"/>
              <a:gd name="connsiteY138" fmla="*/ 5321562 h 6380470"/>
              <a:gd name="connsiteX139" fmla="*/ 9850358 w 11625583"/>
              <a:gd name="connsiteY139" fmla="*/ 5256896 h 6380470"/>
              <a:gd name="connsiteX140" fmla="*/ 9227977 w 11625583"/>
              <a:gd name="connsiteY140" fmla="*/ 5256896 h 6380470"/>
              <a:gd name="connsiteX141" fmla="*/ 9292643 w 11625583"/>
              <a:gd name="connsiteY141" fmla="*/ 5321562 h 6380470"/>
              <a:gd name="connsiteX142" fmla="*/ 9227977 w 11625583"/>
              <a:gd name="connsiteY142" fmla="*/ 5386228 h 6380470"/>
              <a:gd name="connsiteX143" fmla="*/ 9163311 w 11625583"/>
              <a:gd name="connsiteY143" fmla="*/ 5321562 h 6380470"/>
              <a:gd name="connsiteX144" fmla="*/ 9227977 w 11625583"/>
              <a:gd name="connsiteY144" fmla="*/ 5256896 h 6380470"/>
              <a:gd name="connsiteX145" fmla="*/ 6429231 w 11625583"/>
              <a:gd name="connsiteY145" fmla="*/ 5256896 h 6380470"/>
              <a:gd name="connsiteX146" fmla="*/ 6493897 w 11625583"/>
              <a:gd name="connsiteY146" fmla="*/ 5321562 h 6380470"/>
              <a:gd name="connsiteX147" fmla="*/ 6429231 w 11625583"/>
              <a:gd name="connsiteY147" fmla="*/ 5386228 h 6380470"/>
              <a:gd name="connsiteX148" fmla="*/ 6364565 w 11625583"/>
              <a:gd name="connsiteY148" fmla="*/ 5321562 h 6380470"/>
              <a:gd name="connsiteX149" fmla="*/ 6429231 w 11625583"/>
              <a:gd name="connsiteY149" fmla="*/ 5256896 h 6380470"/>
              <a:gd name="connsiteX150" fmla="*/ 6276572 w 11625583"/>
              <a:gd name="connsiteY150" fmla="*/ 5256896 h 6380470"/>
              <a:gd name="connsiteX151" fmla="*/ 6341238 w 11625583"/>
              <a:gd name="connsiteY151" fmla="*/ 5321562 h 6380470"/>
              <a:gd name="connsiteX152" fmla="*/ 6276572 w 11625583"/>
              <a:gd name="connsiteY152" fmla="*/ 5386228 h 6380470"/>
              <a:gd name="connsiteX153" fmla="*/ 6211906 w 11625583"/>
              <a:gd name="connsiteY153" fmla="*/ 5321562 h 6380470"/>
              <a:gd name="connsiteX154" fmla="*/ 6276572 w 11625583"/>
              <a:gd name="connsiteY154" fmla="*/ 5256896 h 6380470"/>
              <a:gd name="connsiteX155" fmla="*/ 3790976 w 11625583"/>
              <a:gd name="connsiteY155" fmla="*/ 5256896 h 6380470"/>
              <a:gd name="connsiteX156" fmla="*/ 3855643 w 11625583"/>
              <a:gd name="connsiteY156" fmla="*/ 5321562 h 6380470"/>
              <a:gd name="connsiteX157" fmla="*/ 3790976 w 11625583"/>
              <a:gd name="connsiteY157" fmla="*/ 5386228 h 6380470"/>
              <a:gd name="connsiteX158" fmla="*/ 3726310 w 11625583"/>
              <a:gd name="connsiteY158" fmla="*/ 5321562 h 6380470"/>
              <a:gd name="connsiteX159" fmla="*/ 3790976 w 11625583"/>
              <a:gd name="connsiteY159" fmla="*/ 5256896 h 6380470"/>
              <a:gd name="connsiteX160" fmla="*/ 3481745 w 11625583"/>
              <a:gd name="connsiteY160" fmla="*/ 5256896 h 6380470"/>
              <a:gd name="connsiteX161" fmla="*/ 3546411 w 11625583"/>
              <a:gd name="connsiteY161" fmla="*/ 5321562 h 6380470"/>
              <a:gd name="connsiteX162" fmla="*/ 3481745 w 11625583"/>
              <a:gd name="connsiteY162" fmla="*/ 5386228 h 6380470"/>
              <a:gd name="connsiteX163" fmla="*/ 3417080 w 11625583"/>
              <a:gd name="connsiteY163" fmla="*/ 5321562 h 6380470"/>
              <a:gd name="connsiteX164" fmla="*/ 3481745 w 11625583"/>
              <a:gd name="connsiteY164" fmla="*/ 5256896 h 6380470"/>
              <a:gd name="connsiteX165" fmla="*/ 3172514 w 11625583"/>
              <a:gd name="connsiteY165" fmla="*/ 5256896 h 6380470"/>
              <a:gd name="connsiteX166" fmla="*/ 3237180 w 11625583"/>
              <a:gd name="connsiteY166" fmla="*/ 5321562 h 6380470"/>
              <a:gd name="connsiteX167" fmla="*/ 3172514 w 11625583"/>
              <a:gd name="connsiteY167" fmla="*/ 5386228 h 6380470"/>
              <a:gd name="connsiteX168" fmla="*/ 3107847 w 11625583"/>
              <a:gd name="connsiteY168" fmla="*/ 5321562 h 6380470"/>
              <a:gd name="connsiteX169" fmla="*/ 3172514 w 11625583"/>
              <a:gd name="connsiteY169" fmla="*/ 5256896 h 6380470"/>
              <a:gd name="connsiteX170" fmla="*/ 10312248 w 11625583"/>
              <a:gd name="connsiteY170" fmla="*/ 5256895 h 6380470"/>
              <a:gd name="connsiteX171" fmla="*/ 10376914 w 11625583"/>
              <a:gd name="connsiteY171" fmla="*/ 5321561 h 6380470"/>
              <a:gd name="connsiteX172" fmla="*/ 10312248 w 11625583"/>
              <a:gd name="connsiteY172" fmla="*/ 5386227 h 6380470"/>
              <a:gd name="connsiteX173" fmla="*/ 10247582 w 11625583"/>
              <a:gd name="connsiteY173" fmla="*/ 5321561 h 6380470"/>
              <a:gd name="connsiteX174" fmla="*/ 10312248 w 11625583"/>
              <a:gd name="connsiteY174" fmla="*/ 5256895 h 6380470"/>
              <a:gd name="connsiteX175" fmla="*/ 10159588 w 11625583"/>
              <a:gd name="connsiteY175" fmla="*/ 5256895 h 6380470"/>
              <a:gd name="connsiteX176" fmla="*/ 10224254 w 11625583"/>
              <a:gd name="connsiteY176" fmla="*/ 5321561 h 6380470"/>
              <a:gd name="connsiteX177" fmla="*/ 10159588 w 11625583"/>
              <a:gd name="connsiteY177" fmla="*/ 5386227 h 6380470"/>
              <a:gd name="connsiteX178" fmla="*/ 10094922 w 11625583"/>
              <a:gd name="connsiteY178" fmla="*/ 5321561 h 6380470"/>
              <a:gd name="connsiteX179" fmla="*/ 10159588 w 11625583"/>
              <a:gd name="connsiteY179" fmla="*/ 5256895 h 6380470"/>
              <a:gd name="connsiteX180" fmla="*/ 10003016 w 11625583"/>
              <a:gd name="connsiteY180" fmla="*/ 5256895 h 6380470"/>
              <a:gd name="connsiteX181" fmla="*/ 10067682 w 11625583"/>
              <a:gd name="connsiteY181" fmla="*/ 5321561 h 6380470"/>
              <a:gd name="connsiteX182" fmla="*/ 10003016 w 11625583"/>
              <a:gd name="connsiteY182" fmla="*/ 5386227 h 6380470"/>
              <a:gd name="connsiteX183" fmla="*/ 9938350 w 11625583"/>
              <a:gd name="connsiteY183" fmla="*/ 5321561 h 6380470"/>
              <a:gd name="connsiteX184" fmla="*/ 10003016 w 11625583"/>
              <a:gd name="connsiteY184" fmla="*/ 5256895 h 6380470"/>
              <a:gd name="connsiteX185" fmla="*/ 9384550 w 11625583"/>
              <a:gd name="connsiteY185" fmla="*/ 5256895 h 6380470"/>
              <a:gd name="connsiteX186" fmla="*/ 9449216 w 11625583"/>
              <a:gd name="connsiteY186" fmla="*/ 5321561 h 6380470"/>
              <a:gd name="connsiteX187" fmla="*/ 9384550 w 11625583"/>
              <a:gd name="connsiteY187" fmla="*/ 5386227 h 6380470"/>
              <a:gd name="connsiteX188" fmla="*/ 9319884 w 11625583"/>
              <a:gd name="connsiteY188" fmla="*/ 5321561 h 6380470"/>
              <a:gd name="connsiteX189" fmla="*/ 9384550 w 11625583"/>
              <a:gd name="connsiteY189" fmla="*/ 5256895 h 6380470"/>
              <a:gd name="connsiteX190" fmla="*/ 6119999 w 11625583"/>
              <a:gd name="connsiteY190" fmla="*/ 5256895 h 6380470"/>
              <a:gd name="connsiteX191" fmla="*/ 6184665 w 11625583"/>
              <a:gd name="connsiteY191" fmla="*/ 5321561 h 6380470"/>
              <a:gd name="connsiteX192" fmla="*/ 6119999 w 11625583"/>
              <a:gd name="connsiteY192" fmla="*/ 5386227 h 6380470"/>
              <a:gd name="connsiteX193" fmla="*/ 6055333 w 11625583"/>
              <a:gd name="connsiteY193" fmla="*/ 5321561 h 6380470"/>
              <a:gd name="connsiteX194" fmla="*/ 6119999 w 11625583"/>
              <a:gd name="connsiteY194" fmla="*/ 5256895 h 6380470"/>
              <a:gd name="connsiteX195" fmla="*/ 3630491 w 11625583"/>
              <a:gd name="connsiteY195" fmla="*/ 5256895 h 6380470"/>
              <a:gd name="connsiteX196" fmla="*/ 3695156 w 11625583"/>
              <a:gd name="connsiteY196" fmla="*/ 5321561 h 6380470"/>
              <a:gd name="connsiteX197" fmla="*/ 3630491 w 11625583"/>
              <a:gd name="connsiteY197" fmla="*/ 5386227 h 6380470"/>
              <a:gd name="connsiteX198" fmla="*/ 3565825 w 11625583"/>
              <a:gd name="connsiteY198" fmla="*/ 5321561 h 6380470"/>
              <a:gd name="connsiteX199" fmla="*/ 3630491 w 11625583"/>
              <a:gd name="connsiteY199" fmla="*/ 5256895 h 6380470"/>
              <a:gd name="connsiteX200" fmla="*/ 3321260 w 11625583"/>
              <a:gd name="connsiteY200" fmla="*/ 5256895 h 6380470"/>
              <a:gd name="connsiteX201" fmla="*/ 3385925 w 11625583"/>
              <a:gd name="connsiteY201" fmla="*/ 5321561 h 6380470"/>
              <a:gd name="connsiteX202" fmla="*/ 3321260 w 11625583"/>
              <a:gd name="connsiteY202" fmla="*/ 5386227 h 6380470"/>
              <a:gd name="connsiteX203" fmla="*/ 3256594 w 11625583"/>
              <a:gd name="connsiteY203" fmla="*/ 5321561 h 6380470"/>
              <a:gd name="connsiteX204" fmla="*/ 3321260 w 11625583"/>
              <a:gd name="connsiteY204" fmla="*/ 5256895 h 6380470"/>
              <a:gd name="connsiteX205" fmla="*/ 10468821 w 11625583"/>
              <a:gd name="connsiteY205" fmla="*/ 5115980 h 6380470"/>
              <a:gd name="connsiteX206" fmla="*/ 10533487 w 11625583"/>
              <a:gd name="connsiteY206" fmla="*/ 5180646 h 6380470"/>
              <a:gd name="connsiteX207" fmla="*/ 10468821 w 11625583"/>
              <a:gd name="connsiteY207" fmla="*/ 5245312 h 6380470"/>
              <a:gd name="connsiteX208" fmla="*/ 10404155 w 11625583"/>
              <a:gd name="connsiteY208" fmla="*/ 5180646 h 6380470"/>
              <a:gd name="connsiteX209" fmla="*/ 10468821 w 11625583"/>
              <a:gd name="connsiteY209" fmla="*/ 5115980 h 6380470"/>
              <a:gd name="connsiteX210" fmla="*/ 9850358 w 11625583"/>
              <a:gd name="connsiteY210" fmla="*/ 5115980 h 6380470"/>
              <a:gd name="connsiteX211" fmla="*/ 9915024 w 11625583"/>
              <a:gd name="connsiteY211" fmla="*/ 5180646 h 6380470"/>
              <a:gd name="connsiteX212" fmla="*/ 9850358 w 11625583"/>
              <a:gd name="connsiteY212" fmla="*/ 5245312 h 6380470"/>
              <a:gd name="connsiteX213" fmla="*/ 9785692 w 11625583"/>
              <a:gd name="connsiteY213" fmla="*/ 5180646 h 6380470"/>
              <a:gd name="connsiteX214" fmla="*/ 9850358 w 11625583"/>
              <a:gd name="connsiteY214" fmla="*/ 5115980 h 6380470"/>
              <a:gd name="connsiteX215" fmla="*/ 9227977 w 11625583"/>
              <a:gd name="connsiteY215" fmla="*/ 5115980 h 6380470"/>
              <a:gd name="connsiteX216" fmla="*/ 9292643 w 11625583"/>
              <a:gd name="connsiteY216" fmla="*/ 5180646 h 6380470"/>
              <a:gd name="connsiteX217" fmla="*/ 9227977 w 11625583"/>
              <a:gd name="connsiteY217" fmla="*/ 5245312 h 6380470"/>
              <a:gd name="connsiteX218" fmla="*/ 9163311 w 11625583"/>
              <a:gd name="connsiteY218" fmla="*/ 5180646 h 6380470"/>
              <a:gd name="connsiteX219" fmla="*/ 9227977 w 11625583"/>
              <a:gd name="connsiteY219" fmla="*/ 5115980 h 6380470"/>
              <a:gd name="connsiteX220" fmla="*/ 6429231 w 11625583"/>
              <a:gd name="connsiteY220" fmla="*/ 5115980 h 6380470"/>
              <a:gd name="connsiteX221" fmla="*/ 6493897 w 11625583"/>
              <a:gd name="connsiteY221" fmla="*/ 5180646 h 6380470"/>
              <a:gd name="connsiteX222" fmla="*/ 6429231 w 11625583"/>
              <a:gd name="connsiteY222" fmla="*/ 5245312 h 6380470"/>
              <a:gd name="connsiteX223" fmla="*/ 6364565 w 11625583"/>
              <a:gd name="connsiteY223" fmla="*/ 5180646 h 6380470"/>
              <a:gd name="connsiteX224" fmla="*/ 6429231 w 11625583"/>
              <a:gd name="connsiteY224" fmla="*/ 5115980 h 6380470"/>
              <a:gd name="connsiteX225" fmla="*/ 6276572 w 11625583"/>
              <a:gd name="connsiteY225" fmla="*/ 5115980 h 6380470"/>
              <a:gd name="connsiteX226" fmla="*/ 6341238 w 11625583"/>
              <a:gd name="connsiteY226" fmla="*/ 5180646 h 6380470"/>
              <a:gd name="connsiteX227" fmla="*/ 6276572 w 11625583"/>
              <a:gd name="connsiteY227" fmla="*/ 5245312 h 6380470"/>
              <a:gd name="connsiteX228" fmla="*/ 6211906 w 11625583"/>
              <a:gd name="connsiteY228" fmla="*/ 5180646 h 6380470"/>
              <a:gd name="connsiteX229" fmla="*/ 6276572 w 11625583"/>
              <a:gd name="connsiteY229" fmla="*/ 5115980 h 6380470"/>
              <a:gd name="connsiteX230" fmla="*/ 5967339 w 11625583"/>
              <a:gd name="connsiteY230" fmla="*/ 5115980 h 6380470"/>
              <a:gd name="connsiteX231" fmla="*/ 6032005 w 11625583"/>
              <a:gd name="connsiteY231" fmla="*/ 5180646 h 6380470"/>
              <a:gd name="connsiteX232" fmla="*/ 5967339 w 11625583"/>
              <a:gd name="connsiteY232" fmla="*/ 5245312 h 6380470"/>
              <a:gd name="connsiteX233" fmla="*/ 5902673 w 11625583"/>
              <a:gd name="connsiteY233" fmla="*/ 5180646 h 6380470"/>
              <a:gd name="connsiteX234" fmla="*/ 5967339 w 11625583"/>
              <a:gd name="connsiteY234" fmla="*/ 5115980 h 6380470"/>
              <a:gd name="connsiteX235" fmla="*/ 3790979 w 11625583"/>
              <a:gd name="connsiteY235" fmla="*/ 5115980 h 6380470"/>
              <a:gd name="connsiteX236" fmla="*/ 3855646 w 11625583"/>
              <a:gd name="connsiteY236" fmla="*/ 5180646 h 6380470"/>
              <a:gd name="connsiteX237" fmla="*/ 3790979 w 11625583"/>
              <a:gd name="connsiteY237" fmla="*/ 5245312 h 6380470"/>
              <a:gd name="connsiteX238" fmla="*/ 3726312 w 11625583"/>
              <a:gd name="connsiteY238" fmla="*/ 5180646 h 6380470"/>
              <a:gd name="connsiteX239" fmla="*/ 3790979 w 11625583"/>
              <a:gd name="connsiteY239" fmla="*/ 5115980 h 6380470"/>
              <a:gd name="connsiteX240" fmla="*/ 3481748 w 11625583"/>
              <a:gd name="connsiteY240" fmla="*/ 5115980 h 6380470"/>
              <a:gd name="connsiteX241" fmla="*/ 3546415 w 11625583"/>
              <a:gd name="connsiteY241" fmla="*/ 5180646 h 6380470"/>
              <a:gd name="connsiteX242" fmla="*/ 3481748 w 11625583"/>
              <a:gd name="connsiteY242" fmla="*/ 5245312 h 6380470"/>
              <a:gd name="connsiteX243" fmla="*/ 3417082 w 11625583"/>
              <a:gd name="connsiteY243" fmla="*/ 5180646 h 6380470"/>
              <a:gd name="connsiteX244" fmla="*/ 3481748 w 11625583"/>
              <a:gd name="connsiteY244" fmla="*/ 5115980 h 6380470"/>
              <a:gd name="connsiteX245" fmla="*/ 3172518 w 11625583"/>
              <a:gd name="connsiteY245" fmla="*/ 5115980 h 6380470"/>
              <a:gd name="connsiteX246" fmla="*/ 3237185 w 11625583"/>
              <a:gd name="connsiteY246" fmla="*/ 5180646 h 6380470"/>
              <a:gd name="connsiteX247" fmla="*/ 3172518 w 11625583"/>
              <a:gd name="connsiteY247" fmla="*/ 5245312 h 6380470"/>
              <a:gd name="connsiteX248" fmla="*/ 3107851 w 11625583"/>
              <a:gd name="connsiteY248" fmla="*/ 5180646 h 6380470"/>
              <a:gd name="connsiteX249" fmla="*/ 3172518 w 11625583"/>
              <a:gd name="connsiteY249" fmla="*/ 5115980 h 6380470"/>
              <a:gd name="connsiteX250" fmla="*/ 10312248 w 11625583"/>
              <a:gd name="connsiteY250" fmla="*/ 5115979 h 6380470"/>
              <a:gd name="connsiteX251" fmla="*/ 10376914 w 11625583"/>
              <a:gd name="connsiteY251" fmla="*/ 5180645 h 6380470"/>
              <a:gd name="connsiteX252" fmla="*/ 10312248 w 11625583"/>
              <a:gd name="connsiteY252" fmla="*/ 5245311 h 6380470"/>
              <a:gd name="connsiteX253" fmla="*/ 10247582 w 11625583"/>
              <a:gd name="connsiteY253" fmla="*/ 5180645 h 6380470"/>
              <a:gd name="connsiteX254" fmla="*/ 10312248 w 11625583"/>
              <a:gd name="connsiteY254" fmla="*/ 5115979 h 6380470"/>
              <a:gd name="connsiteX255" fmla="*/ 10159588 w 11625583"/>
              <a:gd name="connsiteY255" fmla="*/ 5115979 h 6380470"/>
              <a:gd name="connsiteX256" fmla="*/ 10224254 w 11625583"/>
              <a:gd name="connsiteY256" fmla="*/ 5180645 h 6380470"/>
              <a:gd name="connsiteX257" fmla="*/ 10159588 w 11625583"/>
              <a:gd name="connsiteY257" fmla="*/ 5245311 h 6380470"/>
              <a:gd name="connsiteX258" fmla="*/ 10094922 w 11625583"/>
              <a:gd name="connsiteY258" fmla="*/ 5180645 h 6380470"/>
              <a:gd name="connsiteX259" fmla="*/ 10159588 w 11625583"/>
              <a:gd name="connsiteY259" fmla="*/ 5115979 h 6380470"/>
              <a:gd name="connsiteX260" fmla="*/ 10003016 w 11625583"/>
              <a:gd name="connsiteY260" fmla="*/ 5115979 h 6380470"/>
              <a:gd name="connsiteX261" fmla="*/ 10067682 w 11625583"/>
              <a:gd name="connsiteY261" fmla="*/ 5180645 h 6380470"/>
              <a:gd name="connsiteX262" fmla="*/ 10003016 w 11625583"/>
              <a:gd name="connsiteY262" fmla="*/ 5245311 h 6380470"/>
              <a:gd name="connsiteX263" fmla="*/ 9938350 w 11625583"/>
              <a:gd name="connsiteY263" fmla="*/ 5180645 h 6380470"/>
              <a:gd name="connsiteX264" fmla="*/ 10003016 w 11625583"/>
              <a:gd name="connsiteY264" fmla="*/ 5115979 h 6380470"/>
              <a:gd name="connsiteX265" fmla="*/ 9693783 w 11625583"/>
              <a:gd name="connsiteY265" fmla="*/ 5115979 h 6380470"/>
              <a:gd name="connsiteX266" fmla="*/ 9758449 w 11625583"/>
              <a:gd name="connsiteY266" fmla="*/ 5180645 h 6380470"/>
              <a:gd name="connsiteX267" fmla="*/ 9693783 w 11625583"/>
              <a:gd name="connsiteY267" fmla="*/ 5245311 h 6380470"/>
              <a:gd name="connsiteX268" fmla="*/ 9629117 w 11625583"/>
              <a:gd name="connsiteY268" fmla="*/ 5180645 h 6380470"/>
              <a:gd name="connsiteX269" fmla="*/ 9693783 w 11625583"/>
              <a:gd name="connsiteY269" fmla="*/ 5115979 h 6380470"/>
              <a:gd name="connsiteX270" fmla="*/ 9541125 w 11625583"/>
              <a:gd name="connsiteY270" fmla="*/ 5115979 h 6380470"/>
              <a:gd name="connsiteX271" fmla="*/ 9605791 w 11625583"/>
              <a:gd name="connsiteY271" fmla="*/ 5180645 h 6380470"/>
              <a:gd name="connsiteX272" fmla="*/ 9541125 w 11625583"/>
              <a:gd name="connsiteY272" fmla="*/ 5245311 h 6380470"/>
              <a:gd name="connsiteX273" fmla="*/ 9476459 w 11625583"/>
              <a:gd name="connsiteY273" fmla="*/ 5180645 h 6380470"/>
              <a:gd name="connsiteX274" fmla="*/ 9541125 w 11625583"/>
              <a:gd name="connsiteY274" fmla="*/ 5115979 h 6380470"/>
              <a:gd name="connsiteX275" fmla="*/ 9384550 w 11625583"/>
              <a:gd name="connsiteY275" fmla="*/ 5115979 h 6380470"/>
              <a:gd name="connsiteX276" fmla="*/ 9449216 w 11625583"/>
              <a:gd name="connsiteY276" fmla="*/ 5180645 h 6380470"/>
              <a:gd name="connsiteX277" fmla="*/ 9384550 w 11625583"/>
              <a:gd name="connsiteY277" fmla="*/ 5245311 h 6380470"/>
              <a:gd name="connsiteX278" fmla="*/ 9319884 w 11625583"/>
              <a:gd name="connsiteY278" fmla="*/ 5180645 h 6380470"/>
              <a:gd name="connsiteX279" fmla="*/ 9384550 w 11625583"/>
              <a:gd name="connsiteY279" fmla="*/ 5115979 h 6380470"/>
              <a:gd name="connsiteX280" fmla="*/ 6119999 w 11625583"/>
              <a:gd name="connsiteY280" fmla="*/ 5115979 h 6380470"/>
              <a:gd name="connsiteX281" fmla="*/ 6184665 w 11625583"/>
              <a:gd name="connsiteY281" fmla="*/ 5180645 h 6380470"/>
              <a:gd name="connsiteX282" fmla="*/ 6119999 w 11625583"/>
              <a:gd name="connsiteY282" fmla="*/ 5245311 h 6380470"/>
              <a:gd name="connsiteX283" fmla="*/ 6055333 w 11625583"/>
              <a:gd name="connsiteY283" fmla="*/ 5180645 h 6380470"/>
              <a:gd name="connsiteX284" fmla="*/ 6119999 w 11625583"/>
              <a:gd name="connsiteY284" fmla="*/ 5115979 h 6380470"/>
              <a:gd name="connsiteX285" fmla="*/ 3630493 w 11625583"/>
              <a:gd name="connsiteY285" fmla="*/ 5115979 h 6380470"/>
              <a:gd name="connsiteX286" fmla="*/ 3695158 w 11625583"/>
              <a:gd name="connsiteY286" fmla="*/ 5180645 h 6380470"/>
              <a:gd name="connsiteX287" fmla="*/ 3630493 w 11625583"/>
              <a:gd name="connsiteY287" fmla="*/ 5245311 h 6380470"/>
              <a:gd name="connsiteX288" fmla="*/ 3565827 w 11625583"/>
              <a:gd name="connsiteY288" fmla="*/ 5180645 h 6380470"/>
              <a:gd name="connsiteX289" fmla="*/ 3630493 w 11625583"/>
              <a:gd name="connsiteY289" fmla="*/ 5115979 h 6380470"/>
              <a:gd name="connsiteX290" fmla="*/ 3321262 w 11625583"/>
              <a:gd name="connsiteY290" fmla="*/ 5115979 h 6380470"/>
              <a:gd name="connsiteX291" fmla="*/ 3385929 w 11625583"/>
              <a:gd name="connsiteY291" fmla="*/ 5180645 h 6380470"/>
              <a:gd name="connsiteX292" fmla="*/ 3321262 w 11625583"/>
              <a:gd name="connsiteY292" fmla="*/ 5245311 h 6380470"/>
              <a:gd name="connsiteX293" fmla="*/ 3256596 w 11625583"/>
              <a:gd name="connsiteY293" fmla="*/ 5180645 h 6380470"/>
              <a:gd name="connsiteX294" fmla="*/ 3321262 w 11625583"/>
              <a:gd name="connsiteY294" fmla="*/ 5115979 h 6380470"/>
              <a:gd name="connsiteX295" fmla="*/ 10468821 w 11625583"/>
              <a:gd name="connsiteY295" fmla="*/ 4975063 h 6380470"/>
              <a:gd name="connsiteX296" fmla="*/ 10533487 w 11625583"/>
              <a:gd name="connsiteY296" fmla="*/ 5039729 h 6380470"/>
              <a:gd name="connsiteX297" fmla="*/ 10468821 w 11625583"/>
              <a:gd name="connsiteY297" fmla="*/ 5104395 h 6380470"/>
              <a:gd name="connsiteX298" fmla="*/ 10404155 w 11625583"/>
              <a:gd name="connsiteY298" fmla="*/ 5039729 h 6380470"/>
              <a:gd name="connsiteX299" fmla="*/ 10468821 w 11625583"/>
              <a:gd name="connsiteY299" fmla="*/ 4975063 h 6380470"/>
              <a:gd name="connsiteX300" fmla="*/ 10312248 w 11625583"/>
              <a:gd name="connsiteY300" fmla="*/ 4975063 h 6380470"/>
              <a:gd name="connsiteX301" fmla="*/ 10376914 w 11625583"/>
              <a:gd name="connsiteY301" fmla="*/ 5039729 h 6380470"/>
              <a:gd name="connsiteX302" fmla="*/ 10312248 w 11625583"/>
              <a:gd name="connsiteY302" fmla="*/ 5104395 h 6380470"/>
              <a:gd name="connsiteX303" fmla="*/ 10247582 w 11625583"/>
              <a:gd name="connsiteY303" fmla="*/ 5039729 h 6380470"/>
              <a:gd name="connsiteX304" fmla="*/ 10312248 w 11625583"/>
              <a:gd name="connsiteY304" fmla="*/ 4975063 h 6380470"/>
              <a:gd name="connsiteX305" fmla="*/ 10159588 w 11625583"/>
              <a:gd name="connsiteY305" fmla="*/ 4975063 h 6380470"/>
              <a:gd name="connsiteX306" fmla="*/ 10224254 w 11625583"/>
              <a:gd name="connsiteY306" fmla="*/ 5039729 h 6380470"/>
              <a:gd name="connsiteX307" fmla="*/ 10159588 w 11625583"/>
              <a:gd name="connsiteY307" fmla="*/ 5104395 h 6380470"/>
              <a:gd name="connsiteX308" fmla="*/ 10094922 w 11625583"/>
              <a:gd name="connsiteY308" fmla="*/ 5039729 h 6380470"/>
              <a:gd name="connsiteX309" fmla="*/ 10159588 w 11625583"/>
              <a:gd name="connsiteY309" fmla="*/ 4975063 h 6380470"/>
              <a:gd name="connsiteX310" fmla="*/ 10003016 w 11625583"/>
              <a:gd name="connsiteY310" fmla="*/ 4975063 h 6380470"/>
              <a:gd name="connsiteX311" fmla="*/ 10067682 w 11625583"/>
              <a:gd name="connsiteY311" fmla="*/ 5039729 h 6380470"/>
              <a:gd name="connsiteX312" fmla="*/ 10003016 w 11625583"/>
              <a:gd name="connsiteY312" fmla="*/ 5104395 h 6380470"/>
              <a:gd name="connsiteX313" fmla="*/ 9938350 w 11625583"/>
              <a:gd name="connsiteY313" fmla="*/ 5039729 h 6380470"/>
              <a:gd name="connsiteX314" fmla="*/ 10003016 w 11625583"/>
              <a:gd name="connsiteY314" fmla="*/ 4975063 h 6380470"/>
              <a:gd name="connsiteX315" fmla="*/ 9850358 w 11625583"/>
              <a:gd name="connsiteY315" fmla="*/ 4975063 h 6380470"/>
              <a:gd name="connsiteX316" fmla="*/ 9915024 w 11625583"/>
              <a:gd name="connsiteY316" fmla="*/ 5039729 h 6380470"/>
              <a:gd name="connsiteX317" fmla="*/ 9850358 w 11625583"/>
              <a:gd name="connsiteY317" fmla="*/ 5104395 h 6380470"/>
              <a:gd name="connsiteX318" fmla="*/ 9785692 w 11625583"/>
              <a:gd name="connsiteY318" fmla="*/ 5039729 h 6380470"/>
              <a:gd name="connsiteX319" fmla="*/ 9850358 w 11625583"/>
              <a:gd name="connsiteY319" fmla="*/ 4975063 h 6380470"/>
              <a:gd name="connsiteX320" fmla="*/ 9693783 w 11625583"/>
              <a:gd name="connsiteY320" fmla="*/ 4975063 h 6380470"/>
              <a:gd name="connsiteX321" fmla="*/ 9758449 w 11625583"/>
              <a:gd name="connsiteY321" fmla="*/ 5039729 h 6380470"/>
              <a:gd name="connsiteX322" fmla="*/ 9693783 w 11625583"/>
              <a:gd name="connsiteY322" fmla="*/ 5104395 h 6380470"/>
              <a:gd name="connsiteX323" fmla="*/ 9629117 w 11625583"/>
              <a:gd name="connsiteY323" fmla="*/ 5039729 h 6380470"/>
              <a:gd name="connsiteX324" fmla="*/ 9693783 w 11625583"/>
              <a:gd name="connsiteY324" fmla="*/ 4975063 h 6380470"/>
              <a:gd name="connsiteX325" fmla="*/ 9541125 w 11625583"/>
              <a:gd name="connsiteY325" fmla="*/ 4975063 h 6380470"/>
              <a:gd name="connsiteX326" fmla="*/ 9605791 w 11625583"/>
              <a:gd name="connsiteY326" fmla="*/ 5039729 h 6380470"/>
              <a:gd name="connsiteX327" fmla="*/ 9541125 w 11625583"/>
              <a:gd name="connsiteY327" fmla="*/ 5104395 h 6380470"/>
              <a:gd name="connsiteX328" fmla="*/ 9476459 w 11625583"/>
              <a:gd name="connsiteY328" fmla="*/ 5039729 h 6380470"/>
              <a:gd name="connsiteX329" fmla="*/ 9541125 w 11625583"/>
              <a:gd name="connsiteY329" fmla="*/ 4975063 h 6380470"/>
              <a:gd name="connsiteX330" fmla="*/ 9384550 w 11625583"/>
              <a:gd name="connsiteY330" fmla="*/ 4975063 h 6380470"/>
              <a:gd name="connsiteX331" fmla="*/ 9449216 w 11625583"/>
              <a:gd name="connsiteY331" fmla="*/ 5039729 h 6380470"/>
              <a:gd name="connsiteX332" fmla="*/ 9384550 w 11625583"/>
              <a:gd name="connsiteY332" fmla="*/ 5104395 h 6380470"/>
              <a:gd name="connsiteX333" fmla="*/ 9319884 w 11625583"/>
              <a:gd name="connsiteY333" fmla="*/ 5039729 h 6380470"/>
              <a:gd name="connsiteX334" fmla="*/ 9384550 w 11625583"/>
              <a:gd name="connsiteY334" fmla="*/ 4975063 h 6380470"/>
              <a:gd name="connsiteX335" fmla="*/ 9227977 w 11625583"/>
              <a:gd name="connsiteY335" fmla="*/ 4975063 h 6380470"/>
              <a:gd name="connsiteX336" fmla="*/ 9292643 w 11625583"/>
              <a:gd name="connsiteY336" fmla="*/ 5039729 h 6380470"/>
              <a:gd name="connsiteX337" fmla="*/ 9227977 w 11625583"/>
              <a:gd name="connsiteY337" fmla="*/ 5104395 h 6380470"/>
              <a:gd name="connsiteX338" fmla="*/ 9163311 w 11625583"/>
              <a:gd name="connsiteY338" fmla="*/ 5039729 h 6380470"/>
              <a:gd name="connsiteX339" fmla="*/ 9227977 w 11625583"/>
              <a:gd name="connsiteY339" fmla="*/ 4975063 h 6380470"/>
              <a:gd name="connsiteX340" fmla="*/ 7055523 w 11625583"/>
              <a:gd name="connsiteY340" fmla="*/ 4975063 h 6380470"/>
              <a:gd name="connsiteX341" fmla="*/ 7120189 w 11625583"/>
              <a:gd name="connsiteY341" fmla="*/ 5039729 h 6380470"/>
              <a:gd name="connsiteX342" fmla="*/ 7055523 w 11625583"/>
              <a:gd name="connsiteY342" fmla="*/ 5104395 h 6380470"/>
              <a:gd name="connsiteX343" fmla="*/ 6990857 w 11625583"/>
              <a:gd name="connsiteY343" fmla="*/ 5039729 h 6380470"/>
              <a:gd name="connsiteX344" fmla="*/ 7055523 w 11625583"/>
              <a:gd name="connsiteY344" fmla="*/ 4975063 h 6380470"/>
              <a:gd name="connsiteX345" fmla="*/ 6585804 w 11625583"/>
              <a:gd name="connsiteY345" fmla="*/ 4975063 h 6380470"/>
              <a:gd name="connsiteX346" fmla="*/ 6650470 w 11625583"/>
              <a:gd name="connsiteY346" fmla="*/ 5039729 h 6380470"/>
              <a:gd name="connsiteX347" fmla="*/ 6585804 w 11625583"/>
              <a:gd name="connsiteY347" fmla="*/ 5104395 h 6380470"/>
              <a:gd name="connsiteX348" fmla="*/ 6521138 w 11625583"/>
              <a:gd name="connsiteY348" fmla="*/ 5039729 h 6380470"/>
              <a:gd name="connsiteX349" fmla="*/ 6585804 w 11625583"/>
              <a:gd name="connsiteY349" fmla="*/ 4975063 h 6380470"/>
              <a:gd name="connsiteX350" fmla="*/ 6429231 w 11625583"/>
              <a:gd name="connsiteY350" fmla="*/ 4975063 h 6380470"/>
              <a:gd name="connsiteX351" fmla="*/ 6493897 w 11625583"/>
              <a:gd name="connsiteY351" fmla="*/ 5039729 h 6380470"/>
              <a:gd name="connsiteX352" fmla="*/ 6429231 w 11625583"/>
              <a:gd name="connsiteY352" fmla="*/ 5104395 h 6380470"/>
              <a:gd name="connsiteX353" fmla="*/ 6364565 w 11625583"/>
              <a:gd name="connsiteY353" fmla="*/ 5039729 h 6380470"/>
              <a:gd name="connsiteX354" fmla="*/ 6429231 w 11625583"/>
              <a:gd name="connsiteY354" fmla="*/ 4975063 h 6380470"/>
              <a:gd name="connsiteX355" fmla="*/ 6276572 w 11625583"/>
              <a:gd name="connsiteY355" fmla="*/ 4975063 h 6380470"/>
              <a:gd name="connsiteX356" fmla="*/ 6341238 w 11625583"/>
              <a:gd name="connsiteY356" fmla="*/ 5039729 h 6380470"/>
              <a:gd name="connsiteX357" fmla="*/ 6276572 w 11625583"/>
              <a:gd name="connsiteY357" fmla="*/ 5104395 h 6380470"/>
              <a:gd name="connsiteX358" fmla="*/ 6211906 w 11625583"/>
              <a:gd name="connsiteY358" fmla="*/ 5039729 h 6380470"/>
              <a:gd name="connsiteX359" fmla="*/ 6276572 w 11625583"/>
              <a:gd name="connsiteY359" fmla="*/ 4975063 h 6380470"/>
              <a:gd name="connsiteX360" fmla="*/ 6119999 w 11625583"/>
              <a:gd name="connsiteY360" fmla="*/ 4975063 h 6380470"/>
              <a:gd name="connsiteX361" fmla="*/ 6184665 w 11625583"/>
              <a:gd name="connsiteY361" fmla="*/ 5039729 h 6380470"/>
              <a:gd name="connsiteX362" fmla="*/ 6119999 w 11625583"/>
              <a:gd name="connsiteY362" fmla="*/ 5104395 h 6380470"/>
              <a:gd name="connsiteX363" fmla="*/ 6055333 w 11625583"/>
              <a:gd name="connsiteY363" fmla="*/ 5039729 h 6380470"/>
              <a:gd name="connsiteX364" fmla="*/ 6119999 w 11625583"/>
              <a:gd name="connsiteY364" fmla="*/ 4975063 h 6380470"/>
              <a:gd name="connsiteX365" fmla="*/ 5967339 w 11625583"/>
              <a:gd name="connsiteY365" fmla="*/ 4975063 h 6380470"/>
              <a:gd name="connsiteX366" fmla="*/ 6032005 w 11625583"/>
              <a:gd name="connsiteY366" fmla="*/ 5039729 h 6380470"/>
              <a:gd name="connsiteX367" fmla="*/ 5967339 w 11625583"/>
              <a:gd name="connsiteY367" fmla="*/ 5104395 h 6380470"/>
              <a:gd name="connsiteX368" fmla="*/ 5902673 w 11625583"/>
              <a:gd name="connsiteY368" fmla="*/ 5039729 h 6380470"/>
              <a:gd name="connsiteX369" fmla="*/ 5967339 w 11625583"/>
              <a:gd name="connsiteY369" fmla="*/ 4975063 h 6380470"/>
              <a:gd name="connsiteX370" fmla="*/ 3947550 w 11625583"/>
              <a:gd name="connsiteY370" fmla="*/ 4975063 h 6380470"/>
              <a:gd name="connsiteX371" fmla="*/ 4012217 w 11625583"/>
              <a:gd name="connsiteY371" fmla="*/ 5039729 h 6380470"/>
              <a:gd name="connsiteX372" fmla="*/ 3947550 w 11625583"/>
              <a:gd name="connsiteY372" fmla="*/ 5104395 h 6380470"/>
              <a:gd name="connsiteX373" fmla="*/ 3882891 w 11625583"/>
              <a:gd name="connsiteY373" fmla="*/ 5039729 h 6380470"/>
              <a:gd name="connsiteX374" fmla="*/ 3947550 w 11625583"/>
              <a:gd name="connsiteY374" fmla="*/ 4975063 h 6380470"/>
              <a:gd name="connsiteX375" fmla="*/ 3790982 w 11625583"/>
              <a:gd name="connsiteY375" fmla="*/ 4975063 h 6380470"/>
              <a:gd name="connsiteX376" fmla="*/ 3855648 w 11625583"/>
              <a:gd name="connsiteY376" fmla="*/ 5039729 h 6380470"/>
              <a:gd name="connsiteX377" fmla="*/ 3790982 w 11625583"/>
              <a:gd name="connsiteY377" fmla="*/ 5104395 h 6380470"/>
              <a:gd name="connsiteX378" fmla="*/ 3726315 w 11625583"/>
              <a:gd name="connsiteY378" fmla="*/ 5039729 h 6380470"/>
              <a:gd name="connsiteX379" fmla="*/ 3790982 w 11625583"/>
              <a:gd name="connsiteY379" fmla="*/ 4975063 h 6380470"/>
              <a:gd name="connsiteX380" fmla="*/ 3630497 w 11625583"/>
              <a:gd name="connsiteY380" fmla="*/ 4975063 h 6380470"/>
              <a:gd name="connsiteX381" fmla="*/ 3695163 w 11625583"/>
              <a:gd name="connsiteY381" fmla="*/ 5039729 h 6380470"/>
              <a:gd name="connsiteX382" fmla="*/ 3630497 w 11625583"/>
              <a:gd name="connsiteY382" fmla="*/ 5104395 h 6380470"/>
              <a:gd name="connsiteX383" fmla="*/ 3565829 w 11625583"/>
              <a:gd name="connsiteY383" fmla="*/ 5039729 h 6380470"/>
              <a:gd name="connsiteX384" fmla="*/ 3630497 w 11625583"/>
              <a:gd name="connsiteY384" fmla="*/ 4975063 h 6380470"/>
              <a:gd name="connsiteX385" fmla="*/ 3481751 w 11625583"/>
              <a:gd name="connsiteY385" fmla="*/ 4975063 h 6380470"/>
              <a:gd name="connsiteX386" fmla="*/ 3546417 w 11625583"/>
              <a:gd name="connsiteY386" fmla="*/ 5039729 h 6380470"/>
              <a:gd name="connsiteX387" fmla="*/ 3481751 w 11625583"/>
              <a:gd name="connsiteY387" fmla="*/ 5104395 h 6380470"/>
              <a:gd name="connsiteX388" fmla="*/ 3417085 w 11625583"/>
              <a:gd name="connsiteY388" fmla="*/ 5039729 h 6380470"/>
              <a:gd name="connsiteX389" fmla="*/ 3481751 w 11625583"/>
              <a:gd name="connsiteY389" fmla="*/ 4975063 h 6380470"/>
              <a:gd name="connsiteX390" fmla="*/ 3321267 w 11625583"/>
              <a:gd name="connsiteY390" fmla="*/ 4975063 h 6380470"/>
              <a:gd name="connsiteX391" fmla="*/ 3385932 w 11625583"/>
              <a:gd name="connsiteY391" fmla="*/ 5039729 h 6380470"/>
              <a:gd name="connsiteX392" fmla="*/ 3321267 w 11625583"/>
              <a:gd name="connsiteY392" fmla="*/ 5104395 h 6380470"/>
              <a:gd name="connsiteX393" fmla="*/ 3256602 w 11625583"/>
              <a:gd name="connsiteY393" fmla="*/ 5039729 h 6380470"/>
              <a:gd name="connsiteX394" fmla="*/ 3321267 w 11625583"/>
              <a:gd name="connsiteY394" fmla="*/ 4975063 h 6380470"/>
              <a:gd name="connsiteX395" fmla="*/ 3172521 w 11625583"/>
              <a:gd name="connsiteY395" fmla="*/ 4975063 h 6380470"/>
              <a:gd name="connsiteX396" fmla="*/ 3237188 w 11625583"/>
              <a:gd name="connsiteY396" fmla="*/ 5039729 h 6380470"/>
              <a:gd name="connsiteX397" fmla="*/ 3172521 w 11625583"/>
              <a:gd name="connsiteY397" fmla="*/ 5104395 h 6380470"/>
              <a:gd name="connsiteX398" fmla="*/ 3107854 w 11625583"/>
              <a:gd name="connsiteY398" fmla="*/ 5039729 h 6380470"/>
              <a:gd name="connsiteX399" fmla="*/ 3172521 w 11625583"/>
              <a:gd name="connsiteY399" fmla="*/ 4975063 h 6380470"/>
              <a:gd name="connsiteX400" fmla="*/ 9850358 w 11625583"/>
              <a:gd name="connsiteY400" fmla="*/ 4830235 h 6380470"/>
              <a:gd name="connsiteX401" fmla="*/ 9915024 w 11625583"/>
              <a:gd name="connsiteY401" fmla="*/ 4894901 h 6380470"/>
              <a:gd name="connsiteX402" fmla="*/ 9850358 w 11625583"/>
              <a:gd name="connsiteY402" fmla="*/ 4959567 h 6380470"/>
              <a:gd name="connsiteX403" fmla="*/ 9785692 w 11625583"/>
              <a:gd name="connsiteY403" fmla="*/ 4894901 h 6380470"/>
              <a:gd name="connsiteX404" fmla="*/ 9850358 w 11625583"/>
              <a:gd name="connsiteY404" fmla="*/ 4830235 h 6380470"/>
              <a:gd name="connsiteX405" fmla="*/ 6429231 w 11625583"/>
              <a:gd name="connsiteY405" fmla="*/ 4830235 h 6380470"/>
              <a:gd name="connsiteX406" fmla="*/ 6493897 w 11625583"/>
              <a:gd name="connsiteY406" fmla="*/ 4894901 h 6380470"/>
              <a:gd name="connsiteX407" fmla="*/ 6429231 w 11625583"/>
              <a:gd name="connsiteY407" fmla="*/ 4959567 h 6380470"/>
              <a:gd name="connsiteX408" fmla="*/ 6364565 w 11625583"/>
              <a:gd name="connsiteY408" fmla="*/ 4894901 h 6380470"/>
              <a:gd name="connsiteX409" fmla="*/ 6429231 w 11625583"/>
              <a:gd name="connsiteY409" fmla="*/ 4830235 h 6380470"/>
              <a:gd name="connsiteX410" fmla="*/ 6276571 w 11625583"/>
              <a:gd name="connsiteY410" fmla="*/ 4830235 h 6380470"/>
              <a:gd name="connsiteX411" fmla="*/ 6341237 w 11625583"/>
              <a:gd name="connsiteY411" fmla="*/ 4894901 h 6380470"/>
              <a:gd name="connsiteX412" fmla="*/ 6276571 w 11625583"/>
              <a:gd name="connsiteY412" fmla="*/ 4959567 h 6380470"/>
              <a:gd name="connsiteX413" fmla="*/ 6211905 w 11625583"/>
              <a:gd name="connsiteY413" fmla="*/ 4894901 h 6380470"/>
              <a:gd name="connsiteX414" fmla="*/ 6276571 w 11625583"/>
              <a:gd name="connsiteY414" fmla="*/ 4830235 h 6380470"/>
              <a:gd name="connsiteX415" fmla="*/ 5967339 w 11625583"/>
              <a:gd name="connsiteY415" fmla="*/ 4830235 h 6380470"/>
              <a:gd name="connsiteX416" fmla="*/ 6032005 w 11625583"/>
              <a:gd name="connsiteY416" fmla="*/ 4894901 h 6380470"/>
              <a:gd name="connsiteX417" fmla="*/ 5967339 w 11625583"/>
              <a:gd name="connsiteY417" fmla="*/ 4959567 h 6380470"/>
              <a:gd name="connsiteX418" fmla="*/ 5902673 w 11625583"/>
              <a:gd name="connsiteY418" fmla="*/ 4894901 h 6380470"/>
              <a:gd name="connsiteX419" fmla="*/ 5967339 w 11625583"/>
              <a:gd name="connsiteY419" fmla="*/ 4830235 h 6380470"/>
              <a:gd name="connsiteX420" fmla="*/ 3947550 w 11625583"/>
              <a:gd name="connsiteY420" fmla="*/ 4830235 h 6380470"/>
              <a:gd name="connsiteX421" fmla="*/ 4012217 w 11625583"/>
              <a:gd name="connsiteY421" fmla="*/ 4894901 h 6380470"/>
              <a:gd name="connsiteX422" fmla="*/ 3947550 w 11625583"/>
              <a:gd name="connsiteY422" fmla="*/ 4959567 h 6380470"/>
              <a:gd name="connsiteX423" fmla="*/ 3882895 w 11625583"/>
              <a:gd name="connsiteY423" fmla="*/ 4894901 h 6380470"/>
              <a:gd name="connsiteX424" fmla="*/ 3947550 w 11625583"/>
              <a:gd name="connsiteY424" fmla="*/ 4830235 h 6380470"/>
              <a:gd name="connsiteX425" fmla="*/ 3790985 w 11625583"/>
              <a:gd name="connsiteY425" fmla="*/ 4830235 h 6380470"/>
              <a:gd name="connsiteX426" fmla="*/ 3855652 w 11625583"/>
              <a:gd name="connsiteY426" fmla="*/ 4894901 h 6380470"/>
              <a:gd name="connsiteX427" fmla="*/ 3790985 w 11625583"/>
              <a:gd name="connsiteY427" fmla="*/ 4959567 h 6380470"/>
              <a:gd name="connsiteX428" fmla="*/ 3726319 w 11625583"/>
              <a:gd name="connsiteY428" fmla="*/ 4894901 h 6380470"/>
              <a:gd name="connsiteX429" fmla="*/ 3790985 w 11625583"/>
              <a:gd name="connsiteY429" fmla="*/ 4830235 h 6380470"/>
              <a:gd name="connsiteX430" fmla="*/ 3481754 w 11625583"/>
              <a:gd name="connsiteY430" fmla="*/ 4830235 h 6380470"/>
              <a:gd name="connsiteX431" fmla="*/ 3546420 w 11625583"/>
              <a:gd name="connsiteY431" fmla="*/ 4894901 h 6380470"/>
              <a:gd name="connsiteX432" fmla="*/ 3481754 w 11625583"/>
              <a:gd name="connsiteY432" fmla="*/ 4959567 h 6380470"/>
              <a:gd name="connsiteX433" fmla="*/ 3417090 w 11625583"/>
              <a:gd name="connsiteY433" fmla="*/ 4894901 h 6380470"/>
              <a:gd name="connsiteX434" fmla="*/ 3481754 w 11625583"/>
              <a:gd name="connsiteY434" fmla="*/ 4830235 h 6380470"/>
              <a:gd name="connsiteX435" fmla="*/ 10312248 w 11625583"/>
              <a:gd name="connsiteY435" fmla="*/ 4830234 h 6380470"/>
              <a:gd name="connsiteX436" fmla="*/ 10376914 w 11625583"/>
              <a:gd name="connsiteY436" fmla="*/ 4894900 h 6380470"/>
              <a:gd name="connsiteX437" fmla="*/ 10312248 w 11625583"/>
              <a:gd name="connsiteY437" fmla="*/ 4959566 h 6380470"/>
              <a:gd name="connsiteX438" fmla="*/ 10247582 w 11625583"/>
              <a:gd name="connsiteY438" fmla="*/ 4894900 h 6380470"/>
              <a:gd name="connsiteX439" fmla="*/ 10312248 w 11625583"/>
              <a:gd name="connsiteY439" fmla="*/ 4830234 h 6380470"/>
              <a:gd name="connsiteX440" fmla="*/ 10159588 w 11625583"/>
              <a:gd name="connsiteY440" fmla="*/ 4830234 h 6380470"/>
              <a:gd name="connsiteX441" fmla="*/ 10224254 w 11625583"/>
              <a:gd name="connsiteY441" fmla="*/ 4894900 h 6380470"/>
              <a:gd name="connsiteX442" fmla="*/ 10159588 w 11625583"/>
              <a:gd name="connsiteY442" fmla="*/ 4959566 h 6380470"/>
              <a:gd name="connsiteX443" fmla="*/ 10094922 w 11625583"/>
              <a:gd name="connsiteY443" fmla="*/ 4894900 h 6380470"/>
              <a:gd name="connsiteX444" fmla="*/ 10159588 w 11625583"/>
              <a:gd name="connsiteY444" fmla="*/ 4830234 h 6380470"/>
              <a:gd name="connsiteX445" fmla="*/ 10003016 w 11625583"/>
              <a:gd name="connsiteY445" fmla="*/ 4830234 h 6380470"/>
              <a:gd name="connsiteX446" fmla="*/ 10067682 w 11625583"/>
              <a:gd name="connsiteY446" fmla="*/ 4894900 h 6380470"/>
              <a:gd name="connsiteX447" fmla="*/ 10003016 w 11625583"/>
              <a:gd name="connsiteY447" fmla="*/ 4959566 h 6380470"/>
              <a:gd name="connsiteX448" fmla="*/ 9938350 w 11625583"/>
              <a:gd name="connsiteY448" fmla="*/ 4894900 h 6380470"/>
              <a:gd name="connsiteX449" fmla="*/ 10003016 w 11625583"/>
              <a:gd name="connsiteY449" fmla="*/ 4830234 h 6380470"/>
              <a:gd name="connsiteX450" fmla="*/ 9693783 w 11625583"/>
              <a:gd name="connsiteY450" fmla="*/ 4830234 h 6380470"/>
              <a:gd name="connsiteX451" fmla="*/ 9758449 w 11625583"/>
              <a:gd name="connsiteY451" fmla="*/ 4894900 h 6380470"/>
              <a:gd name="connsiteX452" fmla="*/ 9693783 w 11625583"/>
              <a:gd name="connsiteY452" fmla="*/ 4959566 h 6380470"/>
              <a:gd name="connsiteX453" fmla="*/ 9629117 w 11625583"/>
              <a:gd name="connsiteY453" fmla="*/ 4894900 h 6380470"/>
              <a:gd name="connsiteX454" fmla="*/ 9693783 w 11625583"/>
              <a:gd name="connsiteY454" fmla="*/ 4830234 h 6380470"/>
              <a:gd name="connsiteX455" fmla="*/ 9541123 w 11625583"/>
              <a:gd name="connsiteY455" fmla="*/ 4830234 h 6380470"/>
              <a:gd name="connsiteX456" fmla="*/ 9605789 w 11625583"/>
              <a:gd name="connsiteY456" fmla="*/ 4894900 h 6380470"/>
              <a:gd name="connsiteX457" fmla="*/ 9541123 w 11625583"/>
              <a:gd name="connsiteY457" fmla="*/ 4959566 h 6380470"/>
              <a:gd name="connsiteX458" fmla="*/ 9476457 w 11625583"/>
              <a:gd name="connsiteY458" fmla="*/ 4894900 h 6380470"/>
              <a:gd name="connsiteX459" fmla="*/ 9541123 w 11625583"/>
              <a:gd name="connsiteY459" fmla="*/ 4830234 h 6380470"/>
              <a:gd name="connsiteX460" fmla="*/ 9384550 w 11625583"/>
              <a:gd name="connsiteY460" fmla="*/ 4830234 h 6380470"/>
              <a:gd name="connsiteX461" fmla="*/ 9449216 w 11625583"/>
              <a:gd name="connsiteY461" fmla="*/ 4894900 h 6380470"/>
              <a:gd name="connsiteX462" fmla="*/ 9384550 w 11625583"/>
              <a:gd name="connsiteY462" fmla="*/ 4959566 h 6380470"/>
              <a:gd name="connsiteX463" fmla="*/ 9319884 w 11625583"/>
              <a:gd name="connsiteY463" fmla="*/ 4894900 h 6380470"/>
              <a:gd name="connsiteX464" fmla="*/ 9384550 w 11625583"/>
              <a:gd name="connsiteY464" fmla="*/ 4830234 h 6380470"/>
              <a:gd name="connsiteX465" fmla="*/ 7055523 w 11625583"/>
              <a:gd name="connsiteY465" fmla="*/ 4830234 h 6380470"/>
              <a:gd name="connsiteX466" fmla="*/ 7120189 w 11625583"/>
              <a:gd name="connsiteY466" fmla="*/ 4894900 h 6380470"/>
              <a:gd name="connsiteX467" fmla="*/ 7055523 w 11625583"/>
              <a:gd name="connsiteY467" fmla="*/ 4959566 h 6380470"/>
              <a:gd name="connsiteX468" fmla="*/ 6990857 w 11625583"/>
              <a:gd name="connsiteY468" fmla="*/ 4894900 h 6380470"/>
              <a:gd name="connsiteX469" fmla="*/ 7055523 w 11625583"/>
              <a:gd name="connsiteY469" fmla="*/ 4830234 h 6380470"/>
              <a:gd name="connsiteX470" fmla="*/ 6585804 w 11625583"/>
              <a:gd name="connsiteY470" fmla="*/ 4830234 h 6380470"/>
              <a:gd name="connsiteX471" fmla="*/ 6650470 w 11625583"/>
              <a:gd name="connsiteY471" fmla="*/ 4894900 h 6380470"/>
              <a:gd name="connsiteX472" fmla="*/ 6585804 w 11625583"/>
              <a:gd name="connsiteY472" fmla="*/ 4959566 h 6380470"/>
              <a:gd name="connsiteX473" fmla="*/ 6521138 w 11625583"/>
              <a:gd name="connsiteY473" fmla="*/ 4894900 h 6380470"/>
              <a:gd name="connsiteX474" fmla="*/ 6585804 w 11625583"/>
              <a:gd name="connsiteY474" fmla="*/ 4830234 h 6380470"/>
              <a:gd name="connsiteX475" fmla="*/ 6119999 w 11625583"/>
              <a:gd name="connsiteY475" fmla="*/ 4830234 h 6380470"/>
              <a:gd name="connsiteX476" fmla="*/ 6184665 w 11625583"/>
              <a:gd name="connsiteY476" fmla="*/ 4894900 h 6380470"/>
              <a:gd name="connsiteX477" fmla="*/ 6119999 w 11625583"/>
              <a:gd name="connsiteY477" fmla="*/ 4959566 h 6380470"/>
              <a:gd name="connsiteX478" fmla="*/ 6055333 w 11625583"/>
              <a:gd name="connsiteY478" fmla="*/ 4894900 h 6380470"/>
              <a:gd name="connsiteX479" fmla="*/ 6119999 w 11625583"/>
              <a:gd name="connsiteY479" fmla="*/ 4830234 h 6380470"/>
              <a:gd name="connsiteX480" fmla="*/ 4100209 w 11625583"/>
              <a:gd name="connsiteY480" fmla="*/ 4830234 h 6380470"/>
              <a:gd name="connsiteX481" fmla="*/ 4164876 w 11625583"/>
              <a:gd name="connsiteY481" fmla="*/ 4894900 h 6380470"/>
              <a:gd name="connsiteX482" fmla="*/ 4100209 w 11625583"/>
              <a:gd name="connsiteY482" fmla="*/ 4959566 h 6380470"/>
              <a:gd name="connsiteX483" fmla="*/ 4035544 w 11625583"/>
              <a:gd name="connsiteY483" fmla="*/ 4894900 h 6380470"/>
              <a:gd name="connsiteX484" fmla="*/ 4100209 w 11625583"/>
              <a:gd name="connsiteY484" fmla="*/ 4830234 h 6380470"/>
              <a:gd name="connsiteX485" fmla="*/ 3630500 w 11625583"/>
              <a:gd name="connsiteY485" fmla="*/ 4830234 h 6380470"/>
              <a:gd name="connsiteX486" fmla="*/ 3695166 w 11625583"/>
              <a:gd name="connsiteY486" fmla="*/ 4894900 h 6380470"/>
              <a:gd name="connsiteX487" fmla="*/ 3630500 w 11625583"/>
              <a:gd name="connsiteY487" fmla="*/ 4959566 h 6380470"/>
              <a:gd name="connsiteX488" fmla="*/ 3565834 w 11625583"/>
              <a:gd name="connsiteY488" fmla="*/ 4894900 h 6380470"/>
              <a:gd name="connsiteX489" fmla="*/ 3630500 w 11625583"/>
              <a:gd name="connsiteY489" fmla="*/ 4830234 h 6380470"/>
              <a:gd name="connsiteX490" fmla="*/ 3321271 w 11625583"/>
              <a:gd name="connsiteY490" fmla="*/ 4830234 h 6380470"/>
              <a:gd name="connsiteX491" fmla="*/ 3385935 w 11625583"/>
              <a:gd name="connsiteY491" fmla="*/ 4894900 h 6380470"/>
              <a:gd name="connsiteX492" fmla="*/ 3321271 w 11625583"/>
              <a:gd name="connsiteY492" fmla="*/ 4959566 h 6380470"/>
              <a:gd name="connsiteX493" fmla="*/ 3256604 w 11625583"/>
              <a:gd name="connsiteY493" fmla="*/ 4894900 h 6380470"/>
              <a:gd name="connsiteX494" fmla="*/ 3321271 w 11625583"/>
              <a:gd name="connsiteY494" fmla="*/ 4830234 h 6380470"/>
              <a:gd name="connsiteX495" fmla="*/ 10159588 w 11625583"/>
              <a:gd name="connsiteY495" fmla="*/ 4685405 h 6380470"/>
              <a:gd name="connsiteX496" fmla="*/ 10224254 w 11625583"/>
              <a:gd name="connsiteY496" fmla="*/ 4750071 h 6380470"/>
              <a:gd name="connsiteX497" fmla="*/ 10159588 w 11625583"/>
              <a:gd name="connsiteY497" fmla="*/ 4814737 h 6380470"/>
              <a:gd name="connsiteX498" fmla="*/ 10094922 w 11625583"/>
              <a:gd name="connsiteY498" fmla="*/ 4750071 h 6380470"/>
              <a:gd name="connsiteX499" fmla="*/ 10159588 w 11625583"/>
              <a:gd name="connsiteY499" fmla="*/ 4685405 h 6380470"/>
              <a:gd name="connsiteX500" fmla="*/ 10003016 w 11625583"/>
              <a:gd name="connsiteY500" fmla="*/ 4685405 h 6380470"/>
              <a:gd name="connsiteX501" fmla="*/ 10067682 w 11625583"/>
              <a:gd name="connsiteY501" fmla="*/ 4750071 h 6380470"/>
              <a:gd name="connsiteX502" fmla="*/ 10003016 w 11625583"/>
              <a:gd name="connsiteY502" fmla="*/ 4814737 h 6380470"/>
              <a:gd name="connsiteX503" fmla="*/ 9938350 w 11625583"/>
              <a:gd name="connsiteY503" fmla="*/ 4750071 h 6380470"/>
              <a:gd name="connsiteX504" fmla="*/ 10003016 w 11625583"/>
              <a:gd name="connsiteY504" fmla="*/ 4685405 h 6380470"/>
              <a:gd name="connsiteX505" fmla="*/ 9850358 w 11625583"/>
              <a:gd name="connsiteY505" fmla="*/ 4685405 h 6380470"/>
              <a:gd name="connsiteX506" fmla="*/ 9915024 w 11625583"/>
              <a:gd name="connsiteY506" fmla="*/ 4750071 h 6380470"/>
              <a:gd name="connsiteX507" fmla="*/ 9850358 w 11625583"/>
              <a:gd name="connsiteY507" fmla="*/ 4814737 h 6380470"/>
              <a:gd name="connsiteX508" fmla="*/ 9785692 w 11625583"/>
              <a:gd name="connsiteY508" fmla="*/ 4750071 h 6380470"/>
              <a:gd name="connsiteX509" fmla="*/ 9850358 w 11625583"/>
              <a:gd name="connsiteY509" fmla="*/ 4685405 h 6380470"/>
              <a:gd name="connsiteX510" fmla="*/ 9693783 w 11625583"/>
              <a:gd name="connsiteY510" fmla="*/ 4685405 h 6380470"/>
              <a:gd name="connsiteX511" fmla="*/ 9758449 w 11625583"/>
              <a:gd name="connsiteY511" fmla="*/ 4750071 h 6380470"/>
              <a:gd name="connsiteX512" fmla="*/ 9693783 w 11625583"/>
              <a:gd name="connsiteY512" fmla="*/ 4814737 h 6380470"/>
              <a:gd name="connsiteX513" fmla="*/ 9629117 w 11625583"/>
              <a:gd name="connsiteY513" fmla="*/ 4750071 h 6380470"/>
              <a:gd name="connsiteX514" fmla="*/ 9693783 w 11625583"/>
              <a:gd name="connsiteY514" fmla="*/ 4685405 h 6380470"/>
              <a:gd name="connsiteX515" fmla="*/ 9541123 w 11625583"/>
              <a:gd name="connsiteY515" fmla="*/ 4685405 h 6380470"/>
              <a:gd name="connsiteX516" fmla="*/ 9605789 w 11625583"/>
              <a:gd name="connsiteY516" fmla="*/ 4750071 h 6380470"/>
              <a:gd name="connsiteX517" fmla="*/ 9541123 w 11625583"/>
              <a:gd name="connsiteY517" fmla="*/ 4814737 h 6380470"/>
              <a:gd name="connsiteX518" fmla="*/ 9476457 w 11625583"/>
              <a:gd name="connsiteY518" fmla="*/ 4750071 h 6380470"/>
              <a:gd name="connsiteX519" fmla="*/ 9541123 w 11625583"/>
              <a:gd name="connsiteY519" fmla="*/ 4685405 h 6380470"/>
              <a:gd name="connsiteX520" fmla="*/ 7055523 w 11625583"/>
              <a:gd name="connsiteY520" fmla="*/ 4685405 h 6380470"/>
              <a:gd name="connsiteX521" fmla="*/ 7120189 w 11625583"/>
              <a:gd name="connsiteY521" fmla="*/ 4750071 h 6380470"/>
              <a:gd name="connsiteX522" fmla="*/ 7055523 w 11625583"/>
              <a:gd name="connsiteY522" fmla="*/ 4814737 h 6380470"/>
              <a:gd name="connsiteX523" fmla="*/ 6990857 w 11625583"/>
              <a:gd name="connsiteY523" fmla="*/ 4750071 h 6380470"/>
              <a:gd name="connsiteX524" fmla="*/ 7055523 w 11625583"/>
              <a:gd name="connsiteY524" fmla="*/ 4685405 h 6380470"/>
              <a:gd name="connsiteX525" fmla="*/ 6742377 w 11625583"/>
              <a:gd name="connsiteY525" fmla="*/ 4685405 h 6380470"/>
              <a:gd name="connsiteX526" fmla="*/ 6807043 w 11625583"/>
              <a:gd name="connsiteY526" fmla="*/ 4750071 h 6380470"/>
              <a:gd name="connsiteX527" fmla="*/ 6742377 w 11625583"/>
              <a:gd name="connsiteY527" fmla="*/ 4814737 h 6380470"/>
              <a:gd name="connsiteX528" fmla="*/ 6677711 w 11625583"/>
              <a:gd name="connsiteY528" fmla="*/ 4750071 h 6380470"/>
              <a:gd name="connsiteX529" fmla="*/ 6742377 w 11625583"/>
              <a:gd name="connsiteY529" fmla="*/ 4685405 h 6380470"/>
              <a:gd name="connsiteX530" fmla="*/ 6585804 w 11625583"/>
              <a:gd name="connsiteY530" fmla="*/ 4685405 h 6380470"/>
              <a:gd name="connsiteX531" fmla="*/ 6650470 w 11625583"/>
              <a:gd name="connsiteY531" fmla="*/ 4750071 h 6380470"/>
              <a:gd name="connsiteX532" fmla="*/ 6585804 w 11625583"/>
              <a:gd name="connsiteY532" fmla="*/ 4814737 h 6380470"/>
              <a:gd name="connsiteX533" fmla="*/ 6521138 w 11625583"/>
              <a:gd name="connsiteY533" fmla="*/ 4750071 h 6380470"/>
              <a:gd name="connsiteX534" fmla="*/ 6585804 w 11625583"/>
              <a:gd name="connsiteY534" fmla="*/ 4685405 h 6380470"/>
              <a:gd name="connsiteX535" fmla="*/ 6429231 w 11625583"/>
              <a:gd name="connsiteY535" fmla="*/ 4685405 h 6380470"/>
              <a:gd name="connsiteX536" fmla="*/ 6493897 w 11625583"/>
              <a:gd name="connsiteY536" fmla="*/ 4750071 h 6380470"/>
              <a:gd name="connsiteX537" fmla="*/ 6429231 w 11625583"/>
              <a:gd name="connsiteY537" fmla="*/ 4814737 h 6380470"/>
              <a:gd name="connsiteX538" fmla="*/ 6364565 w 11625583"/>
              <a:gd name="connsiteY538" fmla="*/ 4750071 h 6380470"/>
              <a:gd name="connsiteX539" fmla="*/ 6429231 w 11625583"/>
              <a:gd name="connsiteY539" fmla="*/ 4685405 h 6380470"/>
              <a:gd name="connsiteX540" fmla="*/ 6276571 w 11625583"/>
              <a:gd name="connsiteY540" fmla="*/ 4685405 h 6380470"/>
              <a:gd name="connsiteX541" fmla="*/ 6341237 w 11625583"/>
              <a:gd name="connsiteY541" fmla="*/ 4750071 h 6380470"/>
              <a:gd name="connsiteX542" fmla="*/ 6276571 w 11625583"/>
              <a:gd name="connsiteY542" fmla="*/ 4814737 h 6380470"/>
              <a:gd name="connsiteX543" fmla="*/ 6211905 w 11625583"/>
              <a:gd name="connsiteY543" fmla="*/ 4750071 h 6380470"/>
              <a:gd name="connsiteX544" fmla="*/ 6276571 w 11625583"/>
              <a:gd name="connsiteY544" fmla="*/ 4685405 h 6380470"/>
              <a:gd name="connsiteX545" fmla="*/ 6119999 w 11625583"/>
              <a:gd name="connsiteY545" fmla="*/ 4685405 h 6380470"/>
              <a:gd name="connsiteX546" fmla="*/ 6184665 w 11625583"/>
              <a:gd name="connsiteY546" fmla="*/ 4750071 h 6380470"/>
              <a:gd name="connsiteX547" fmla="*/ 6119999 w 11625583"/>
              <a:gd name="connsiteY547" fmla="*/ 4814737 h 6380470"/>
              <a:gd name="connsiteX548" fmla="*/ 6055333 w 11625583"/>
              <a:gd name="connsiteY548" fmla="*/ 4750071 h 6380470"/>
              <a:gd name="connsiteX549" fmla="*/ 6119999 w 11625583"/>
              <a:gd name="connsiteY549" fmla="*/ 4685405 h 6380470"/>
              <a:gd name="connsiteX550" fmla="*/ 5967339 w 11625583"/>
              <a:gd name="connsiteY550" fmla="*/ 4685405 h 6380470"/>
              <a:gd name="connsiteX551" fmla="*/ 6032005 w 11625583"/>
              <a:gd name="connsiteY551" fmla="*/ 4750071 h 6380470"/>
              <a:gd name="connsiteX552" fmla="*/ 5967339 w 11625583"/>
              <a:gd name="connsiteY552" fmla="*/ 4814737 h 6380470"/>
              <a:gd name="connsiteX553" fmla="*/ 5902673 w 11625583"/>
              <a:gd name="connsiteY553" fmla="*/ 4750071 h 6380470"/>
              <a:gd name="connsiteX554" fmla="*/ 5967339 w 11625583"/>
              <a:gd name="connsiteY554" fmla="*/ 4685405 h 6380470"/>
              <a:gd name="connsiteX555" fmla="*/ 4100211 w 11625583"/>
              <a:gd name="connsiteY555" fmla="*/ 4685405 h 6380470"/>
              <a:gd name="connsiteX556" fmla="*/ 4164876 w 11625583"/>
              <a:gd name="connsiteY556" fmla="*/ 4750071 h 6380470"/>
              <a:gd name="connsiteX557" fmla="*/ 4100211 w 11625583"/>
              <a:gd name="connsiteY557" fmla="*/ 4814737 h 6380470"/>
              <a:gd name="connsiteX558" fmla="*/ 4035544 w 11625583"/>
              <a:gd name="connsiteY558" fmla="*/ 4750071 h 6380470"/>
              <a:gd name="connsiteX559" fmla="*/ 4100211 w 11625583"/>
              <a:gd name="connsiteY559" fmla="*/ 4685405 h 6380470"/>
              <a:gd name="connsiteX560" fmla="*/ 3947550 w 11625583"/>
              <a:gd name="connsiteY560" fmla="*/ 4685405 h 6380470"/>
              <a:gd name="connsiteX561" fmla="*/ 4012217 w 11625583"/>
              <a:gd name="connsiteY561" fmla="*/ 4750071 h 6380470"/>
              <a:gd name="connsiteX562" fmla="*/ 3947550 w 11625583"/>
              <a:gd name="connsiteY562" fmla="*/ 4814737 h 6380470"/>
              <a:gd name="connsiteX563" fmla="*/ 3882897 w 11625583"/>
              <a:gd name="connsiteY563" fmla="*/ 4750071 h 6380470"/>
              <a:gd name="connsiteX564" fmla="*/ 3947550 w 11625583"/>
              <a:gd name="connsiteY564" fmla="*/ 4685405 h 6380470"/>
              <a:gd name="connsiteX565" fmla="*/ 3790989 w 11625583"/>
              <a:gd name="connsiteY565" fmla="*/ 4685405 h 6380470"/>
              <a:gd name="connsiteX566" fmla="*/ 3855655 w 11625583"/>
              <a:gd name="connsiteY566" fmla="*/ 4750071 h 6380470"/>
              <a:gd name="connsiteX567" fmla="*/ 3790989 w 11625583"/>
              <a:gd name="connsiteY567" fmla="*/ 4814737 h 6380470"/>
              <a:gd name="connsiteX568" fmla="*/ 3726321 w 11625583"/>
              <a:gd name="connsiteY568" fmla="*/ 4750071 h 6380470"/>
              <a:gd name="connsiteX569" fmla="*/ 3790989 w 11625583"/>
              <a:gd name="connsiteY569" fmla="*/ 4685405 h 6380470"/>
              <a:gd name="connsiteX570" fmla="*/ 3630503 w 11625583"/>
              <a:gd name="connsiteY570" fmla="*/ 4685405 h 6380470"/>
              <a:gd name="connsiteX571" fmla="*/ 3695169 w 11625583"/>
              <a:gd name="connsiteY571" fmla="*/ 4750071 h 6380470"/>
              <a:gd name="connsiteX572" fmla="*/ 3630503 w 11625583"/>
              <a:gd name="connsiteY572" fmla="*/ 4814737 h 6380470"/>
              <a:gd name="connsiteX573" fmla="*/ 3565836 w 11625583"/>
              <a:gd name="connsiteY573" fmla="*/ 4750071 h 6380470"/>
              <a:gd name="connsiteX574" fmla="*/ 3630503 w 11625583"/>
              <a:gd name="connsiteY574" fmla="*/ 4685405 h 6380470"/>
              <a:gd name="connsiteX575" fmla="*/ 3481758 w 11625583"/>
              <a:gd name="connsiteY575" fmla="*/ 4685405 h 6380470"/>
              <a:gd name="connsiteX576" fmla="*/ 3546424 w 11625583"/>
              <a:gd name="connsiteY576" fmla="*/ 4750071 h 6380470"/>
              <a:gd name="connsiteX577" fmla="*/ 3481758 w 11625583"/>
              <a:gd name="connsiteY577" fmla="*/ 4814737 h 6380470"/>
              <a:gd name="connsiteX578" fmla="*/ 3417092 w 11625583"/>
              <a:gd name="connsiteY578" fmla="*/ 4750071 h 6380470"/>
              <a:gd name="connsiteX579" fmla="*/ 3481758 w 11625583"/>
              <a:gd name="connsiteY579" fmla="*/ 4685405 h 6380470"/>
              <a:gd name="connsiteX580" fmla="*/ 3321273 w 11625583"/>
              <a:gd name="connsiteY580" fmla="*/ 4685405 h 6380470"/>
              <a:gd name="connsiteX581" fmla="*/ 3385938 w 11625583"/>
              <a:gd name="connsiteY581" fmla="*/ 4750071 h 6380470"/>
              <a:gd name="connsiteX582" fmla="*/ 3321273 w 11625583"/>
              <a:gd name="connsiteY582" fmla="*/ 4814737 h 6380470"/>
              <a:gd name="connsiteX583" fmla="*/ 3256607 w 11625583"/>
              <a:gd name="connsiteY583" fmla="*/ 4750071 h 6380470"/>
              <a:gd name="connsiteX584" fmla="*/ 3321273 w 11625583"/>
              <a:gd name="connsiteY584" fmla="*/ 4685405 h 6380470"/>
              <a:gd name="connsiteX585" fmla="*/ 10159588 w 11625583"/>
              <a:gd name="connsiteY585" fmla="*/ 4536658 h 6380470"/>
              <a:gd name="connsiteX586" fmla="*/ 10224254 w 11625583"/>
              <a:gd name="connsiteY586" fmla="*/ 4601324 h 6380470"/>
              <a:gd name="connsiteX587" fmla="*/ 10159588 w 11625583"/>
              <a:gd name="connsiteY587" fmla="*/ 4665990 h 6380470"/>
              <a:gd name="connsiteX588" fmla="*/ 10094922 w 11625583"/>
              <a:gd name="connsiteY588" fmla="*/ 4601324 h 6380470"/>
              <a:gd name="connsiteX589" fmla="*/ 10159588 w 11625583"/>
              <a:gd name="connsiteY589" fmla="*/ 4536658 h 6380470"/>
              <a:gd name="connsiteX590" fmla="*/ 9693783 w 11625583"/>
              <a:gd name="connsiteY590" fmla="*/ 4536658 h 6380470"/>
              <a:gd name="connsiteX591" fmla="*/ 9758449 w 11625583"/>
              <a:gd name="connsiteY591" fmla="*/ 4601324 h 6380470"/>
              <a:gd name="connsiteX592" fmla="*/ 9693783 w 11625583"/>
              <a:gd name="connsiteY592" fmla="*/ 4665990 h 6380470"/>
              <a:gd name="connsiteX593" fmla="*/ 9629117 w 11625583"/>
              <a:gd name="connsiteY593" fmla="*/ 4601324 h 6380470"/>
              <a:gd name="connsiteX594" fmla="*/ 9693783 w 11625583"/>
              <a:gd name="connsiteY594" fmla="*/ 4536658 h 6380470"/>
              <a:gd name="connsiteX595" fmla="*/ 7055523 w 11625583"/>
              <a:gd name="connsiteY595" fmla="*/ 4536658 h 6380470"/>
              <a:gd name="connsiteX596" fmla="*/ 7120189 w 11625583"/>
              <a:gd name="connsiteY596" fmla="*/ 4601324 h 6380470"/>
              <a:gd name="connsiteX597" fmla="*/ 7055523 w 11625583"/>
              <a:gd name="connsiteY597" fmla="*/ 4665990 h 6380470"/>
              <a:gd name="connsiteX598" fmla="*/ 6990857 w 11625583"/>
              <a:gd name="connsiteY598" fmla="*/ 4601324 h 6380470"/>
              <a:gd name="connsiteX599" fmla="*/ 7055523 w 11625583"/>
              <a:gd name="connsiteY599" fmla="*/ 4536658 h 6380470"/>
              <a:gd name="connsiteX600" fmla="*/ 9850358 w 11625583"/>
              <a:gd name="connsiteY600" fmla="*/ 4407486 h 6380470"/>
              <a:gd name="connsiteX601" fmla="*/ 9915024 w 11625583"/>
              <a:gd name="connsiteY601" fmla="*/ 4472152 h 6380470"/>
              <a:gd name="connsiteX602" fmla="*/ 9875529 w 11625583"/>
              <a:gd name="connsiteY602" fmla="*/ 4531736 h 6380470"/>
              <a:gd name="connsiteX603" fmla="*/ 9850754 w 11625583"/>
              <a:gd name="connsiteY603" fmla="*/ 4536738 h 6380470"/>
              <a:gd name="connsiteX604" fmla="*/ 9875529 w 11625583"/>
              <a:gd name="connsiteY604" fmla="*/ 4541740 h 6380470"/>
              <a:gd name="connsiteX605" fmla="*/ 9915024 w 11625583"/>
              <a:gd name="connsiteY605" fmla="*/ 4601324 h 6380470"/>
              <a:gd name="connsiteX606" fmla="*/ 9850358 w 11625583"/>
              <a:gd name="connsiteY606" fmla="*/ 4665990 h 6380470"/>
              <a:gd name="connsiteX607" fmla="*/ 9785692 w 11625583"/>
              <a:gd name="connsiteY607" fmla="*/ 4601324 h 6380470"/>
              <a:gd name="connsiteX608" fmla="*/ 9825187 w 11625583"/>
              <a:gd name="connsiteY608" fmla="*/ 4541740 h 6380470"/>
              <a:gd name="connsiteX609" fmla="*/ 9849962 w 11625583"/>
              <a:gd name="connsiteY609" fmla="*/ 4536738 h 6380470"/>
              <a:gd name="connsiteX610" fmla="*/ 9825187 w 11625583"/>
              <a:gd name="connsiteY610" fmla="*/ 4531736 h 6380470"/>
              <a:gd name="connsiteX611" fmla="*/ 9785692 w 11625583"/>
              <a:gd name="connsiteY611" fmla="*/ 4472152 h 6380470"/>
              <a:gd name="connsiteX612" fmla="*/ 9850358 w 11625583"/>
              <a:gd name="connsiteY612" fmla="*/ 4407486 h 6380470"/>
              <a:gd name="connsiteX613" fmla="*/ 6742377 w 11625583"/>
              <a:gd name="connsiteY613" fmla="*/ 4407486 h 6380470"/>
              <a:gd name="connsiteX614" fmla="*/ 6807043 w 11625583"/>
              <a:gd name="connsiteY614" fmla="*/ 4472152 h 6380470"/>
              <a:gd name="connsiteX615" fmla="*/ 6767548 w 11625583"/>
              <a:gd name="connsiteY615" fmla="*/ 4531736 h 6380470"/>
              <a:gd name="connsiteX616" fmla="*/ 6742773 w 11625583"/>
              <a:gd name="connsiteY616" fmla="*/ 4536738 h 6380470"/>
              <a:gd name="connsiteX617" fmla="*/ 6767548 w 11625583"/>
              <a:gd name="connsiteY617" fmla="*/ 4541740 h 6380470"/>
              <a:gd name="connsiteX618" fmla="*/ 6807043 w 11625583"/>
              <a:gd name="connsiteY618" fmla="*/ 4601324 h 6380470"/>
              <a:gd name="connsiteX619" fmla="*/ 6742377 w 11625583"/>
              <a:gd name="connsiteY619" fmla="*/ 4665990 h 6380470"/>
              <a:gd name="connsiteX620" fmla="*/ 6677711 w 11625583"/>
              <a:gd name="connsiteY620" fmla="*/ 4601324 h 6380470"/>
              <a:gd name="connsiteX621" fmla="*/ 6717206 w 11625583"/>
              <a:gd name="connsiteY621" fmla="*/ 4541740 h 6380470"/>
              <a:gd name="connsiteX622" fmla="*/ 6741981 w 11625583"/>
              <a:gd name="connsiteY622" fmla="*/ 4536738 h 6380470"/>
              <a:gd name="connsiteX623" fmla="*/ 6717206 w 11625583"/>
              <a:gd name="connsiteY623" fmla="*/ 4531736 h 6380470"/>
              <a:gd name="connsiteX624" fmla="*/ 6677711 w 11625583"/>
              <a:gd name="connsiteY624" fmla="*/ 4472152 h 6380470"/>
              <a:gd name="connsiteX625" fmla="*/ 6742377 w 11625583"/>
              <a:gd name="connsiteY625" fmla="*/ 4407486 h 6380470"/>
              <a:gd name="connsiteX626" fmla="*/ 6429231 w 11625583"/>
              <a:gd name="connsiteY626" fmla="*/ 4407486 h 6380470"/>
              <a:gd name="connsiteX627" fmla="*/ 6493897 w 11625583"/>
              <a:gd name="connsiteY627" fmla="*/ 4472152 h 6380470"/>
              <a:gd name="connsiteX628" fmla="*/ 6454402 w 11625583"/>
              <a:gd name="connsiteY628" fmla="*/ 4531736 h 6380470"/>
              <a:gd name="connsiteX629" fmla="*/ 6429628 w 11625583"/>
              <a:gd name="connsiteY629" fmla="*/ 4536738 h 6380470"/>
              <a:gd name="connsiteX630" fmla="*/ 6454402 w 11625583"/>
              <a:gd name="connsiteY630" fmla="*/ 4541740 h 6380470"/>
              <a:gd name="connsiteX631" fmla="*/ 6493897 w 11625583"/>
              <a:gd name="connsiteY631" fmla="*/ 4601324 h 6380470"/>
              <a:gd name="connsiteX632" fmla="*/ 6429231 w 11625583"/>
              <a:gd name="connsiteY632" fmla="*/ 4665990 h 6380470"/>
              <a:gd name="connsiteX633" fmla="*/ 6364565 w 11625583"/>
              <a:gd name="connsiteY633" fmla="*/ 4601324 h 6380470"/>
              <a:gd name="connsiteX634" fmla="*/ 6404060 w 11625583"/>
              <a:gd name="connsiteY634" fmla="*/ 4541740 h 6380470"/>
              <a:gd name="connsiteX635" fmla="*/ 6428835 w 11625583"/>
              <a:gd name="connsiteY635" fmla="*/ 4536738 h 6380470"/>
              <a:gd name="connsiteX636" fmla="*/ 6404060 w 11625583"/>
              <a:gd name="connsiteY636" fmla="*/ 4531736 h 6380470"/>
              <a:gd name="connsiteX637" fmla="*/ 6364565 w 11625583"/>
              <a:gd name="connsiteY637" fmla="*/ 4472152 h 6380470"/>
              <a:gd name="connsiteX638" fmla="*/ 6429231 w 11625583"/>
              <a:gd name="connsiteY638" fmla="*/ 4407486 h 6380470"/>
              <a:gd name="connsiteX639" fmla="*/ 6276571 w 11625583"/>
              <a:gd name="connsiteY639" fmla="*/ 4407486 h 6380470"/>
              <a:gd name="connsiteX640" fmla="*/ 6341237 w 11625583"/>
              <a:gd name="connsiteY640" fmla="*/ 4472152 h 6380470"/>
              <a:gd name="connsiteX641" fmla="*/ 6301742 w 11625583"/>
              <a:gd name="connsiteY641" fmla="*/ 4531736 h 6380470"/>
              <a:gd name="connsiteX642" fmla="*/ 6276968 w 11625583"/>
              <a:gd name="connsiteY642" fmla="*/ 4536738 h 6380470"/>
              <a:gd name="connsiteX643" fmla="*/ 6301742 w 11625583"/>
              <a:gd name="connsiteY643" fmla="*/ 4541740 h 6380470"/>
              <a:gd name="connsiteX644" fmla="*/ 6341237 w 11625583"/>
              <a:gd name="connsiteY644" fmla="*/ 4601324 h 6380470"/>
              <a:gd name="connsiteX645" fmla="*/ 6276571 w 11625583"/>
              <a:gd name="connsiteY645" fmla="*/ 4665990 h 6380470"/>
              <a:gd name="connsiteX646" fmla="*/ 6211905 w 11625583"/>
              <a:gd name="connsiteY646" fmla="*/ 4601324 h 6380470"/>
              <a:gd name="connsiteX647" fmla="*/ 6251400 w 11625583"/>
              <a:gd name="connsiteY647" fmla="*/ 4541740 h 6380470"/>
              <a:gd name="connsiteX648" fmla="*/ 6276175 w 11625583"/>
              <a:gd name="connsiteY648" fmla="*/ 4536738 h 6380470"/>
              <a:gd name="connsiteX649" fmla="*/ 6251400 w 11625583"/>
              <a:gd name="connsiteY649" fmla="*/ 4531736 h 6380470"/>
              <a:gd name="connsiteX650" fmla="*/ 6211905 w 11625583"/>
              <a:gd name="connsiteY650" fmla="*/ 4472152 h 6380470"/>
              <a:gd name="connsiteX651" fmla="*/ 6276571 w 11625583"/>
              <a:gd name="connsiteY651" fmla="*/ 4407486 h 6380470"/>
              <a:gd name="connsiteX652" fmla="*/ 5967339 w 11625583"/>
              <a:gd name="connsiteY652" fmla="*/ 4407486 h 6380470"/>
              <a:gd name="connsiteX653" fmla="*/ 6032005 w 11625583"/>
              <a:gd name="connsiteY653" fmla="*/ 4472152 h 6380470"/>
              <a:gd name="connsiteX654" fmla="*/ 5992510 w 11625583"/>
              <a:gd name="connsiteY654" fmla="*/ 4531736 h 6380470"/>
              <a:gd name="connsiteX655" fmla="*/ 5967736 w 11625583"/>
              <a:gd name="connsiteY655" fmla="*/ 4536738 h 6380470"/>
              <a:gd name="connsiteX656" fmla="*/ 5992510 w 11625583"/>
              <a:gd name="connsiteY656" fmla="*/ 4541740 h 6380470"/>
              <a:gd name="connsiteX657" fmla="*/ 6032005 w 11625583"/>
              <a:gd name="connsiteY657" fmla="*/ 4601324 h 6380470"/>
              <a:gd name="connsiteX658" fmla="*/ 5967339 w 11625583"/>
              <a:gd name="connsiteY658" fmla="*/ 4665990 h 6380470"/>
              <a:gd name="connsiteX659" fmla="*/ 5902673 w 11625583"/>
              <a:gd name="connsiteY659" fmla="*/ 4601324 h 6380470"/>
              <a:gd name="connsiteX660" fmla="*/ 5942168 w 11625583"/>
              <a:gd name="connsiteY660" fmla="*/ 4541740 h 6380470"/>
              <a:gd name="connsiteX661" fmla="*/ 5966943 w 11625583"/>
              <a:gd name="connsiteY661" fmla="*/ 4536738 h 6380470"/>
              <a:gd name="connsiteX662" fmla="*/ 5942168 w 11625583"/>
              <a:gd name="connsiteY662" fmla="*/ 4531736 h 6380470"/>
              <a:gd name="connsiteX663" fmla="*/ 5902673 w 11625583"/>
              <a:gd name="connsiteY663" fmla="*/ 4472152 h 6380470"/>
              <a:gd name="connsiteX664" fmla="*/ 5967339 w 11625583"/>
              <a:gd name="connsiteY664" fmla="*/ 4407486 h 6380470"/>
              <a:gd name="connsiteX665" fmla="*/ 4256781 w 11625583"/>
              <a:gd name="connsiteY665" fmla="*/ 4407486 h 6380470"/>
              <a:gd name="connsiteX666" fmla="*/ 4321448 w 11625583"/>
              <a:gd name="connsiteY666" fmla="*/ 4472152 h 6380470"/>
              <a:gd name="connsiteX667" fmla="*/ 4256781 w 11625583"/>
              <a:gd name="connsiteY667" fmla="*/ 4536818 h 6380470"/>
              <a:gd name="connsiteX668" fmla="*/ 4192113 w 11625583"/>
              <a:gd name="connsiteY668" fmla="*/ 4472152 h 6380470"/>
              <a:gd name="connsiteX669" fmla="*/ 4256781 w 11625583"/>
              <a:gd name="connsiteY669" fmla="*/ 4407486 h 6380470"/>
              <a:gd name="connsiteX670" fmla="*/ 3947550 w 11625583"/>
              <a:gd name="connsiteY670" fmla="*/ 4407486 h 6380470"/>
              <a:gd name="connsiteX671" fmla="*/ 4012217 w 11625583"/>
              <a:gd name="connsiteY671" fmla="*/ 4472152 h 6380470"/>
              <a:gd name="connsiteX672" fmla="*/ 3972723 w 11625583"/>
              <a:gd name="connsiteY672" fmla="*/ 4531736 h 6380470"/>
              <a:gd name="connsiteX673" fmla="*/ 3947944 w 11625583"/>
              <a:gd name="connsiteY673" fmla="*/ 4536738 h 6380470"/>
              <a:gd name="connsiteX674" fmla="*/ 3972720 w 11625583"/>
              <a:gd name="connsiteY674" fmla="*/ 4541740 h 6380470"/>
              <a:gd name="connsiteX675" fmla="*/ 4012217 w 11625583"/>
              <a:gd name="connsiteY675" fmla="*/ 4601324 h 6380470"/>
              <a:gd name="connsiteX676" fmla="*/ 3947550 w 11625583"/>
              <a:gd name="connsiteY676" fmla="*/ 4665990 h 6380470"/>
              <a:gd name="connsiteX677" fmla="*/ 3882901 w 11625583"/>
              <a:gd name="connsiteY677" fmla="*/ 4601324 h 6380470"/>
              <a:gd name="connsiteX678" fmla="*/ 3922395 w 11625583"/>
              <a:gd name="connsiteY678" fmla="*/ 4541740 h 6380470"/>
              <a:gd name="connsiteX679" fmla="*/ 3947151 w 11625583"/>
              <a:gd name="connsiteY679" fmla="*/ 4536738 h 6380470"/>
              <a:gd name="connsiteX680" fmla="*/ 3922397 w 11625583"/>
              <a:gd name="connsiteY680" fmla="*/ 4531736 h 6380470"/>
              <a:gd name="connsiteX681" fmla="*/ 3882903 w 11625583"/>
              <a:gd name="connsiteY681" fmla="*/ 4472152 h 6380470"/>
              <a:gd name="connsiteX682" fmla="*/ 3947550 w 11625583"/>
              <a:gd name="connsiteY682" fmla="*/ 4407486 h 6380470"/>
              <a:gd name="connsiteX683" fmla="*/ 3790995 w 11625583"/>
              <a:gd name="connsiteY683" fmla="*/ 4407486 h 6380470"/>
              <a:gd name="connsiteX684" fmla="*/ 3855661 w 11625583"/>
              <a:gd name="connsiteY684" fmla="*/ 4472152 h 6380470"/>
              <a:gd name="connsiteX685" fmla="*/ 3816166 w 11625583"/>
              <a:gd name="connsiteY685" fmla="*/ 4531736 h 6380470"/>
              <a:gd name="connsiteX686" fmla="*/ 3791389 w 11625583"/>
              <a:gd name="connsiteY686" fmla="*/ 4536739 h 6380470"/>
              <a:gd name="connsiteX687" fmla="*/ 3816163 w 11625583"/>
              <a:gd name="connsiteY687" fmla="*/ 4541740 h 6380470"/>
              <a:gd name="connsiteX688" fmla="*/ 3855657 w 11625583"/>
              <a:gd name="connsiteY688" fmla="*/ 4601324 h 6380470"/>
              <a:gd name="connsiteX689" fmla="*/ 3790992 w 11625583"/>
              <a:gd name="connsiteY689" fmla="*/ 4665990 h 6380470"/>
              <a:gd name="connsiteX690" fmla="*/ 3726324 w 11625583"/>
              <a:gd name="connsiteY690" fmla="*/ 4601324 h 6380470"/>
              <a:gd name="connsiteX691" fmla="*/ 3765820 w 11625583"/>
              <a:gd name="connsiteY691" fmla="*/ 4541740 h 6380470"/>
              <a:gd name="connsiteX692" fmla="*/ 3790597 w 11625583"/>
              <a:gd name="connsiteY692" fmla="*/ 4536738 h 6380470"/>
              <a:gd name="connsiteX693" fmla="*/ 3765822 w 11625583"/>
              <a:gd name="connsiteY693" fmla="*/ 4531736 h 6380470"/>
              <a:gd name="connsiteX694" fmla="*/ 3726327 w 11625583"/>
              <a:gd name="connsiteY694" fmla="*/ 4472152 h 6380470"/>
              <a:gd name="connsiteX695" fmla="*/ 3790995 w 11625583"/>
              <a:gd name="connsiteY695" fmla="*/ 4407486 h 6380470"/>
              <a:gd name="connsiteX696" fmla="*/ 3481760 w 11625583"/>
              <a:gd name="connsiteY696" fmla="*/ 4407486 h 6380470"/>
              <a:gd name="connsiteX697" fmla="*/ 3546426 w 11625583"/>
              <a:gd name="connsiteY697" fmla="*/ 4472152 h 6380470"/>
              <a:gd name="connsiteX698" fmla="*/ 3506929 w 11625583"/>
              <a:gd name="connsiteY698" fmla="*/ 4531736 h 6380470"/>
              <a:gd name="connsiteX699" fmla="*/ 3482156 w 11625583"/>
              <a:gd name="connsiteY699" fmla="*/ 4536738 h 6380470"/>
              <a:gd name="connsiteX700" fmla="*/ 3506929 w 11625583"/>
              <a:gd name="connsiteY700" fmla="*/ 4541740 h 6380470"/>
              <a:gd name="connsiteX701" fmla="*/ 3546426 w 11625583"/>
              <a:gd name="connsiteY701" fmla="*/ 4601324 h 6380470"/>
              <a:gd name="connsiteX702" fmla="*/ 3481760 w 11625583"/>
              <a:gd name="connsiteY702" fmla="*/ 4665990 h 6380470"/>
              <a:gd name="connsiteX703" fmla="*/ 3417095 w 11625583"/>
              <a:gd name="connsiteY703" fmla="*/ 4601324 h 6380470"/>
              <a:gd name="connsiteX704" fmla="*/ 3456591 w 11625583"/>
              <a:gd name="connsiteY704" fmla="*/ 4541740 h 6380470"/>
              <a:gd name="connsiteX705" fmla="*/ 3481364 w 11625583"/>
              <a:gd name="connsiteY705" fmla="*/ 4536738 h 6380470"/>
              <a:gd name="connsiteX706" fmla="*/ 3456591 w 11625583"/>
              <a:gd name="connsiteY706" fmla="*/ 4531736 h 6380470"/>
              <a:gd name="connsiteX707" fmla="*/ 3417096 w 11625583"/>
              <a:gd name="connsiteY707" fmla="*/ 4472152 h 6380470"/>
              <a:gd name="connsiteX708" fmla="*/ 3481760 w 11625583"/>
              <a:gd name="connsiteY708" fmla="*/ 4407486 h 6380470"/>
              <a:gd name="connsiteX709" fmla="*/ 3172530 w 11625583"/>
              <a:gd name="connsiteY709" fmla="*/ 4407486 h 6380470"/>
              <a:gd name="connsiteX710" fmla="*/ 3237196 w 11625583"/>
              <a:gd name="connsiteY710" fmla="*/ 4472152 h 6380470"/>
              <a:gd name="connsiteX711" fmla="*/ 3197701 w 11625583"/>
              <a:gd name="connsiteY711" fmla="*/ 4531736 h 6380470"/>
              <a:gd name="connsiteX712" fmla="*/ 3172927 w 11625583"/>
              <a:gd name="connsiteY712" fmla="*/ 4536738 h 6380470"/>
              <a:gd name="connsiteX713" fmla="*/ 3197703 w 11625583"/>
              <a:gd name="connsiteY713" fmla="*/ 4541740 h 6380470"/>
              <a:gd name="connsiteX714" fmla="*/ 3237198 w 11625583"/>
              <a:gd name="connsiteY714" fmla="*/ 4601324 h 6380470"/>
              <a:gd name="connsiteX715" fmla="*/ 3172531 w 11625583"/>
              <a:gd name="connsiteY715" fmla="*/ 4665990 h 6380470"/>
              <a:gd name="connsiteX716" fmla="*/ 3107862 w 11625583"/>
              <a:gd name="connsiteY716" fmla="*/ 4601324 h 6380470"/>
              <a:gd name="connsiteX717" fmla="*/ 3147359 w 11625583"/>
              <a:gd name="connsiteY717" fmla="*/ 4541740 h 6380470"/>
              <a:gd name="connsiteX718" fmla="*/ 3172134 w 11625583"/>
              <a:gd name="connsiteY718" fmla="*/ 4536738 h 6380470"/>
              <a:gd name="connsiteX719" fmla="*/ 3147357 w 11625583"/>
              <a:gd name="connsiteY719" fmla="*/ 4531736 h 6380470"/>
              <a:gd name="connsiteX720" fmla="*/ 3107859 w 11625583"/>
              <a:gd name="connsiteY720" fmla="*/ 4472152 h 6380470"/>
              <a:gd name="connsiteX721" fmla="*/ 3172530 w 11625583"/>
              <a:gd name="connsiteY721" fmla="*/ 4407486 h 6380470"/>
              <a:gd name="connsiteX722" fmla="*/ 6585804 w 11625583"/>
              <a:gd name="connsiteY722" fmla="*/ 4407484 h 6380470"/>
              <a:gd name="connsiteX723" fmla="*/ 6650470 w 11625583"/>
              <a:gd name="connsiteY723" fmla="*/ 4472150 h 6380470"/>
              <a:gd name="connsiteX724" fmla="*/ 6610975 w 11625583"/>
              <a:gd name="connsiteY724" fmla="*/ 4531734 h 6380470"/>
              <a:gd name="connsiteX725" fmla="*/ 6586196 w 11625583"/>
              <a:gd name="connsiteY725" fmla="*/ 4536737 h 6380470"/>
              <a:gd name="connsiteX726" fmla="*/ 6610975 w 11625583"/>
              <a:gd name="connsiteY726" fmla="*/ 4541740 h 6380470"/>
              <a:gd name="connsiteX727" fmla="*/ 6650470 w 11625583"/>
              <a:gd name="connsiteY727" fmla="*/ 4601324 h 6380470"/>
              <a:gd name="connsiteX728" fmla="*/ 6585804 w 11625583"/>
              <a:gd name="connsiteY728" fmla="*/ 4665990 h 6380470"/>
              <a:gd name="connsiteX729" fmla="*/ 6521138 w 11625583"/>
              <a:gd name="connsiteY729" fmla="*/ 4601324 h 6380470"/>
              <a:gd name="connsiteX730" fmla="*/ 6560633 w 11625583"/>
              <a:gd name="connsiteY730" fmla="*/ 4541740 h 6380470"/>
              <a:gd name="connsiteX731" fmla="*/ 6585413 w 11625583"/>
              <a:gd name="connsiteY731" fmla="*/ 4536737 h 6380470"/>
              <a:gd name="connsiteX732" fmla="*/ 6560633 w 11625583"/>
              <a:gd name="connsiteY732" fmla="*/ 4531734 h 6380470"/>
              <a:gd name="connsiteX733" fmla="*/ 6521138 w 11625583"/>
              <a:gd name="connsiteY733" fmla="*/ 4472150 h 6380470"/>
              <a:gd name="connsiteX734" fmla="*/ 6585804 w 11625583"/>
              <a:gd name="connsiteY734" fmla="*/ 4407484 h 6380470"/>
              <a:gd name="connsiteX735" fmla="*/ 6119999 w 11625583"/>
              <a:gd name="connsiteY735" fmla="*/ 4407484 h 6380470"/>
              <a:gd name="connsiteX736" fmla="*/ 6184665 w 11625583"/>
              <a:gd name="connsiteY736" fmla="*/ 4472150 h 6380470"/>
              <a:gd name="connsiteX737" fmla="*/ 6145170 w 11625583"/>
              <a:gd name="connsiteY737" fmla="*/ 4531734 h 6380470"/>
              <a:gd name="connsiteX738" fmla="*/ 6120391 w 11625583"/>
              <a:gd name="connsiteY738" fmla="*/ 4536737 h 6380470"/>
              <a:gd name="connsiteX739" fmla="*/ 6145170 w 11625583"/>
              <a:gd name="connsiteY739" fmla="*/ 4541740 h 6380470"/>
              <a:gd name="connsiteX740" fmla="*/ 6184665 w 11625583"/>
              <a:gd name="connsiteY740" fmla="*/ 4601324 h 6380470"/>
              <a:gd name="connsiteX741" fmla="*/ 6119999 w 11625583"/>
              <a:gd name="connsiteY741" fmla="*/ 4665990 h 6380470"/>
              <a:gd name="connsiteX742" fmla="*/ 6055333 w 11625583"/>
              <a:gd name="connsiteY742" fmla="*/ 4601324 h 6380470"/>
              <a:gd name="connsiteX743" fmla="*/ 6094828 w 11625583"/>
              <a:gd name="connsiteY743" fmla="*/ 4541740 h 6380470"/>
              <a:gd name="connsiteX744" fmla="*/ 6119608 w 11625583"/>
              <a:gd name="connsiteY744" fmla="*/ 4536737 h 6380470"/>
              <a:gd name="connsiteX745" fmla="*/ 6094828 w 11625583"/>
              <a:gd name="connsiteY745" fmla="*/ 4531734 h 6380470"/>
              <a:gd name="connsiteX746" fmla="*/ 6055333 w 11625583"/>
              <a:gd name="connsiteY746" fmla="*/ 4472150 h 6380470"/>
              <a:gd name="connsiteX747" fmla="*/ 6119999 w 11625583"/>
              <a:gd name="connsiteY747" fmla="*/ 4407484 h 6380470"/>
              <a:gd name="connsiteX748" fmla="*/ 4100213 w 11625583"/>
              <a:gd name="connsiteY748" fmla="*/ 4407484 h 6380470"/>
              <a:gd name="connsiteX749" fmla="*/ 4164879 w 11625583"/>
              <a:gd name="connsiteY749" fmla="*/ 4472150 h 6380470"/>
              <a:gd name="connsiteX750" fmla="*/ 4125383 w 11625583"/>
              <a:gd name="connsiteY750" fmla="*/ 4531734 h 6380470"/>
              <a:gd name="connsiteX751" fmla="*/ 4100603 w 11625583"/>
              <a:gd name="connsiteY751" fmla="*/ 4536737 h 6380470"/>
              <a:gd name="connsiteX752" fmla="*/ 4125383 w 11625583"/>
              <a:gd name="connsiteY752" fmla="*/ 4541740 h 6380470"/>
              <a:gd name="connsiteX753" fmla="*/ 4164876 w 11625583"/>
              <a:gd name="connsiteY753" fmla="*/ 4601324 h 6380470"/>
              <a:gd name="connsiteX754" fmla="*/ 4100211 w 11625583"/>
              <a:gd name="connsiteY754" fmla="*/ 4665990 h 6380470"/>
              <a:gd name="connsiteX755" fmla="*/ 4035548 w 11625583"/>
              <a:gd name="connsiteY755" fmla="*/ 4601324 h 6380470"/>
              <a:gd name="connsiteX756" fmla="*/ 4075037 w 11625583"/>
              <a:gd name="connsiteY756" fmla="*/ 4541740 h 6380470"/>
              <a:gd name="connsiteX757" fmla="*/ 4099820 w 11625583"/>
              <a:gd name="connsiteY757" fmla="*/ 4536737 h 6380470"/>
              <a:gd name="connsiteX758" fmla="*/ 4075039 w 11625583"/>
              <a:gd name="connsiteY758" fmla="*/ 4531734 h 6380470"/>
              <a:gd name="connsiteX759" fmla="*/ 4035548 w 11625583"/>
              <a:gd name="connsiteY759" fmla="*/ 4472150 h 6380470"/>
              <a:gd name="connsiteX760" fmla="*/ 4100213 w 11625583"/>
              <a:gd name="connsiteY760" fmla="*/ 4407484 h 6380470"/>
              <a:gd name="connsiteX761" fmla="*/ 3630508 w 11625583"/>
              <a:gd name="connsiteY761" fmla="*/ 4407484 h 6380470"/>
              <a:gd name="connsiteX762" fmla="*/ 3695174 w 11625583"/>
              <a:gd name="connsiteY762" fmla="*/ 4472150 h 6380470"/>
              <a:gd name="connsiteX763" fmla="*/ 3655679 w 11625583"/>
              <a:gd name="connsiteY763" fmla="*/ 4531734 h 6380470"/>
              <a:gd name="connsiteX764" fmla="*/ 3630899 w 11625583"/>
              <a:gd name="connsiteY764" fmla="*/ 4536738 h 6380470"/>
              <a:gd name="connsiteX765" fmla="*/ 3655677 w 11625583"/>
              <a:gd name="connsiteY765" fmla="*/ 4541740 h 6380470"/>
              <a:gd name="connsiteX766" fmla="*/ 3695171 w 11625583"/>
              <a:gd name="connsiteY766" fmla="*/ 4601324 h 6380470"/>
              <a:gd name="connsiteX767" fmla="*/ 3630506 w 11625583"/>
              <a:gd name="connsiteY767" fmla="*/ 4665990 h 6380470"/>
              <a:gd name="connsiteX768" fmla="*/ 3565838 w 11625583"/>
              <a:gd name="connsiteY768" fmla="*/ 4601324 h 6380470"/>
              <a:gd name="connsiteX769" fmla="*/ 3605333 w 11625583"/>
              <a:gd name="connsiteY769" fmla="*/ 4541740 h 6380470"/>
              <a:gd name="connsiteX770" fmla="*/ 3630116 w 11625583"/>
              <a:gd name="connsiteY770" fmla="*/ 4536737 h 6380470"/>
              <a:gd name="connsiteX771" fmla="*/ 3605335 w 11625583"/>
              <a:gd name="connsiteY771" fmla="*/ 4531734 h 6380470"/>
              <a:gd name="connsiteX772" fmla="*/ 3565841 w 11625583"/>
              <a:gd name="connsiteY772" fmla="*/ 4472150 h 6380470"/>
              <a:gd name="connsiteX773" fmla="*/ 3630508 w 11625583"/>
              <a:gd name="connsiteY773" fmla="*/ 4407484 h 6380470"/>
              <a:gd name="connsiteX774" fmla="*/ 3321277 w 11625583"/>
              <a:gd name="connsiteY774" fmla="*/ 4407484 h 6380470"/>
              <a:gd name="connsiteX775" fmla="*/ 3385940 w 11625583"/>
              <a:gd name="connsiteY775" fmla="*/ 4472150 h 6380470"/>
              <a:gd name="connsiteX776" fmla="*/ 3346447 w 11625583"/>
              <a:gd name="connsiteY776" fmla="*/ 4531734 h 6380470"/>
              <a:gd name="connsiteX777" fmla="*/ 3321669 w 11625583"/>
              <a:gd name="connsiteY777" fmla="*/ 4536737 h 6380470"/>
              <a:gd name="connsiteX778" fmla="*/ 3346446 w 11625583"/>
              <a:gd name="connsiteY778" fmla="*/ 4541740 h 6380470"/>
              <a:gd name="connsiteX779" fmla="*/ 3385940 w 11625583"/>
              <a:gd name="connsiteY779" fmla="*/ 4601324 h 6380470"/>
              <a:gd name="connsiteX780" fmla="*/ 3321277 w 11625583"/>
              <a:gd name="connsiteY780" fmla="*/ 4665990 h 6380470"/>
              <a:gd name="connsiteX781" fmla="*/ 3256612 w 11625583"/>
              <a:gd name="connsiteY781" fmla="*/ 4601324 h 6380470"/>
              <a:gd name="connsiteX782" fmla="*/ 3296104 w 11625583"/>
              <a:gd name="connsiteY782" fmla="*/ 4541740 h 6380470"/>
              <a:gd name="connsiteX783" fmla="*/ 3320887 w 11625583"/>
              <a:gd name="connsiteY783" fmla="*/ 4536737 h 6380470"/>
              <a:gd name="connsiteX784" fmla="*/ 3296104 w 11625583"/>
              <a:gd name="connsiteY784" fmla="*/ 4531734 h 6380470"/>
              <a:gd name="connsiteX785" fmla="*/ 3256612 w 11625583"/>
              <a:gd name="connsiteY785" fmla="*/ 4472150 h 6380470"/>
              <a:gd name="connsiteX786" fmla="*/ 3321277 w 11625583"/>
              <a:gd name="connsiteY786" fmla="*/ 4407484 h 6380470"/>
              <a:gd name="connsiteX787" fmla="*/ 3012037 w 11625583"/>
              <a:gd name="connsiteY787" fmla="*/ 4407484 h 6380470"/>
              <a:gd name="connsiteX788" fmla="*/ 3076704 w 11625583"/>
              <a:gd name="connsiteY788" fmla="*/ 4472150 h 6380470"/>
              <a:gd name="connsiteX789" fmla="*/ 3012037 w 11625583"/>
              <a:gd name="connsiteY789" fmla="*/ 4536816 h 6380470"/>
              <a:gd name="connsiteX790" fmla="*/ 2947373 w 11625583"/>
              <a:gd name="connsiteY790" fmla="*/ 4472150 h 6380470"/>
              <a:gd name="connsiteX791" fmla="*/ 3012037 w 11625583"/>
              <a:gd name="connsiteY791" fmla="*/ 4407484 h 6380470"/>
              <a:gd name="connsiteX792" fmla="*/ 10159586 w 11625583"/>
              <a:gd name="connsiteY792" fmla="*/ 4266568 h 6380470"/>
              <a:gd name="connsiteX793" fmla="*/ 10224252 w 11625583"/>
              <a:gd name="connsiteY793" fmla="*/ 4331234 h 6380470"/>
              <a:gd name="connsiteX794" fmla="*/ 10159586 w 11625583"/>
              <a:gd name="connsiteY794" fmla="*/ 4395900 h 6380470"/>
              <a:gd name="connsiteX795" fmla="*/ 10094920 w 11625583"/>
              <a:gd name="connsiteY795" fmla="*/ 4331234 h 6380470"/>
              <a:gd name="connsiteX796" fmla="*/ 10159586 w 11625583"/>
              <a:gd name="connsiteY796" fmla="*/ 4266568 h 6380470"/>
              <a:gd name="connsiteX797" fmla="*/ 9227976 w 11625583"/>
              <a:gd name="connsiteY797" fmla="*/ 4266568 h 6380470"/>
              <a:gd name="connsiteX798" fmla="*/ 9292642 w 11625583"/>
              <a:gd name="connsiteY798" fmla="*/ 4331234 h 6380470"/>
              <a:gd name="connsiteX799" fmla="*/ 9227976 w 11625583"/>
              <a:gd name="connsiteY799" fmla="*/ 4395900 h 6380470"/>
              <a:gd name="connsiteX800" fmla="*/ 9163310 w 11625583"/>
              <a:gd name="connsiteY800" fmla="*/ 4331234 h 6380470"/>
              <a:gd name="connsiteX801" fmla="*/ 9227976 w 11625583"/>
              <a:gd name="connsiteY801" fmla="*/ 4266568 h 6380470"/>
              <a:gd name="connsiteX802" fmla="*/ 9075316 w 11625583"/>
              <a:gd name="connsiteY802" fmla="*/ 4266568 h 6380470"/>
              <a:gd name="connsiteX803" fmla="*/ 9139982 w 11625583"/>
              <a:gd name="connsiteY803" fmla="*/ 4331234 h 6380470"/>
              <a:gd name="connsiteX804" fmla="*/ 9075316 w 11625583"/>
              <a:gd name="connsiteY804" fmla="*/ 4395900 h 6380470"/>
              <a:gd name="connsiteX805" fmla="*/ 9010650 w 11625583"/>
              <a:gd name="connsiteY805" fmla="*/ 4331234 h 6380470"/>
              <a:gd name="connsiteX806" fmla="*/ 9075316 w 11625583"/>
              <a:gd name="connsiteY806" fmla="*/ 4266568 h 6380470"/>
              <a:gd name="connsiteX807" fmla="*/ 6742375 w 11625583"/>
              <a:gd name="connsiteY807" fmla="*/ 4266568 h 6380470"/>
              <a:gd name="connsiteX808" fmla="*/ 6807041 w 11625583"/>
              <a:gd name="connsiteY808" fmla="*/ 4331234 h 6380470"/>
              <a:gd name="connsiteX809" fmla="*/ 6742375 w 11625583"/>
              <a:gd name="connsiteY809" fmla="*/ 4395900 h 6380470"/>
              <a:gd name="connsiteX810" fmla="*/ 6677709 w 11625583"/>
              <a:gd name="connsiteY810" fmla="*/ 4331234 h 6380470"/>
              <a:gd name="connsiteX811" fmla="*/ 6742375 w 11625583"/>
              <a:gd name="connsiteY811" fmla="*/ 4266568 h 6380470"/>
              <a:gd name="connsiteX812" fmla="*/ 6585802 w 11625583"/>
              <a:gd name="connsiteY812" fmla="*/ 4266568 h 6380470"/>
              <a:gd name="connsiteX813" fmla="*/ 6650468 w 11625583"/>
              <a:gd name="connsiteY813" fmla="*/ 4331234 h 6380470"/>
              <a:gd name="connsiteX814" fmla="*/ 6585802 w 11625583"/>
              <a:gd name="connsiteY814" fmla="*/ 4395900 h 6380470"/>
              <a:gd name="connsiteX815" fmla="*/ 6521136 w 11625583"/>
              <a:gd name="connsiteY815" fmla="*/ 4331234 h 6380470"/>
              <a:gd name="connsiteX816" fmla="*/ 6585802 w 11625583"/>
              <a:gd name="connsiteY816" fmla="*/ 4266568 h 6380470"/>
              <a:gd name="connsiteX817" fmla="*/ 6429228 w 11625583"/>
              <a:gd name="connsiteY817" fmla="*/ 4266568 h 6380470"/>
              <a:gd name="connsiteX818" fmla="*/ 6493894 w 11625583"/>
              <a:gd name="connsiteY818" fmla="*/ 4331234 h 6380470"/>
              <a:gd name="connsiteX819" fmla="*/ 6429228 w 11625583"/>
              <a:gd name="connsiteY819" fmla="*/ 4395900 h 6380470"/>
              <a:gd name="connsiteX820" fmla="*/ 6364562 w 11625583"/>
              <a:gd name="connsiteY820" fmla="*/ 4331234 h 6380470"/>
              <a:gd name="connsiteX821" fmla="*/ 6429228 w 11625583"/>
              <a:gd name="connsiteY821" fmla="*/ 4266568 h 6380470"/>
              <a:gd name="connsiteX822" fmla="*/ 6276569 w 11625583"/>
              <a:gd name="connsiteY822" fmla="*/ 4266568 h 6380470"/>
              <a:gd name="connsiteX823" fmla="*/ 6341235 w 11625583"/>
              <a:gd name="connsiteY823" fmla="*/ 4331234 h 6380470"/>
              <a:gd name="connsiteX824" fmla="*/ 6276569 w 11625583"/>
              <a:gd name="connsiteY824" fmla="*/ 4395900 h 6380470"/>
              <a:gd name="connsiteX825" fmla="*/ 6211903 w 11625583"/>
              <a:gd name="connsiteY825" fmla="*/ 4331234 h 6380470"/>
              <a:gd name="connsiteX826" fmla="*/ 6276569 w 11625583"/>
              <a:gd name="connsiteY826" fmla="*/ 4266568 h 6380470"/>
              <a:gd name="connsiteX827" fmla="*/ 6119998 w 11625583"/>
              <a:gd name="connsiteY827" fmla="*/ 4266568 h 6380470"/>
              <a:gd name="connsiteX828" fmla="*/ 6184664 w 11625583"/>
              <a:gd name="connsiteY828" fmla="*/ 4331234 h 6380470"/>
              <a:gd name="connsiteX829" fmla="*/ 6119998 w 11625583"/>
              <a:gd name="connsiteY829" fmla="*/ 4395900 h 6380470"/>
              <a:gd name="connsiteX830" fmla="*/ 6055332 w 11625583"/>
              <a:gd name="connsiteY830" fmla="*/ 4331234 h 6380470"/>
              <a:gd name="connsiteX831" fmla="*/ 6119998 w 11625583"/>
              <a:gd name="connsiteY831" fmla="*/ 4266568 h 6380470"/>
              <a:gd name="connsiteX832" fmla="*/ 5967338 w 11625583"/>
              <a:gd name="connsiteY832" fmla="*/ 4266568 h 6380470"/>
              <a:gd name="connsiteX833" fmla="*/ 6032004 w 11625583"/>
              <a:gd name="connsiteY833" fmla="*/ 4331234 h 6380470"/>
              <a:gd name="connsiteX834" fmla="*/ 5967338 w 11625583"/>
              <a:gd name="connsiteY834" fmla="*/ 4395900 h 6380470"/>
              <a:gd name="connsiteX835" fmla="*/ 5902672 w 11625583"/>
              <a:gd name="connsiteY835" fmla="*/ 4331234 h 6380470"/>
              <a:gd name="connsiteX836" fmla="*/ 5967338 w 11625583"/>
              <a:gd name="connsiteY836" fmla="*/ 4266568 h 6380470"/>
              <a:gd name="connsiteX837" fmla="*/ 4256780 w 11625583"/>
              <a:gd name="connsiteY837" fmla="*/ 4266568 h 6380470"/>
              <a:gd name="connsiteX838" fmla="*/ 4321446 w 11625583"/>
              <a:gd name="connsiteY838" fmla="*/ 4331234 h 6380470"/>
              <a:gd name="connsiteX839" fmla="*/ 4256780 w 11625583"/>
              <a:gd name="connsiteY839" fmla="*/ 4395900 h 6380470"/>
              <a:gd name="connsiteX840" fmla="*/ 4192113 w 11625583"/>
              <a:gd name="connsiteY840" fmla="*/ 4331234 h 6380470"/>
              <a:gd name="connsiteX841" fmla="*/ 4256780 w 11625583"/>
              <a:gd name="connsiteY841" fmla="*/ 4266568 h 6380470"/>
              <a:gd name="connsiteX842" fmla="*/ 4100211 w 11625583"/>
              <a:gd name="connsiteY842" fmla="*/ 4266568 h 6380470"/>
              <a:gd name="connsiteX843" fmla="*/ 4164879 w 11625583"/>
              <a:gd name="connsiteY843" fmla="*/ 4331234 h 6380470"/>
              <a:gd name="connsiteX844" fmla="*/ 4100211 w 11625583"/>
              <a:gd name="connsiteY844" fmla="*/ 4395900 h 6380470"/>
              <a:gd name="connsiteX845" fmla="*/ 4035548 w 11625583"/>
              <a:gd name="connsiteY845" fmla="*/ 4331234 h 6380470"/>
              <a:gd name="connsiteX846" fmla="*/ 4100211 w 11625583"/>
              <a:gd name="connsiteY846" fmla="*/ 4266568 h 6380470"/>
              <a:gd name="connsiteX847" fmla="*/ 3947545 w 11625583"/>
              <a:gd name="connsiteY847" fmla="*/ 4266568 h 6380470"/>
              <a:gd name="connsiteX848" fmla="*/ 4012217 w 11625583"/>
              <a:gd name="connsiteY848" fmla="*/ 4331234 h 6380470"/>
              <a:gd name="connsiteX849" fmla="*/ 3947545 w 11625583"/>
              <a:gd name="connsiteY849" fmla="*/ 4395900 h 6380470"/>
              <a:gd name="connsiteX850" fmla="*/ 3882903 w 11625583"/>
              <a:gd name="connsiteY850" fmla="*/ 4331234 h 6380470"/>
              <a:gd name="connsiteX851" fmla="*/ 3947545 w 11625583"/>
              <a:gd name="connsiteY851" fmla="*/ 4266568 h 6380470"/>
              <a:gd name="connsiteX852" fmla="*/ 3790995 w 11625583"/>
              <a:gd name="connsiteY852" fmla="*/ 4266568 h 6380470"/>
              <a:gd name="connsiteX853" fmla="*/ 3855662 w 11625583"/>
              <a:gd name="connsiteY853" fmla="*/ 4331234 h 6380470"/>
              <a:gd name="connsiteX854" fmla="*/ 3790995 w 11625583"/>
              <a:gd name="connsiteY854" fmla="*/ 4395900 h 6380470"/>
              <a:gd name="connsiteX855" fmla="*/ 3726328 w 11625583"/>
              <a:gd name="connsiteY855" fmla="*/ 4331234 h 6380470"/>
              <a:gd name="connsiteX856" fmla="*/ 3790995 w 11625583"/>
              <a:gd name="connsiteY856" fmla="*/ 4266568 h 6380470"/>
              <a:gd name="connsiteX857" fmla="*/ 3630508 w 11625583"/>
              <a:gd name="connsiteY857" fmla="*/ 4266568 h 6380470"/>
              <a:gd name="connsiteX858" fmla="*/ 3695175 w 11625583"/>
              <a:gd name="connsiteY858" fmla="*/ 4331234 h 6380470"/>
              <a:gd name="connsiteX859" fmla="*/ 3630508 w 11625583"/>
              <a:gd name="connsiteY859" fmla="*/ 4395900 h 6380470"/>
              <a:gd name="connsiteX860" fmla="*/ 3565840 w 11625583"/>
              <a:gd name="connsiteY860" fmla="*/ 4331234 h 6380470"/>
              <a:gd name="connsiteX861" fmla="*/ 3630508 w 11625583"/>
              <a:gd name="connsiteY861" fmla="*/ 4266568 h 6380470"/>
              <a:gd name="connsiteX862" fmla="*/ 3481762 w 11625583"/>
              <a:gd name="connsiteY862" fmla="*/ 4266568 h 6380470"/>
              <a:gd name="connsiteX863" fmla="*/ 3546428 w 11625583"/>
              <a:gd name="connsiteY863" fmla="*/ 4331234 h 6380470"/>
              <a:gd name="connsiteX864" fmla="*/ 3481762 w 11625583"/>
              <a:gd name="connsiteY864" fmla="*/ 4395900 h 6380470"/>
              <a:gd name="connsiteX865" fmla="*/ 3417099 w 11625583"/>
              <a:gd name="connsiteY865" fmla="*/ 4331234 h 6380470"/>
              <a:gd name="connsiteX866" fmla="*/ 3481762 w 11625583"/>
              <a:gd name="connsiteY866" fmla="*/ 4266568 h 6380470"/>
              <a:gd name="connsiteX867" fmla="*/ 3321282 w 11625583"/>
              <a:gd name="connsiteY867" fmla="*/ 4266568 h 6380470"/>
              <a:gd name="connsiteX868" fmla="*/ 3385942 w 11625583"/>
              <a:gd name="connsiteY868" fmla="*/ 4331234 h 6380470"/>
              <a:gd name="connsiteX869" fmla="*/ 3321282 w 11625583"/>
              <a:gd name="connsiteY869" fmla="*/ 4395900 h 6380470"/>
              <a:gd name="connsiteX870" fmla="*/ 3256617 w 11625583"/>
              <a:gd name="connsiteY870" fmla="*/ 4331234 h 6380470"/>
              <a:gd name="connsiteX871" fmla="*/ 3321282 w 11625583"/>
              <a:gd name="connsiteY871" fmla="*/ 4266568 h 6380470"/>
              <a:gd name="connsiteX872" fmla="*/ 3172532 w 11625583"/>
              <a:gd name="connsiteY872" fmla="*/ 4266568 h 6380470"/>
              <a:gd name="connsiteX873" fmla="*/ 3237198 w 11625583"/>
              <a:gd name="connsiteY873" fmla="*/ 4331234 h 6380470"/>
              <a:gd name="connsiteX874" fmla="*/ 3172532 w 11625583"/>
              <a:gd name="connsiteY874" fmla="*/ 4395900 h 6380470"/>
              <a:gd name="connsiteX875" fmla="*/ 3107863 w 11625583"/>
              <a:gd name="connsiteY875" fmla="*/ 4331234 h 6380470"/>
              <a:gd name="connsiteX876" fmla="*/ 3172532 w 11625583"/>
              <a:gd name="connsiteY876" fmla="*/ 4266568 h 6380470"/>
              <a:gd name="connsiteX877" fmla="*/ 3012039 w 11625583"/>
              <a:gd name="connsiteY877" fmla="*/ 4266568 h 6380470"/>
              <a:gd name="connsiteX878" fmla="*/ 3076706 w 11625583"/>
              <a:gd name="connsiteY878" fmla="*/ 4331234 h 6380470"/>
              <a:gd name="connsiteX879" fmla="*/ 3012039 w 11625583"/>
              <a:gd name="connsiteY879" fmla="*/ 4395900 h 6380470"/>
              <a:gd name="connsiteX880" fmla="*/ 2947375 w 11625583"/>
              <a:gd name="connsiteY880" fmla="*/ 4331234 h 6380470"/>
              <a:gd name="connsiteX881" fmla="*/ 3012039 w 11625583"/>
              <a:gd name="connsiteY881" fmla="*/ 4266568 h 6380470"/>
              <a:gd name="connsiteX882" fmla="*/ 10159586 w 11625583"/>
              <a:gd name="connsiteY882" fmla="*/ 4113910 h 6380470"/>
              <a:gd name="connsiteX883" fmla="*/ 10224252 w 11625583"/>
              <a:gd name="connsiteY883" fmla="*/ 4178576 h 6380470"/>
              <a:gd name="connsiteX884" fmla="*/ 10159586 w 11625583"/>
              <a:gd name="connsiteY884" fmla="*/ 4243242 h 6380470"/>
              <a:gd name="connsiteX885" fmla="*/ 10094920 w 11625583"/>
              <a:gd name="connsiteY885" fmla="*/ 4178576 h 6380470"/>
              <a:gd name="connsiteX886" fmla="*/ 10159586 w 11625583"/>
              <a:gd name="connsiteY886" fmla="*/ 4113910 h 6380470"/>
              <a:gd name="connsiteX887" fmla="*/ 10003015 w 11625583"/>
              <a:gd name="connsiteY887" fmla="*/ 4113910 h 6380470"/>
              <a:gd name="connsiteX888" fmla="*/ 10067681 w 11625583"/>
              <a:gd name="connsiteY888" fmla="*/ 4178576 h 6380470"/>
              <a:gd name="connsiteX889" fmla="*/ 10003015 w 11625583"/>
              <a:gd name="connsiteY889" fmla="*/ 4243242 h 6380470"/>
              <a:gd name="connsiteX890" fmla="*/ 9938349 w 11625583"/>
              <a:gd name="connsiteY890" fmla="*/ 4178576 h 6380470"/>
              <a:gd name="connsiteX891" fmla="*/ 10003015 w 11625583"/>
              <a:gd name="connsiteY891" fmla="*/ 4113910 h 6380470"/>
              <a:gd name="connsiteX892" fmla="*/ 9850355 w 11625583"/>
              <a:gd name="connsiteY892" fmla="*/ 4113910 h 6380470"/>
              <a:gd name="connsiteX893" fmla="*/ 9915021 w 11625583"/>
              <a:gd name="connsiteY893" fmla="*/ 4178576 h 6380470"/>
              <a:gd name="connsiteX894" fmla="*/ 9850355 w 11625583"/>
              <a:gd name="connsiteY894" fmla="*/ 4243242 h 6380470"/>
              <a:gd name="connsiteX895" fmla="*/ 9785689 w 11625583"/>
              <a:gd name="connsiteY895" fmla="*/ 4178576 h 6380470"/>
              <a:gd name="connsiteX896" fmla="*/ 9850355 w 11625583"/>
              <a:gd name="connsiteY896" fmla="*/ 4113910 h 6380470"/>
              <a:gd name="connsiteX897" fmla="*/ 9384549 w 11625583"/>
              <a:gd name="connsiteY897" fmla="*/ 4113910 h 6380470"/>
              <a:gd name="connsiteX898" fmla="*/ 9449215 w 11625583"/>
              <a:gd name="connsiteY898" fmla="*/ 4178576 h 6380470"/>
              <a:gd name="connsiteX899" fmla="*/ 9384549 w 11625583"/>
              <a:gd name="connsiteY899" fmla="*/ 4243242 h 6380470"/>
              <a:gd name="connsiteX900" fmla="*/ 9319883 w 11625583"/>
              <a:gd name="connsiteY900" fmla="*/ 4178576 h 6380470"/>
              <a:gd name="connsiteX901" fmla="*/ 9384549 w 11625583"/>
              <a:gd name="connsiteY901" fmla="*/ 4113910 h 6380470"/>
              <a:gd name="connsiteX902" fmla="*/ 8914828 w 11625583"/>
              <a:gd name="connsiteY902" fmla="*/ 4113910 h 6380470"/>
              <a:gd name="connsiteX903" fmla="*/ 8979494 w 11625583"/>
              <a:gd name="connsiteY903" fmla="*/ 4178576 h 6380470"/>
              <a:gd name="connsiteX904" fmla="*/ 8914828 w 11625583"/>
              <a:gd name="connsiteY904" fmla="*/ 4243242 h 6380470"/>
              <a:gd name="connsiteX905" fmla="*/ 8850162 w 11625583"/>
              <a:gd name="connsiteY905" fmla="*/ 4178576 h 6380470"/>
              <a:gd name="connsiteX906" fmla="*/ 8914828 w 11625583"/>
              <a:gd name="connsiteY906" fmla="*/ 4113910 h 6380470"/>
              <a:gd name="connsiteX907" fmla="*/ 6742375 w 11625583"/>
              <a:gd name="connsiteY907" fmla="*/ 4113910 h 6380470"/>
              <a:gd name="connsiteX908" fmla="*/ 6807041 w 11625583"/>
              <a:gd name="connsiteY908" fmla="*/ 4178576 h 6380470"/>
              <a:gd name="connsiteX909" fmla="*/ 6742375 w 11625583"/>
              <a:gd name="connsiteY909" fmla="*/ 4243242 h 6380470"/>
              <a:gd name="connsiteX910" fmla="*/ 6677709 w 11625583"/>
              <a:gd name="connsiteY910" fmla="*/ 4178576 h 6380470"/>
              <a:gd name="connsiteX911" fmla="*/ 6742375 w 11625583"/>
              <a:gd name="connsiteY911" fmla="*/ 4113910 h 6380470"/>
              <a:gd name="connsiteX912" fmla="*/ 6585802 w 11625583"/>
              <a:gd name="connsiteY912" fmla="*/ 4113910 h 6380470"/>
              <a:gd name="connsiteX913" fmla="*/ 6650468 w 11625583"/>
              <a:gd name="connsiteY913" fmla="*/ 4178576 h 6380470"/>
              <a:gd name="connsiteX914" fmla="*/ 6585802 w 11625583"/>
              <a:gd name="connsiteY914" fmla="*/ 4243242 h 6380470"/>
              <a:gd name="connsiteX915" fmla="*/ 6521136 w 11625583"/>
              <a:gd name="connsiteY915" fmla="*/ 4178576 h 6380470"/>
              <a:gd name="connsiteX916" fmla="*/ 6585802 w 11625583"/>
              <a:gd name="connsiteY916" fmla="*/ 4113910 h 6380470"/>
              <a:gd name="connsiteX917" fmla="*/ 6429228 w 11625583"/>
              <a:gd name="connsiteY917" fmla="*/ 4113910 h 6380470"/>
              <a:gd name="connsiteX918" fmla="*/ 6493894 w 11625583"/>
              <a:gd name="connsiteY918" fmla="*/ 4178576 h 6380470"/>
              <a:gd name="connsiteX919" fmla="*/ 6429228 w 11625583"/>
              <a:gd name="connsiteY919" fmla="*/ 4243242 h 6380470"/>
              <a:gd name="connsiteX920" fmla="*/ 6364562 w 11625583"/>
              <a:gd name="connsiteY920" fmla="*/ 4178576 h 6380470"/>
              <a:gd name="connsiteX921" fmla="*/ 6429228 w 11625583"/>
              <a:gd name="connsiteY921" fmla="*/ 4113910 h 6380470"/>
              <a:gd name="connsiteX922" fmla="*/ 6276569 w 11625583"/>
              <a:gd name="connsiteY922" fmla="*/ 4113910 h 6380470"/>
              <a:gd name="connsiteX923" fmla="*/ 6341235 w 11625583"/>
              <a:gd name="connsiteY923" fmla="*/ 4178576 h 6380470"/>
              <a:gd name="connsiteX924" fmla="*/ 6276569 w 11625583"/>
              <a:gd name="connsiteY924" fmla="*/ 4243242 h 6380470"/>
              <a:gd name="connsiteX925" fmla="*/ 6211903 w 11625583"/>
              <a:gd name="connsiteY925" fmla="*/ 4178576 h 6380470"/>
              <a:gd name="connsiteX926" fmla="*/ 6276569 w 11625583"/>
              <a:gd name="connsiteY926" fmla="*/ 4113910 h 6380470"/>
              <a:gd name="connsiteX927" fmla="*/ 6119998 w 11625583"/>
              <a:gd name="connsiteY927" fmla="*/ 4113910 h 6380470"/>
              <a:gd name="connsiteX928" fmla="*/ 6184664 w 11625583"/>
              <a:gd name="connsiteY928" fmla="*/ 4178576 h 6380470"/>
              <a:gd name="connsiteX929" fmla="*/ 6119998 w 11625583"/>
              <a:gd name="connsiteY929" fmla="*/ 4243242 h 6380470"/>
              <a:gd name="connsiteX930" fmla="*/ 6055332 w 11625583"/>
              <a:gd name="connsiteY930" fmla="*/ 4178576 h 6380470"/>
              <a:gd name="connsiteX931" fmla="*/ 6119998 w 11625583"/>
              <a:gd name="connsiteY931" fmla="*/ 4113910 h 6380470"/>
              <a:gd name="connsiteX932" fmla="*/ 5967338 w 11625583"/>
              <a:gd name="connsiteY932" fmla="*/ 4113910 h 6380470"/>
              <a:gd name="connsiteX933" fmla="*/ 6032004 w 11625583"/>
              <a:gd name="connsiteY933" fmla="*/ 4178576 h 6380470"/>
              <a:gd name="connsiteX934" fmla="*/ 5967338 w 11625583"/>
              <a:gd name="connsiteY934" fmla="*/ 4243242 h 6380470"/>
              <a:gd name="connsiteX935" fmla="*/ 5902672 w 11625583"/>
              <a:gd name="connsiteY935" fmla="*/ 4178576 h 6380470"/>
              <a:gd name="connsiteX936" fmla="*/ 5967338 w 11625583"/>
              <a:gd name="connsiteY936" fmla="*/ 4113910 h 6380470"/>
              <a:gd name="connsiteX937" fmla="*/ 4256780 w 11625583"/>
              <a:gd name="connsiteY937" fmla="*/ 4113910 h 6380470"/>
              <a:gd name="connsiteX938" fmla="*/ 4321446 w 11625583"/>
              <a:gd name="connsiteY938" fmla="*/ 4178576 h 6380470"/>
              <a:gd name="connsiteX939" fmla="*/ 4256780 w 11625583"/>
              <a:gd name="connsiteY939" fmla="*/ 4243242 h 6380470"/>
              <a:gd name="connsiteX940" fmla="*/ 4192119 w 11625583"/>
              <a:gd name="connsiteY940" fmla="*/ 4178576 h 6380470"/>
              <a:gd name="connsiteX941" fmla="*/ 4256780 w 11625583"/>
              <a:gd name="connsiteY941" fmla="*/ 4113910 h 6380470"/>
              <a:gd name="connsiteX942" fmla="*/ 4100213 w 11625583"/>
              <a:gd name="connsiteY942" fmla="*/ 4113910 h 6380470"/>
              <a:gd name="connsiteX943" fmla="*/ 4164879 w 11625583"/>
              <a:gd name="connsiteY943" fmla="*/ 4178576 h 6380470"/>
              <a:gd name="connsiteX944" fmla="*/ 4100213 w 11625583"/>
              <a:gd name="connsiteY944" fmla="*/ 4243242 h 6380470"/>
              <a:gd name="connsiteX945" fmla="*/ 4035548 w 11625583"/>
              <a:gd name="connsiteY945" fmla="*/ 4178576 h 6380470"/>
              <a:gd name="connsiteX946" fmla="*/ 4100213 w 11625583"/>
              <a:gd name="connsiteY946" fmla="*/ 4113910 h 6380470"/>
              <a:gd name="connsiteX947" fmla="*/ 3947550 w 11625583"/>
              <a:gd name="connsiteY947" fmla="*/ 4113910 h 6380470"/>
              <a:gd name="connsiteX948" fmla="*/ 4012217 w 11625583"/>
              <a:gd name="connsiteY948" fmla="*/ 4178576 h 6380470"/>
              <a:gd name="connsiteX949" fmla="*/ 3947550 w 11625583"/>
              <a:gd name="connsiteY949" fmla="*/ 4243242 h 6380470"/>
              <a:gd name="connsiteX950" fmla="*/ 3882906 w 11625583"/>
              <a:gd name="connsiteY950" fmla="*/ 4178576 h 6380470"/>
              <a:gd name="connsiteX951" fmla="*/ 3947550 w 11625583"/>
              <a:gd name="connsiteY951" fmla="*/ 4113910 h 6380470"/>
              <a:gd name="connsiteX952" fmla="*/ 3791000 w 11625583"/>
              <a:gd name="connsiteY952" fmla="*/ 4113910 h 6380470"/>
              <a:gd name="connsiteX953" fmla="*/ 3855665 w 11625583"/>
              <a:gd name="connsiteY953" fmla="*/ 4178576 h 6380470"/>
              <a:gd name="connsiteX954" fmla="*/ 3791000 w 11625583"/>
              <a:gd name="connsiteY954" fmla="*/ 4243242 h 6380470"/>
              <a:gd name="connsiteX955" fmla="*/ 3726332 w 11625583"/>
              <a:gd name="connsiteY955" fmla="*/ 4178576 h 6380470"/>
              <a:gd name="connsiteX956" fmla="*/ 3791000 w 11625583"/>
              <a:gd name="connsiteY956" fmla="*/ 4113910 h 6380470"/>
              <a:gd name="connsiteX957" fmla="*/ 3630513 w 11625583"/>
              <a:gd name="connsiteY957" fmla="*/ 4113910 h 6380470"/>
              <a:gd name="connsiteX958" fmla="*/ 3695178 w 11625583"/>
              <a:gd name="connsiteY958" fmla="*/ 4178576 h 6380470"/>
              <a:gd name="connsiteX959" fmla="*/ 3630513 w 11625583"/>
              <a:gd name="connsiteY959" fmla="*/ 4243242 h 6380470"/>
              <a:gd name="connsiteX960" fmla="*/ 3565843 w 11625583"/>
              <a:gd name="connsiteY960" fmla="*/ 4178576 h 6380470"/>
              <a:gd name="connsiteX961" fmla="*/ 3630513 w 11625583"/>
              <a:gd name="connsiteY961" fmla="*/ 4113910 h 6380470"/>
              <a:gd name="connsiteX962" fmla="*/ 3481765 w 11625583"/>
              <a:gd name="connsiteY962" fmla="*/ 4113910 h 6380470"/>
              <a:gd name="connsiteX963" fmla="*/ 3546432 w 11625583"/>
              <a:gd name="connsiteY963" fmla="*/ 4178576 h 6380470"/>
              <a:gd name="connsiteX964" fmla="*/ 3481765 w 11625583"/>
              <a:gd name="connsiteY964" fmla="*/ 4243242 h 6380470"/>
              <a:gd name="connsiteX965" fmla="*/ 3417102 w 11625583"/>
              <a:gd name="connsiteY965" fmla="*/ 4178576 h 6380470"/>
              <a:gd name="connsiteX966" fmla="*/ 3481765 w 11625583"/>
              <a:gd name="connsiteY966" fmla="*/ 4113910 h 6380470"/>
              <a:gd name="connsiteX967" fmla="*/ 3321284 w 11625583"/>
              <a:gd name="connsiteY967" fmla="*/ 4113910 h 6380470"/>
              <a:gd name="connsiteX968" fmla="*/ 3385944 w 11625583"/>
              <a:gd name="connsiteY968" fmla="*/ 4178576 h 6380470"/>
              <a:gd name="connsiteX969" fmla="*/ 3321284 w 11625583"/>
              <a:gd name="connsiteY969" fmla="*/ 4243242 h 6380470"/>
              <a:gd name="connsiteX970" fmla="*/ 3256621 w 11625583"/>
              <a:gd name="connsiteY970" fmla="*/ 4178576 h 6380470"/>
              <a:gd name="connsiteX971" fmla="*/ 3321284 w 11625583"/>
              <a:gd name="connsiteY971" fmla="*/ 4113910 h 6380470"/>
              <a:gd name="connsiteX972" fmla="*/ 3172536 w 11625583"/>
              <a:gd name="connsiteY972" fmla="*/ 4113910 h 6380470"/>
              <a:gd name="connsiteX973" fmla="*/ 3237201 w 11625583"/>
              <a:gd name="connsiteY973" fmla="*/ 4178576 h 6380470"/>
              <a:gd name="connsiteX974" fmla="*/ 3172536 w 11625583"/>
              <a:gd name="connsiteY974" fmla="*/ 4243242 h 6380470"/>
              <a:gd name="connsiteX975" fmla="*/ 3107865 w 11625583"/>
              <a:gd name="connsiteY975" fmla="*/ 4178576 h 6380470"/>
              <a:gd name="connsiteX976" fmla="*/ 3172536 w 11625583"/>
              <a:gd name="connsiteY976" fmla="*/ 4113910 h 6380470"/>
              <a:gd name="connsiteX977" fmla="*/ 3012042 w 11625583"/>
              <a:gd name="connsiteY977" fmla="*/ 4113910 h 6380470"/>
              <a:gd name="connsiteX978" fmla="*/ 3076709 w 11625583"/>
              <a:gd name="connsiteY978" fmla="*/ 4178576 h 6380470"/>
              <a:gd name="connsiteX979" fmla="*/ 3012042 w 11625583"/>
              <a:gd name="connsiteY979" fmla="*/ 4243242 h 6380470"/>
              <a:gd name="connsiteX980" fmla="*/ 2947378 w 11625583"/>
              <a:gd name="connsiteY980" fmla="*/ 4178576 h 6380470"/>
              <a:gd name="connsiteX981" fmla="*/ 3012042 w 11625583"/>
              <a:gd name="connsiteY981" fmla="*/ 4113910 h 6380470"/>
              <a:gd name="connsiteX982" fmla="*/ 2855474 w 11625583"/>
              <a:gd name="connsiteY982" fmla="*/ 4113910 h 6380470"/>
              <a:gd name="connsiteX983" fmla="*/ 2920138 w 11625583"/>
              <a:gd name="connsiteY983" fmla="*/ 4178576 h 6380470"/>
              <a:gd name="connsiteX984" fmla="*/ 2855474 w 11625583"/>
              <a:gd name="connsiteY984" fmla="*/ 4243242 h 6380470"/>
              <a:gd name="connsiteX985" fmla="*/ 2790811 w 11625583"/>
              <a:gd name="connsiteY985" fmla="*/ 4178576 h 6380470"/>
              <a:gd name="connsiteX986" fmla="*/ 2855474 w 11625583"/>
              <a:gd name="connsiteY986" fmla="*/ 4113910 h 6380470"/>
              <a:gd name="connsiteX987" fmla="*/ 9384549 w 11625583"/>
              <a:gd name="connsiteY987" fmla="*/ 3972994 h 6380470"/>
              <a:gd name="connsiteX988" fmla="*/ 9449215 w 11625583"/>
              <a:gd name="connsiteY988" fmla="*/ 4037660 h 6380470"/>
              <a:gd name="connsiteX989" fmla="*/ 9384549 w 11625583"/>
              <a:gd name="connsiteY989" fmla="*/ 4102326 h 6380470"/>
              <a:gd name="connsiteX990" fmla="*/ 9319883 w 11625583"/>
              <a:gd name="connsiteY990" fmla="*/ 4037660 h 6380470"/>
              <a:gd name="connsiteX991" fmla="*/ 9384549 w 11625583"/>
              <a:gd name="connsiteY991" fmla="*/ 3972994 h 6380470"/>
              <a:gd name="connsiteX992" fmla="*/ 9227976 w 11625583"/>
              <a:gd name="connsiteY992" fmla="*/ 3972994 h 6380470"/>
              <a:gd name="connsiteX993" fmla="*/ 9292642 w 11625583"/>
              <a:gd name="connsiteY993" fmla="*/ 4037660 h 6380470"/>
              <a:gd name="connsiteX994" fmla="*/ 9227976 w 11625583"/>
              <a:gd name="connsiteY994" fmla="*/ 4102326 h 6380470"/>
              <a:gd name="connsiteX995" fmla="*/ 9163310 w 11625583"/>
              <a:gd name="connsiteY995" fmla="*/ 4037660 h 6380470"/>
              <a:gd name="connsiteX996" fmla="*/ 9227976 w 11625583"/>
              <a:gd name="connsiteY996" fmla="*/ 3972994 h 6380470"/>
              <a:gd name="connsiteX997" fmla="*/ 9075316 w 11625583"/>
              <a:gd name="connsiteY997" fmla="*/ 3972994 h 6380470"/>
              <a:gd name="connsiteX998" fmla="*/ 9139982 w 11625583"/>
              <a:gd name="connsiteY998" fmla="*/ 4037660 h 6380470"/>
              <a:gd name="connsiteX999" fmla="*/ 9075316 w 11625583"/>
              <a:gd name="connsiteY999" fmla="*/ 4102326 h 6380470"/>
              <a:gd name="connsiteX1000" fmla="*/ 9010650 w 11625583"/>
              <a:gd name="connsiteY1000" fmla="*/ 4037660 h 6380470"/>
              <a:gd name="connsiteX1001" fmla="*/ 9075316 w 11625583"/>
              <a:gd name="connsiteY1001" fmla="*/ 3972994 h 6380470"/>
              <a:gd name="connsiteX1002" fmla="*/ 8766084 w 11625583"/>
              <a:gd name="connsiteY1002" fmla="*/ 3972994 h 6380470"/>
              <a:gd name="connsiteX1003" fmla="*/ 8830750 w 11625583"/>
              <a:gd name="connsiteY1003" fmla="*/ 4037660 h 6380470"/>
              <a:gd name="connsiteX1004" fmla="*/ 8766084 w 11625583"/>
              <a:gd name="connsiteY1004" fmla="*/ 4102326 h 6380470"/>
              <a:gd name="connsiteX1005" fmla="*/ 8701418 w 11625583"/>
              <a:gd name="connsiteY1005" fmla="*/ 4037660 h 6380470"/>
              <a:gd name="connsiteX1006" fmla="*/ 8766084 w 11625583"/>
              <a:gd name="connsiteY1006" fmla="*/ 3972994 h 6380470"/>
              <a:gd name="connsiteX1007" fmla="*/ 6895035 w 11625583"/>
              <a:gd name="connsiteY1007" fmla="*/ 3972994 h 6380470"/>
              <a:gd name="connsiteX1008" fmla="*/ 6959701 w 11625583"/>
              <a:gd name="connsiteY1008" fmla="*/ 4037660 h 6380470"/>
              <a:gd name="connsiteX1009" fmla="*/ 6895035 w 11625583"/>
              <a:gd name="connsiteY1009" fmla="*/ 4102326 h 6380470"/>
              <a:gd name="connsiteX1010" fmla="*/ 6830369 w 11625583"/>
              <a:gd name="connsiteY1010" fmla="*/ 4037660 h 6380470"/>
              <a:gd name="connsiteX1011" fmla="*/ 6895035 w 11625583"/>
              <a:gd name="connsiteY1011" fmla="*/ 3972994 h 6380470"/>
              <a:gd name="connsiteX1012" fmla="*/ 6742375 w 11625583"/>
              <a:gd name="connsiteY1012" fmla="*/ 3972994 h 6380470"/>
              <a:gd name="connsiteX1013" fmla="*/ 6807041 w 11625583"/>
              <a:gd name="connsiteY1013" fmla="*/ 4037660 h 6380470"/>
              <a:gd name="connsiteX1014" fmla="*/ 6742375 w 11625583"/>
              <a:gd name="connsiteY1014" fmla="*/ 4102326 h 6380470"/>
              <a:gd name="connsiteX1015" fmla="*/ 6677709 w 11625583"/>
              <a:gd name="connsiteY1015" fmla="*/ 4037660 h 6380470"/>
              <a:gd name="connsiteX1016" fmla="*/ 6742375 w 11625583"/>
              <a:gd name="connsiteY1016" fmla="*/ 3972994 h 6380470"/>
              <a:gd name="connsiteX1017" fmla="*/ 6585802 w 11625583"/>
              <a:gd name="connsiteY1017" fmla="*/ 3972994 h 6380470"/>
              <a:gd name="connsiteX1018" fmla="*/ 6650468 w 11625583"/>
              <a:gd name="connsiteY1018" fmla="*/ 4037660 h 6380470"/>
              <a:gd name="connsiteX1019" fmla="*/ 6585802 w 11625583"/>
              <a:gd name="connsiteY1019" fmla="*/ 4102326 h 6380470"/>
              <a:gd name="connsiteX1020" fmla="*/ 6521136 w 11625583"/>
              <a:gd name="connsiteY1020" fmla="*/ 4037660 h 6380470"/>
              <a:gd name="connsiteX1021" fmla="*/ 6585802 w 11625583"/>
              <a:gd name="connsiteY1021" fmla="*/ 3972994 h 6380470"/>
              <a:gd name="connsiteX1022" fmla="*/ 6429228 w 11625583"/>
              <a:gd name="connsiteY1022" fmla="*/ 3972994 h 6380470"/>
              <a:gd name="connsiteX1023" fmla="*/ 6493894 w 11625583"/>
              <a:gd name="connsiteY1023" fmla="*/ 4037660 h 6380470"/>
              <a:gd name="connsiteX1024" fmla="*/ 6429228 w 11625583"/>
              <a:gd name="connsiteY1024" fmla="*/ 4102326 h 6380470"/>
              <a:gd name="connsiteX1025" fmla="*/ 6364562 w 11625583"/>
              <a:gd name="connsiteY1025" fmla="*/ 4037660 h 6380470"/>
              <a:gd name="connsiteX1026" fmla="*/ 6429228 w 11625583"/>
              <a:gd name="connsiteY1026" fmla="*/ 3972994 h 6380470"/>
              <a:gd name="connsiteX1027" fmla="*/ 6276569 w 11625583"/>
              <a:gd name="connsiteY1027" fmla="*/ 3972994 h 6380470"/>
              <a:gd name="connsiteX1028" fmla="*/ 6341235 w 11625583"/>
              <a:gd name="connsiteY1028" fmla="*/ 4037660 h 6380470"/>
              <a:gd name="connsiteX1029" fmla="*/ 6276569 w 11625583"/>
              <a:gd name="connsiteY1029" fmla="*/ 4102326 h 6380470"/>
              <a:gd name="connsiteX1030" fmla="*/ 6211903 w 11625583"/>
              <a:gd name="connsiteY1030" fmla="*/ 4037660 h 6380470"/>
              <a:gd name="connsiteX1031" fmla="*/ 6276569 w 11625583"/>
              <a:gd name="connsiteY1031" fmla="*/ 3972994 h 6380470"/>
              <a:gd name="connsiteX1032" fmla="*/ 6119998 w 11625583"/>
              <a:gd name="connsiteY1032" fmla="*/ 3972994 h 6380470"/>
              <a:gd name="connsiteX1033" fmla="*/ 6184664 w 11625583"/>
              <a:gd name="connsiteY1033" fmla="*/ 4037660 h 6380470"/>
              <a:gd name="connsiteX1034" fmla="*/ 6119998 w 11625583"/>
              <a:gd name="connsiteY1034" fmla="*/ 4102326 h 6380470"/>
              <a:gd name="connsiteX1035" fmla="*/ 6055332 w 11625583"/>
              <a:gd name="connsiteY1035" fmla="*/ 4037660 h 6380470"/>
              <a:gd name="connsiteX1036" fmla="*/ 6119998 w 11625583"/>
              <a:gd name="connsiteY1036" fmla="*/ 3972994 h 6380470"/>
              <a:gd name="connsiteX1037" fmla="*/ 5967338 w 11625583"/>
              <a:gd name="connsiteY1037" fmla="*/ 3972994 h 6380470"/>
              <a:gd name="connsiteX1038" fmla="*/ 6032004 w 11625583"/>
              <a:gd name="connsiteY1038" fmla="*/ 4037660 h 6380470"/>
              <a:gd name="connsiteX1039" fmla="*/ 5967338 w 11625583"/>
              <a:gd name="connsiteY1039" fmla="*/ 4102326 h 6380470"/>
              <a:gd name="connsiteX1040" fmla="*/ 5902672 w 11625583"/>
              <a:gd name="connsiteY1040" fmla="*/ 4037660 h 6380470"/>
              <a:gd name="connsiteX1041" fmla="*/ 5967338 w 11625583"/>
              <a:gd name="connsiteY1041" fmla="*/ 3972994 h 6380470"/>
              <a:gd name="connsiteX1042" fmla="*/ 5810774 w 11625583"/>
              <a:gd name="connsiteY1042" fmla="*/ 3972994 h 6380470"/>
              <a:gd name="connsiteX1043" fmla="*/ 5875431 w 11625583"/>
              <a:gd name="connsiteY1043" fmla="*/ 4037660 h 6380470"/>
              <a:gd name="connsiteX1044" fmla="*/ 5810774 w 11625583"/>
              <a:gd name="connsiteY1044" fmla="*/ 4102326 h 6380470"/>
              <a:gd name="connsiteX1045" fmla="*/ 5746103 w 11625583"/>
              <a:gd name="connsiteY1045" fmla="*/ 4037660 h 6380470"/>
              <a:gd name="connsiteX1046" fmla="*/ 5810774 w 11625583"/>
              <a:gd name="connsiteY1046" fmla="*/ 3972994 h 6380470"/>
              <a:gd name="connsiteX1047" fmla="*/ 3947550 w 11625583"/>
              <a:gd name="connsiteY1047" fmla="*/ 3972994 h 6380470"/>
              <a:gd name="connsiteX1048" fmla="*/ 4012219 w 11625583"/>
              <a:gd name="connsiteY1048" fmla="*/ 4037660 h 6380470"/>
              <a:gd name="connsiteX1049" fmla="*/ 3947550 w 11625583"/>
              <a:gd name="connsiteY1049" fmla="*/ 4102326 h 6380470"/>
              <a:gd name="connsiteX1050" fmla="*/ 3882909 w 11625583"/>
              <a:gd name="connsiteY1050" fmla="*/ 4037660 h 6380470"/>
              <a:gd name="connsiteX1051" fmla="*/ 3947550 w 11625583"/>
              <a:gd name="connsiteY1051" fmla="*/ 3972994 h 6380470"/>
              <a:gd name="connsiteX1052" fmla="*/ 3791003 w 11625583"/>
              <a:gd name="connsiteY1052" fmla="*/ 3972994 h 6380470"/>
              <a:gd name="connsiteX1053" fmla="*/ 3855668 w 11625583"/>
              <a:gd name="connsiteY1053" fmla="*/ 4037660 h 6380470"/>
              <a:gd name="connsiteX1054" fmla="*/ 3791003 w 11625583"/>
              <a:gd name="connsiteY1054" fmla="*/ 4102326 h 6380470"/>
              <a:gd name="connsiteX1055" fmla="*/ 3726335 w 11625583"/>
              <a:gd name="connsiteY1055" fmla="*/ 4037660 h 6380470"/>
              <a:gd name="connsiteX1056" fmla="*/ 3791003 w 11625583"/>
              <a:gd name="connsiteY1056" fmla="*/ 3972994 h 6380470"/>
              <a:gd name="connsiteX1057" fmla="*/ 3630515 w 11625583"/>
              <a:gd name="connsiteY1057" fmla="*/ 3972994 h 6380470"/>
              <a:gd name="connsiteX1058" fmla="*/ 3695180 w 11625583"/>
              <a:gd name="connsiteY1058" fmla="*/ 4037660 h 6380470"/>
              <a:gd name="connsiteX1059" fmla="*/ 3630515 w 11625583"/>
              <a:gd name="connsiteY1059" fmla="*/ 4102326 h 6380470"/>
              <a:gd name="connsiteX1060" fmla="*/ 3565845 w 11625583"/>
              <a:gd name="connsiteY1060" fmla="*/ 4037660 h 6380470"/>
              <a:gd name="connsiteX1061" fmla="*/ 3630515 w 11625583"/>
              <a:gd name="connsiteY1061" fmla="*/ 3972994 h 6380470"/>
              <a:gd name="connsiteX1062" fmla="*/ 3481768 w 11625583"/>
              <a:gd name="connsiteY1062" fmla="*/ 3972994 h 6380470"/>
              <a:gd name="connsiteX1063" fmla="*/ 3546437 w 11625583"/>
              <a:gd name="connsiteY1063" fmla="*/ 4037660 h 6380470"/>
              <a:gd name="connsiteX1064" fmla="*/ 3481768 w 11625583"/>
              <a:gd name="connsiteY1064" fmla="*/ 4102326 h 6380470"/>
              <a:gd name="connsiteX1065" fmla="*/ 3417106 w 11625583"/>
              <a:gd name="connsiteY1065" fmla="*/ 4037660 h 6380470"/>
              <a:gd name="connsiteX1066" fmla="*/ 3481768 w 11625583"/>
              <a:gd name="connsiteY1066" fmla="*/ 3972994 h 6380470"/>
              <a:gd name="connsiteX1067" fmla="*/ 3321288 w 11625583"/>
              <a:gd name="connsiteY1067" fmla="*/ 3972994 h 6380470"/>
              <a:gd name="connsiteX1068" fmla="*/ 3385949 w 11625583"/>
              <a:gd name="connsiteY1068" fmla="*/ 4037660 h 6380470"/>
              <a:gd name="connsiteX1069" fmla="*/ 3321288 w 11625583"/>
              <a:gd name="connsiteY1069" fmla="*/ 4102326 h 6380470"/>
              <a:gd name="connsiteX1070" fmla="*/ 3256626 w 11625583"/>
              <a:gd name="connsiteY1070" fmla="*/ 4037660 h 6380470"/>
              <a:gd name="connsiteX1071" fmla="*/ 3321288 w 11625583"/>
              <a:gd name="connsiteY1071" fmla="*/ 3972994 h 6380470"/>
              <a:gd name="connsiteX1072" fmla="*/ 3172540 w 11625583"/>
              <a:gd name="connsiteY1072" fmla="*/ 3972994 h 6380470"/>
              <a:gd name="connsiteX1073" fmla="*/ 3237208 w 11625583"/>
              <a:gd name="connsiteY1073" fmla="*/ 4037660 h 6380470"/>
              <a:gd name="connsiteX1074" fmla="*/ 3172540 w 11625583"/>
              <a:gd name="connsiteY1074" fmla="*/ 4102326 h 6380470"/>
              <a:gd name="connsiteX1075" fmla="*/ 3107868 w 11625583"/>
              <a:gd name="connsiteY1075" fmla="*/ 4037660 h 6380470"/>
              <a:gd name="connsiteX1076" fmla="*/ 3172540 w 11625583"/>
              <a:gd name="connsiteY1076" fmla="*/ 3972994 h 6380470"/>
              <a:gd name="connsiteX1077" fmla="*/ 3012045 w 11625583"/>
              <a:gd name="connsiteY1077" fmla="*/ 3972994 h 6380470"/>
              <a:gd name="connsiteX1078" fmla="*/ 3076711 w 11625583"/>
              <a:gd name="connsiteY1078" fmla="*/ 4037660 h 6380470"/>
              <a:gd name="connsiteX1079" fmla="*/ 3012045 w 11625583"/>
              <a:gd name="connsiteY1079" fmla="*/ 4102326 h 6380470"/>
              <a:gd name="connsiteX1080" fmla="*/ 2947381 w 11625583"/>
              <a:gd name="connsiteY1080" fmla="*/ 4037660 h 6380470"/>
              <a:gd name="connsiteX1081" fmla="*/ 3012045 w 11625583"/>
              <a:gd name="connsiteY1081" fmla="*/ 3972994 h 6380470"/>
              <a:gd name="connsiteX1082" fmla="*/ 2855478 w 11625583"/>
              <a:gd name="connsiteY1082" fmla="*/ 3972994 h 6380470"/>
              <a:gd name="connsiteX1083" fmla="*/ 2920141 w 11625583"/>
              <a:gd name="connsiteY1083" fmla="*/ 4037660 h 6380470"/>
              <a:gd name="connsiteX1084" fmla="*/ 2855478 w 11625583"/>
              <a:gd name="connsiteY1084" fmla="*/ 4102326 h 6380470"/>
              <a:gd name="connsiteX1085" fmla="*/ 2790815 w 11625583"/>
              <a:gd name="connsiteY1085" fmla="*/ 4037660 h 6380470"/>
              <a:gd name="connsiteX1086" fmla="*/ 2855478 w 11625583"/>
              <a:gd name="connsiteY1086" fmla="*/ 3972994 h 6380470"/>
              <a:gd name="connsiteX1087" fmla="*/ 6742377 w 11625583"/>
              <a:gd name="connsiteY1087" fmla="*/ 3835996 h 6380470"/>
              <a:gd name="connsiteX1088" fmla="*/ 6807043 w 11625583"/>
              <a:gd name="connsiteY1088" fmla="*/ 3900662 h 6380470"/>
              <a:gd name="connsiteX1089" fmla="*/ 6742377 w 11625583"/>
              <a:gd name="connsiteY1089" fmla="*/ 3965328 h 6380470"/>
              <a:gd name="connsiteX1090" fmla="*/ 6677711 w 11625583"/>
              <a:gd name="connsiteY1090" fmla="*/ 3900662 h 6380470"/>
              <a:gd name="connsiteX1091" fmla="*/ 6742377 w 11625583"/>
              <a:gd name="connsiteY1091" fmla="*/ 3835996 h 6380470"/>
              <a:gd name="connsiteX1092" fmla="*/ 6585804 w 11625583"/>
              <a:gd name="connsiteY1092" fmla="*/ 3835996 h 6380470"/>
              <a:gd name="connsiteX1093" fmla="*/ 6650470 w 11625583"/>
              <a:gd name="connsiteY1093" fmla="*/ 3900662 h 6380470"/>
              <a:gd name="connsiteX1094" fmla="*/ 6585804 w 11625583"/>
              <a:gd name="connsiteY1094" fmla="*/ 3965328 h 6380470"/>
              <a:gd name="connsiteX1095" fmla="*/ 6521138 w 11625583"/>
              <a:gd name="connsiteY1095" fmla="*/ 3900662 h 6380470"/>
              <a:gd name="connsiteX1096" fmla="*/ 6585804 w 11625583"/>
              <a:gd name="connsiteY1096" fmla="*/ 3835996 h 6380470"/>
              <a:gd name="connsiteX1097" fmla="*/ 6429231 w 11625583"/>
              <a:gd name="connsiteY1097" fmla="*/ 3835996 h 6380470"/>
              <a:gd name="connsiteX1098" fmla="*/ 6493897 w 11625583"/>
              <a:gd name="connsiteY1098" fmla="*/ 3900662 h 6380470"/>
              <a:gd name="connsiteX1099" fmla="*/ 6429231 w 11625583"/>
              <a:gd name="connsiteY1099" fmla="*/ 3965328 h 6380470"/>
              <a:gd name="connsiteX1100" fmla="*/ 6364565 w 11625583"/>
              <a:gd name="connsiteY1100" fmla="*/ 3900662 h 6380470"/>
              <a:gd name="connsiteX1101" fmla="*/ 6429231 w 11625583"/>
              <a:gd name="connsiteY1101" fmla="*/ 3835996 h 6380470"/>
              <a:gd name="connsiteX1102" fmla="*/ 6276571 w 11625583"/>
              <a:gd name="connsiteY1102" fmla="*/ 3835996 h 6380470"/>
              <a:gd name="connsiteX1103" fmla="*/ 6341237 w 11625583"/>
              <a:gd name="connsiteY1103" fmla="*/ 3900662 h 6380470"/>
              <a:gd name="connsiteX1104" fmla="*/ 6276571 w 11625583"/>
              <a:gd name="connsiteY1104" fmla="*/ 3965328 h 6380470"/>
              <a:gd name="connsiteX1105" fmla="*/ 6211905 w 11625583"/>
              <a:gd name="connsiteY1105" fmla="*/ 3900662 h 6380470"/>
              <a:gd name="connsiteX1106" fmla="*/ 6276571 w 11625583"/>
              <a:gd name="connsiteY1106" fmla="*/ 3835996 h 6380470"/>
              <a:gd name="connsiteX1107" fmla="*/ 6119999 w 11625583"/>
              <a:gd name="connsiteY1107" fmla="*/ 3835996 h 6380470"/>
              <a:gd name="connsiteX1108" fmla="*/ 6184665 w 11625583"/>
              <a:gd name="connsiteY1108" fmla="*/ 3900662 h 6380470"/>
              <a:gd name="connsiteX1109" fmla="*/ 6119999 w 11625583"/>
              <a:gd name="connsiteY1109" fmla="*/ 3965328 h 6380470"/>
              <a:gd name="connsiteX1110" fmla="*/ 6055333 w 11625583"/>
              <a:gd name="connsiteY1110" fmla="*/ 3900662 h 6380470"/>
              <a:gd name="connsiteX1111" fmla="*/ 6119999 w 11625583"/>
              <a:gd name="connsiteY1111" fmla="*/ 3835996 h 6380470"/>
              <a:gd name="connsiteX1112" fmla="*/ 5967339 w 11625583"/>
              <a:gd name="connsiteY1112" fmla="*/ 3835996 h 6380470"/>
              <a:gd name="connsiteX1113" fmla="*/ 6032005 w 11625583"/>
              <a:gd name="connsiteY1113" fmla="*/ 3900662 h 6380470"/>
              <a:gd name="connsiteX1114" fmla="*/ 5967339 w 11625583"/>
              <a:gd name="connsiteY1114" fmla="*/ 3965328 h 6380470"/>
              <a:gd name="connsiteX1115" fmla="*/ 5902673 w 11625583"/>
              <a:gd name="connsiteY1115" fmla="*/ 3900662 h 6380470"/>
              <a:gd name="connsiteX1116" fmla="*/ 5967339 w 11625583"/>
              <a:gd name="connsiteY1116" fmla="*/ 3835996 h 6380470"/>
              <a:gd name="connsiteX1117" fmla="*/ 5810776 w 11625583"/>
              <a:gd name="connsiteY1117" fmla="*/ 3835996 h 6380470"/>
              <a:gd name="connsiteX1118" fmla="*/ 5875432 w 11625583"/>
              <a:gd name="connsiteY1118" fmla="*/ 3900662 h 6380470"/>
              <a:gd name="connsiteX1119" fmla="*/ 5810776 w 11625583"/>
              <a:gd name="connsiteY1119" fmla="*/ 3965328 h 6380470"/>
              <a:gd name="connsiteX1120" fmla="*/ 5746106 w 11625583"/>
              <a:gd name="connsiteY1120" fmla="*/ 3900662 h 6380470"/>
              <a:gd name="connsiteX1121" fmla="*/ 5810776 w 11625583"/>
              <a:gd name="connsiteY1121" fmla="*/ 3835996 h 6380470"/>
              <a:gd name="connsiteX1122" fmla="*/ 3791007 w 11625583"/>
              <a:gd name="connsiteY1122" fmla="*/ 3835996 h 6380470"/>
              <a:gd name="connsiteX1123" fmla="*/ 3855672 w 11625583"/>
              <a:gd name="connsiteY1123" fmla="*/ 3900662 h 6380470"/>
              <a:gd name="connsiteX1124" fmla="*/ 3791007 w 11625583"/>
              <a:gd name="connsiteY1124" fmla="*/ 3965328 h 6380470"/>
              <a:gd name="connsiteX1125" fmla="*/ 3726338 w 11625583"/>
              <a:gd name="connsiteY1125" fmla="*/ 3900662 h 6380470"/>
              <a:gd name="connsiteX1126" fmla="*/ 3791007 w 11625583"/>
              <a:gd name="connsiteY1126" fmla="*/ 3835996 h 6380470"/>
              <a:gd name="connsiteX1127" fmla="*/ 3630520 w 11625583"/>
              <a:gd name="connsiteY1127" fmla="*/ 3835996 h 6380470"/>
              <a:gd name="connsiteX1128" fmla="*/ 3695188 w 11625583"/>
              <a:gd name="connsiteY1128" fmla="*/ 3900662 h 6380470"/>
              <a:gd name="connsiteX1129" fmla="*/ 3630520 w 11625583"/>
              <a:gd name="connsiteY1129" fmla="*/ 3965328 h 6380470"/>
              <a:gd name="connsiteX1130" fmla="*/ 3565851 w 11625583"/>
              <a:gd name="connsiteY1130" fmla="*/ 3900662 h 6380470"/>
              <a:gd name="connsiteX1131" fmla="*/ 3630520 w 11625583"/>
              <a:gd name="connsiteY1131" fmla="*/ 3835996 h 6380470"/>
              <a:gd name="connsiteX1132" fmla="*/ 3481771 w 11625583"/>
              <a:gd name="connsiteY1132" fmla="*/ 3835996 h 6380470"/>
              <a:gd name="connsiteX1133" fmla="*/ 3546439 w 11625583"/>
              <a:gd name="connsiteY1133" fmla="*/ 3900662 h 6380470"/>
              <a:gd name="connsiteX1134" fmla="*/ 3481771 w 11625583"/>
              <a:gd name="connsiteY1134" fmla="*/ 3965328 h 6380470"/>
              <a:gd name="connsiteX1135" fmla="*/ 3417108 w 11625583"/>
              <a:gd name="connsiteY1135" fmla="*/ 3900662 h 6380470"/>
              <a:gd name="connsiteX1136" fmla="*/ 3481771 w 11625583"/>
              <a:gd name="connsiteY1136" fmla="*/ 3835996 h 6380470"/>
              <a:gd name="connsiteX1137" fmla="*/ 3321291 w 11625583"/>
              <a:gd name="connsiteY1137" fmla="*/ 3835996 h 6380470"/>
              <a:gd name="connsiteX1138" fmla="*/ 3385951 w 11625583"/>
              <a:gd name="connsiteY1138" fmla="*/ 3900662 h 6380470"/>
              <a:gd name="connsiteX1139" fmla="*/ 3321291 w 11625583"/>
              <a:gd name="connsiteY1139" fmla="*/ 3965328 h 6380470"/>
              <a:gd name="connsiteX1140" fmla="*/ 3256626 w 11625583"/>
              <a:gd name="connsiteY1140" fmla="*/ 3900662 h 6380470"/>
              <a:gd name="connsiteX1141" fmla="*/ 3321291 w 11625583"/>
              <a:gd name="connsiteY1141" fmla="*/ 3835996 h 6380470"/>
              <a:gd name="connsiteX1142" fmla="*/ 3172544 w 11625583"/>
              <a:gd name="connsiteY1142" fmla="*/ 3835996 h 6380470"/>
              <a:gd name="connsiteX1143" fmla="*/ 3237212 w 11625583"/>
              <a:gd name="connsiteY1143" fmla="*/ 3900662 h 6380470"/>
              <a:gd name="connsiteX1144" fmla="*/ 3172544 w 11625583"/>
              <a:gd name="connsiteY1144" fmla="*/ 3965328 h 6380470"/>
              <a:gd name="connsiteX1145" fmla="*/ 3107874 w 11625583"/>
              <a:gd name="connsiteY1145" fmla="*/ 3900662 h 6380470"/>
              <a:gd name="connsiteX1146" fmla="*/ 3172544 w 11625583"/>
              <a:gd name="connsiteY1146" fmla="*/ 3835996 h 6380470"/>
              <a:gd name="connsiteX1147" fmla="*/ 3012048 w 11625583"/>
              <a:gd name="connsiteY1147" fmla="*/ 3835996 h 6380470"/>
              <a:gd name="connsiteX1148" fmla="*/ 3076714 w 11625583"/>
              <a:gd name="connsiteY1148" fmla="*/ 3900662 h 6380470"/>
              <a:gd name="connsiteX1149" fmla="*/ 3012048 w 11625583"/>
              <a:gd name="connsiteY1149" fmla="*/ 3965328 h 6380470"/>
              <a:gd name="connsiteX1150" fmla="*/ 2947384 w 11625583"/>
              <a:gd name="connsiteY1150" fmla="*/ 3900662 h 6380470"/>
              <a:gd name="connsiteX1151" fmla="*/ 3012048 w 11625583"/>
              <a:gd name="connsiteY1151" fmla="*/ 3835996 h 6380470"/>
              <a:gd name="connsiteX1152" fmla="*/ 9227976 w 11625583"/>
              <a:gd name="connsiteY1152" fmla="*/ 3835993 h 6380470"/>
              <a:gd name="connsiteX1153" fmla="*/ 9292642 w 11625583"/>
              <a:gd name="connsiteY1153" fmla="*/ 3900659 h 6380470"/>
              <a:gd name="connsiteX1154" fmla="*/ 9227976 w 11625583"/>
              <a:gd name="connsiteY1154" fmla="*/ 3965325 h 6380470"/>
              <a:gd name="connsiteX1155" fmla="*/ 9163310 w 11625583"/>
              <a:gd name="connsiteY1155" fmla="*/ 3900659 h 6380470"/>
              <a:gd name="connsiteX1156" fmla="*/ 9227976 w 11625583"/>
              <a:gd name="connsiteY1156" fmla="*/ 3835993 h 6380470"/>
              <a:gd name="connsiteX1157" fmla="*/ 8766084 w 11625583"/>
              <a:gd name="connsiteY1157" fmla="*/ 3835993 h 6380470"/>
              <a:gd name="connsiteX1158" fmla="*/ 8830750 w 11625583"/>
              <a:gd name="connsiteY1158" fmla="*/ 3900659 h 6380470"/>
              <a:gd name="connsiteX1159" fmla="*/ 8766084 w 11625583"/>
              <a:gd name="connsiteY1159" fmla="*/ 3965325 h 6380470"/>
              <a:gd name="connsiteX1160" fmla="*/ 8701418 w 11625583"/>
              <a:gd name="connsiteY1160" fmla="*/ 3900659 h 6380470"/>
              <a:gd name="connsiteX1161" fmla="*/ 8766084 w 11625583"/>
              <a:gd name="connsiteY1161" fmla="*/ 3835993 h 6380470"/>
              <a:gd name="connsiteX1162" fmla="*/ 7055521 w 11625583"/>
              <a:gd name="connsiteY1162" fmla="*/ 3835993 h 6380470"/>
              <a:gd name="connsiteX1163" fmla="*/ 7120187 w 11625583"/>
              <a:gd name="connsiteY1163" fmla="*/ 3900659 h 6380470"/>
              <a:gd name="connsiteX1164" fmla="*/ 7055521 w 11625583"/>
              <a:gd name="connsiteY1164" fmla="*/ 3965325 h 6380470"/>
              <a:gd name="connsiteX1165" fmla="*/ 6990855 w 11625583"/>
              <a:gd name="connsiteY1165" fmla="*/ 3900659 h 6380470"/>
              <a:gd name="connsiteX1166" fmla="*/ 7055521 w 11625583"/>
              <a:gd name="connsiteY1166" fmla="*/ 3835993 h 6380470"/>
              <a:gd name="connsiteX1167" fmla="*/ 6895035 w 11625583"/>
              <a:gd name="connsiteY1167" fmla="*/ 3835993 h 6380470"/>
              <a:gd name="connsiteX1168" fmla="*/ 6959701 w 11625583"/>
              <a:gd name="connsiteY1168" fmla="*/ 3900659 h 6380470"/>
              <a:gd name="connsiteX1169" fmla="*/ 6895035 w 11625583"/>
              <a:gd name="connsiteY1169" fmla="*/ 3965325 h 6380470"/>
              <a:gd name="connsiteX1170" fmla="*/ 6830369 w 11625583"/>
              <a:gd name="connsiteY1170" fmla="*/ 3900659 h 6380470"/>
              <a:gd name="connsiteX1171" fmla="*/ 6895035 w 11625583"/>
              <a:gd name="connsiteY1171" fmla="*/ 3835993 h 6380470"/>
              <a:gd name="connsiteX1172" fmla="*/ 9541125 w 11625583"/>
              <a:gd name="connsiteY1172" fmla="*/ 3695080 h 6380470"/>
              <a:gd name="connsiteX1173" fmla="*/ 9605791 w 11625583"/>
              <a:gd name="connsiteY1173" fmla="*/ 3759746 h 6380470"/>
              <a:gd name="connsiteX1174" fmla="*/ 9541125 w 11625583"/>
              <a:gd name="connsiteY1174" fmla="*/ 3824412 h 6380470"/>
              <a:gd name="connsiteX1175" fmla="*/ 9476459 w 11625583"/>
              <a:gd name="connsiteY1175" fmla="*/ 3759746 h 6380470"/>
              <a:gd name="connsiteX1176" fmla="*/ 9541125 w 11625583"/>
              <a:gd name="connsiteY1176" fmla="*/ 3695080 h 6380470"/>
              <a:gd name="connsiteX1177" fmla="*/ 8766086 w 11625583"/>
              <a:gd name="connsiteY1177" fmla="*/ 3695080 h 6380470"/>
              <a:gd name="connsiteX1178" fmla="*/ 8830752 w 11625583"/>
              <a:gd name="connsiteY1178" fmla="*/ 3759746 h 6380470"/>
              <a:gd name="connsiteX1179" fmla="*/ 8766086 w 11625583"/>
              <a:gd name="connsiteY1179" fmla="*/ 3824412 h 6380470"/>
              <a:gd name="connsiteX1180" fmla="*/ 8701420 w 11625583"/>
              <a:gd name="connsiteY1180" fmla="*/ 3759746 h 6380470"/>
              <a:gd name="connsiteX1181" fmla="*/ 8766086 w 11625583"/>
              <a:gd name="connsiteY1181" fmla="*/ 3695080 h 6380470"/>
              <a:gd name="connsiteX1182" fmla="*/ 8139793 w 11625583"/>
              <a:gd name="connsiteY1182" fmla="*/ 3695080 h 6380470"/>
              <a:gd name="connsiteX1183" fmla="*/ 8204459 w 11625583"/>
              <a:gd name="connsiteY1183" fmla="*/ 3759746 h 6380470"/>
              <a:gd name="connsiteX1184" fmla="*/ 8139793 w 11625583"/>
              <a:gd name="connsiteY1184" fmla="*/ 3824412 h 6380470"/>
              <a:gd name="connsiteX1185" fmla="*/ 8075127 w 11625583"/>
              <a:gd name="connsiteY1185" fmla="*/ 3759746 h 6380470"/>
              <a:gd name="connsiteX1186" fmla="*/ 8139793 w 11625583"/>
              <a:gd name="connsiteY1186" fmla="*/ 3695080 h 6380470"/>
              <a:gd name="connsiteX1187" fmla="*/ 7055523 w 11625583"/>
              <a:gd name="connsiteY1187" fmla="*/ 3695080 h 6380470"/>
              <a:gd name="connsiteX1188" fmla="*/ 7120189 w 11625583"/>
              <a:gd name="connsiteY1188" fmla="*/ 3759746 h 6380470"/>
              <a:gd name="connsiteX1189" fmla="*/ 7055523 w 11625583"/>
              <a:gd name="connsiteY1189" fmla="*/ 3824412 h 6380470"/>
              <a:gd name="connsiteX1190" fmla="*/ 6990857 w 11625583"/>
              <a:gd name="connsiteY1190" fmla="*/ 3759746 h 6380470"/>
              <a:gd name="connsiteX1191" fmla="*/ 7055523 w 11625583"/>
              <a:gd name="connsiteY1191" fmla="*/ 3695080 h 6380470"/>
              <a:gd name="connsiteX1192" fmla="*/ 6895037 w 11625583"/>
              <a:gd name="connsiteY1192" fmla="*/ 3695080 h 6380470"/>
              <a:gd name="connsiteX1193" fmla="*/ 6959703 w 11625583"/>
              <a:gd name="connsiteY1193" fmla="*/ 3759746 h 6380470"/>
              <a:gd name="connsiteX1194" fmla="*/ 6895037 w 11625583"/>
              <a:gd name="connsiteY1194" fmla="*/ 3824412 h 6380470"/>
              <a:gd name="connsiteX1195" fmla="*/ 6830371 w 11625583"/>
              <a:gd name="connsiteY1195" fmla="*/ 3759746 h 6380470"/>
              <a:gd name="connsiteX1196" fmla="*/ 6895037 w 11625583"/>
              <a:gd name="connsiteY1196" fmla="*/ 3695080 h 6380470"/>
              <a:gd name="connsiteX1197" fmla="*/ 6742377 w 11625583"/>
              <a:gd name="connsiteY1197" fmla="*/ 3695080 h 6380470"/>
              <a:gd name="connsiteX1198" fmla="*/ 6807043 w 11625583"/>
              <a:gd name="connsiteY1198" fmla="*/ 3759746 h 6380470"/>
              <a:gd name="connsiteX1199" fmla="*/ 6742377 w 11625583"/>
              <a:gd name="connsiteY1199" fmla="*/ 3824412 h 6380470"/>
              <a:gd name="connsiteX1200" fmla="*/ 6677711 w 11625583"/>
              <a:gd name="connsiteY1200" fmla="*/ 3759746 h 6380470"/>
              <a:gd name="connsiteX1201" fmla="*/ 6742377 w 11625583"/>
              <a:gd name="connsiteY1201" fmla="*/ 3695080 h 6380470"/>
              <a:gd name="connsiteX1202" fmla="*/ 6585804 w 11625583"/>
              <a:gd name="connsiteY1202" fmla="*/ 3695080 h 6380470"/>
              <a:gd name="connsiteX1203" fmla="*/ 6650470 w 11625583"/>
              <a:gd name="connsiteY1203" fmla="*/ 3759746 h 6380470"/>
              <a:gd name="connsiteX1204" fmla="*/ 6585804 w 11625583"/>
              <a:gd name="connsiteY1204" fmla="*/ 3824412 h 6380470"/>
              <a:gd name="connsiteX1205" fmla="*/ 6521138 w 11625583"/>
              <a:gd name="connsiteY1205" fmla="*/ 3759746 h 6380470"/>
              <a:gd name="connsiteX1206" fmla="*/ 6585804 w 11625583"/>
              <a:gd name="connsiteY1206" fmla="*/ 3695080 h 6380470"/>
              <a:gd name="connsiteX1207" fmla="*/ 6429231 w 11625583"/>
              <a:gd name="connsiteY1207" fmla="*/ 3695080 h 6380470"/>
              <a:gd name="connsiteX1208" fmla="*/ 6493897 w 11625583"/>
              <a:gd name="connsiteY1208" fmla="*/ 3759746 h 6380470"/>
              <a:gd name="connsiteX1209" fmla="*/ 6429231 w 11625583"/>
              <a:gd name="connsiteY1209" fmla="*/ 3824412 h 6380470"/>
              <a:gd name="connsiteX1210" fmla="*/ 6364565 w 11625583"/>
              <a:gd name="connsiteY1210" fmla="*/ 3759746 h 6380470"/>
              <a:gd name="connsiteX1211" fmla="*/ 6429231 w 11625583"/>
              <a:gd name="connsiteY1211" fmla="*/ 3695080 h 6380470"/>
              <a:gd name="connsiteX1212" fmla="*/ 6276571 w 11625583"/>
              <a:gd name="connsiteY1212" fmla="*/ 3695080 h 6380470"/>
              <a:gd name="connsiteX1213" fmla="*/ 6341237 w 11625583"/>
              <a:gd name="connsiteY1213" fmla="*/ 3759746 h 6380470"/>
              <a:gd name="connsiteX1214" fmla="*/ 6276571 w 11625583"/>
              <a:gd name="connsiteY1214" fmla="*/ 3824412 h 6380470"/>
              <a:gd name="connsiteX1215" fmla="*/ 6211905 w 11625583"/>
              <a:gd name="connsiteY1215" fmla="*/ 3759746 h 6380470"/>
              <a:gd name="connsiteX1216" fmla="*/ 6276571 w 11625583"/>
              <a:gd name="connsiteY1216" fmla="*/ 3695080 h 6380470"/>
              <a:gd name="connsiteX1217" fmla="*/ 6119999 w 11625583"/>
              <a:gd name="connsiteY1217" fmla="*/ 3695080 h 6380470"/>
              <a:gd name="connsiteX1218" fmla="*/ 6184665 w 11625583"/>
              <a:gd name="connsiteY1218" fmla="*/ 3759746 h 6380470"/>
              <a:gd name="connsiteX1219" fmla="*/ 6119999 w 11625583"/>
              <a:gd name="connsiteY1219" fmla="*/ 3824412 h 6380470"/>
              <a:gd name="connsiteX1220" fmla="*/ 6055333 w 11625583"/>
              <a:gd name="connsiteY1220" fmla="*/ 3759746 h 6380470"/>
              <a:gd name="connsiteX1221" fmla="*/ 6119999 w 11625583"/>
              <a:gd name="connsiteY1221" fmla="*/ 3695080 h 6380470"/>
              <a:gd name="connsiteX1222" fmla="*/ 5967339 w 11625583"/>
              <a:gd name="connsiteY1222" fmla="*/ 3695080 h 6380470"/>
              <a:gd name="connsiteX1223" fmla="*/ 6032005 w 11625583"/>
              <a:gd name="connsiteY1223" fmla="*/ 3759746 h 6380470"/>
              <a:gd name="connsiteX1224" fmla="*/ 5967339 w 11625583"/>
              <a:gd name="connsiteY1224" fmla="*/ 3824412 h 6380470"/>
              <a:gd name="connsiteX1225" fmla="*/ 5902673 w 11625583"/>
              <a:gd name="connsiteY1225" fmla="*/ 3759746 h 6380470"/>
              <a:gd name="connsiteX1226" fmla="*/ 5967339 w 11625583"/>
              <a:gd name="connsiteY1226" fmla="*/ 3695080 h 6380470"/>
              <a:gd name="connsiteX1227" fmla="*/ 5810776 w 11625583"/>
              <a:gd name="connsiteY1227" fmla="*/ 3695080 h 6380470"/>
              <a:gd name="connsiteX1228" fmla="*/ 5875432 w 11625583"/>
              <a:gd name="connsiteY1228" fmla="*/ 3759746 h 6380470"/>
              <a:gd name="connsiteX1229" fmla="*/ 5810776 w 11625583"/>
              <a:gd name="connsiteY1229" fmla="*/ 3824412 h 6380470"/>
              <a:gd name="connsiteX1230" fmla="*/ 5746106 w 11625583"/>
              <a:gd name="connsiteY1230" fmla="*/ 3759746 h 6380470"/>
              <a:gd name="connsiteX1231" fmla="*/ 5810776 w 11625583"/>
              <a:gd name="connsiteY1231" fmla="*/ 3695080 h 6380470"/>
              <a:gd name="connsiteX1232" fmla="*/ 5658107 w 11625583"/>
              <a:gd name="connsiteY1232" fmla="*/ 3695080 h 6380470"/>
              <a:gd name="connsiteX1233" fmla="*/ 5722777 w 11625583"/>
              <a:gd name="connsiteY1233" fmla="*/ 3759746 h 6380470"/>
              <a:gd name="connsiteX1234" fmla="*/ 5658107 w 11625583"/>
              <a:gd name="connsiteY1234" fmla="*/ 3824412 h 6380470"/>
              <a:gd name="connsiteX1235" fmla="*/ 5593441 w 11625583"/>
              <a:gd name="connsiteY1235" fmla="*/ 3759746 h 6380470"/>
              <a:gd name="connsiteX1236" fmla="*/ 5658107 w 11625583"/>
              <a:gd name="connsiteY1236" fmla="*/ 3695080 h 6380470"/>
              <a:gd name="connsiteX1237" fmla="*/ 5501536 w 11625583"/>
              <a:gd name="connsiteY1237" fmla="*/ 3695080 h 6380470"/>
              <a:gd name="connsiteX1238" fmla="*/ 5566201 w 11625583"/>
              <a:gd name="connsiteY1238" fmla="*/ 3759746 h 6380470"/>
              <a:gd name="connsiteX1239" fmla="*/ 5501536 w 11625583"/>
              <a:gd name="connsiteY1239" fmla="*/ 3824412 h 6380470"/>
              <a:gd name="connsiteX1240" fmla="*/ 5436873 w 11625583"/>
              <a:gd name="connsiteY1240" fmla="*/ 3759746 h 6380470"/>
              <a:gd name="connsiteX1241" fmla="*/ 5501536 w 11625583"/>
              <a:gd name="connsiteY1241" fmla="*/ 3695080 h 6380470"/>
              <a:gd name="connsiteX1242" fmla="*/ 5348883 w 11625583"/>
              <a:gd name="connsiteY1242" fmla="*/ 3695080 h 6380470"/>
              <a:gd name="connsiteX1243" fmla="*/ 5413547 w 11625583"/>
              <a:gd name="connsiteY1243" fmla="*/ 3759746 h 6380470"/>
              <a:gd name="connsiteX1244" fmla="*/ 5348883 w 11625583"/>
              <a:gd name="connsiteY1244" fmla="*/ 3824412 h 6380470"/>
              <a:gd name="connsiteX1245" fmla="*/ 5284218 w 11625583"/>
              <a:gd name="connsiteY1245" fmla="*/ 3759746 h 6380470"/>
              <a:gd name="connsiteX1246" fmla="*/ 5348883 w 11625583"/>
              <a:gd name="connsiteY1246" fmla="*/ 3695080 h 6380470"/>
              <a:gd name="connsiteX1247" fmla="*/ 5192310 w 11625583"/>
              <a:gd name="connsiteY1247" fmla="*/ 3695080 h 6380470"/>
              <a:gd name="connsiteX1248" fmla="*/ 5256975 w 11625583"/>
              <a:gd name="connsiteY1248" fmla="*/ 3759746 h 6380470"/>
              <a:gd name="connsiteX1249" fmla="*/ 5192310 w 11625583"/>
              <a:gd name="connsiteY1249" fmla="*/ 3824412 h 6380470"/>
              <a:gd name="connsiteX1250" fmla="*/ 5127644 w 11625583"/>
              <a:gd name="connsiteY1250" fmla="*/ 3759746 h 6380470"/>
              <a:gd name="connsiteX1251" fmla="*/ 5192310 w 11625583"/>
              <a:gd name="connsiteY1251" fmla="*/ 3695080 h 6380470"/>
              <a:gd name="connsiteX1252" fmla="*/ 3481774 w 11625583"/>
              <a:gd name="connsiteY1252" fmla="*/ 3695080 h 6380470"/>
              <a:gd name="connsiteX1253" fmla="*/ 3546442 w 11625583"/>
              <a:gd name="connsiteY1253" fmla="*/ 3759746 h 6380470"/>
              <a:gd name="connsiteX1254" fmla="*/ 3481774 w 11625583"/>
              <a:gd name="connsiteY1254" fmla="*/ 3824412 h 6380470"/>
              <a:gd name="connsiteX1255" fmla="*/ 3417111 w 11625583"/>
              <a:gd name="connsiteY1255" fmla="*/ 3759746 h 6380470"/>
              <a:gd name="connsiteX1256" fmla="*/ 3481774 w 11625583"/>
              <a:gd name="connsiteY1256" fmla="*/ 3695080 h 6380470"/>
              <a:gd name="connsiteX1257" fmla="*/ 3321295 w 11625583"/>
              <a:gd name="connsiteY1257" fmla="*/ 3695080 h 6380470"/>
              <a:gd name="connsiteX1258" fmla="*/ 3385953 w 11625583"/>
              <a:gd name="connsiteY1258" fmla="*/ 3759746 h 6380470"/>
              <a:gd name="connsiteX1259" fmla="*/ 3321295 w 11625583"/>
              <a:gd name="connsiteY1259" fmla="*/ 3824412 h 6380470"/>
              <a:gd name="connsiteX1260" fmla="*/ 3256628 w 11625583"/>
              <a:gd name="connsiteY1260" fmla="*/ 3759746 h 6380470"/>
              <a:gd name="connsiteX1261" fmla="*/ 3321295 w 11625583"/>
              <a:gd name="connsiteY1261" fmla="*/ 3695080 h 6380470"/>
              <a:gd name="connsiteX1262" fmla="*/ 3172548 w 11625583"/>
              <a:gd name="connsiteY1262" fmla="*/ 3695080 h 6380470"/>
              <a:gd name="connsiteX1263" fmla="*/ 3237218 w 11625583"/>
              <a:gd name="connsiteY1263" fmla="*/ 3759746 h 6380470"/>
              <a:gd name="connsiteX1264" fmla="*/ 3172548 w 11625583"/>
              <a:gd name="connsiteY1264" fmla="*/ 3824412 h 6380470"/>
              <a:gd name="connsiteX1265" fmla="*/ 3107876 w 11625583"/>
              <a:gd name="connsiteY1265" fmla="*/ 3759746 h 6380470"/>
              <a:gd name="connsiteX1266" fmla="*/ 3172548 w 11625583"/>
              <a:gd name="connsiteY1266" fmla="*/ 3695080 h 6380470"/>
              <a:gd name="connsiteX1267" fmla="*/ 3012051 w 11625583"/>
              <a:gd name="connsiteY1267" fmla="*/ 3695080 h 6380470"/>
              <a:gd name="connsiteX1268" fmla="*/ 3076718 w 11625583"/>
              <a:gd name="connsiteY1268" fmla="*/ 3759746 h 6380470"/>
              <a:gd name="connsiteX1269" fmla="*/ 3012051 w 11625583"/>
              <a:gd name="connsiteY1269" fmla="*/ 3824412 h 6380470"/>
              <a:gd name="connsiteX1270" fmla="*/ 2947387 w 11625583"/>
              <a:gd name="connsiteY1270" fmla="*/ 3759746 h 6380470"/>
              <a:gd name="connsiteX1271" fmla="*/ 3012051 w 11625583"/>
              <a:gd name="connsiteY1271" fmla="*/ 3695080 h 6380470"/>
              <a:gd name="connsiteX1272" fmla="*/ 9541125 w 11625583"/>
              <a:gd name="connsiteY1272" fmla="*/ 3550250 h 6380470"/>
              <a:gd name="connsiteX1273" fmla="*/ 9605791 w 11625583"/>
              <a:gd name="connsiteY1273" fmla="*/ 3614916 h 6380470"/>
              <a:gd name="connsiteX1274" fmla="*/ 9541125 w 11625583"/>
              <a:gd name="connsiteY1274" fmla="*/ 3679582 h 6380470"/>
              <a:gd name="connsiteX1275" fmla="*/ 9476459 w 11625583"/>
              <a:gd name="connsiteY1275" fmla="*/ 3614916 h 6380470"/>
              <a:gd name="connsiteX1276" fmla="*/ 9541125 w 11625583"/>
              <a:gd name="connsiteY1276" fmla="*/ 3550250 h 6380470"/>
              <a:gd name="connsiteX1277" fmla="*/ 8914831 w 11625583"/>
              <a:gd name="connsiteY1277" fmla="*/ 3550250 h 6380470"/>
              <a:gd name="connsiteX1278" fmla="*/ 8979497 w 11625583"/>
              <a:gd name="connsiteY1278" fmla="*/ 3614916 h 6380470"/>
              <a:gd name="connsiteX1279" fmla="*/ 8914831 w 11625583"/>
              <a:gd name="connsiteY1279" fmla="*/ 3679582 h 6380470"/>
              <a:gd name="connsiteX1280" fmla="*/ 8850165 w 11625583"/>
              <a:gd name="connsiteY1280" fmla="*/ 3614916 h 6380470"/>
              <a:gd name="connsiteX1281" fmla="*/ 8914831 w 11625583"/>
              <a:gd name="connsiteY1281" fmla="*/ 3550250 h 6380470"/>
              <a:gd name="connsiteX1282" fmla="*/ 8766086 w 11625583"/>
              <a:gd name="connsiteY1282" fmla="*/ 3550250 h 6380470"/>
              <a:gd name="connsiteX1283" fmla="*/ 8830752 w 11625583"/>
              <a:gd name="connsiteY1283" fmla="*/ 3614916 h 6380470"/>
              <a:gd name="connsiteX1284" fmla="*/ 8766086 w 11625583"/>
              <a:gd name="connsiteY1284" fmla="*/ 3679582 h 6380470"/>
              <a:gd name="connsiteX1285" fmla="*/ 8701420 w 11625583"/>
              <a:gd name="connsiteY1285" fmla="*/ 3614916 h 6380470"/>
              <a:gd name="connsiteX1286" fmla="*/ 8766086 w 11625583"/>
              <a:gd name="connsiteY1286" fmla="*/ 3550250 h 6380470"/>
              <a:gd name="connsiteX1287" fmla="*/ 7987135 w 11625583"/>
              <a:gd name="connsiteY1287" fmla="*/ 3550250 h 6380470"/>
              <a:gd name="connsiteX1288" fmla="*/ 8051801 w 11625583"/>
              <a:gd name="connsiteY1288" fmla="*/ 3614916 h 6380470"/>
              <a:gd name="connsiteX1289" fmla="*/ 7987135 w 11625583"/>
              <a:gd name="connsiteY1289" fmla="*/ 3679582 h 6380470"/>
              <a:gd name="connsiteX1290" fmla="*/ 7922469 w 11625583"/>
              <a:gd name="connsiteY1290" fmla="*/ 3614916 h 6380470"/>
              <a:gd name="connsiteX1291" fmla="*/ 7987135 w 11625583"/>
              <a:gd name="connsiteY1291" fmla="*/ 3550250 h 6380470"/>
              <a:gd name="connsiteX1292" fmla="*/ 7212096 w 11625583"/>
              <a:gd name="connsiteY1292" fmla="*/ 3550250 h 6380470"/>
              <a:gd name="connsiteX1293" fmla="*/ 7276762 w 11625583"/>
              <a:gd name="connsiteY1293" fmla="*/ 3614916 h 6380470"/>
              <a:gd name="connsiteX1294" fmla="*/ 7212096 w 11625583"/>
              <a:gd name="connsiteY1294" fmla="*/ 3679582 h 6380470"/>
              <a:gd name="connsiteX1295" fmla="*/ 7147430 w 11625583"/>
              <a:gd name="connsiteY1295" fmla="*/ 3614916 h 6380470"/>
              <a:gd name="connsiteX1296" fmla="*/ 7212096 w 11625583"/>
              <a:gd name="connsiteY1296" fmla="*/ 3550250 h 6380470"/>
              <a:gd name="connsiteX1297" fmla="*/ 7055523 w 11625583"/>
              <a:gd name="connsiteY1297" fmla="*/ 3550250 h 6380470"/>
              <a:gd name="connsiteX1298" fmla="*/ 7120189 w 11625583"/>
              <a:gd name="connsiteY1298" fmla="*/ 3614916 h 6380470"/>
              <a:gd name="connsiteX1299" fmla="*/ 7055523 w 11625583"/>
              <a:gd name="connsiteY1299" fmla="*/ 3679582 h 6380470"/>
              <a:gd name="connsiteX1300" fmla="*/ 6990857 w 11625583"/>
              <a:gd name="connsiteY1300" fmla="*/ 3614916 h 6380470"/>
              <a:gd name="connsiteX1301" fmla="*/ 7055523 w 11625583"/>
              <a:gd name="connsiteY1301" fmla="*/ 3550250 h 6380470"/>
              <a:gd name="connsiteX1302" fmla="*/ 6895037 w 11625583"/>
              <a:gd name="connsiteY1302" fmla="*/ 3550250 h 6380470"/>
              <a:gd name="connsiteX1303" fmla="*/ 6959703 w 11625583"/>
              <a:gd name="connsiteY1303" fmla="*/ 3614916 h 6380470"/>
              <a:gd name="connsiteX1304" fmla="*/ 6895037 w 11625583"/>
              <a:gd name="connsiteY1304" fmla="*/ 3679582 h 6380470"/>
              <a:gd name="connsiteX1305" fmla="*/ 6830371 w 11625583"/>
              <a:gd name="connsiteY1305" fmla="*/ 3614916 h 6380470"/>
              <a:gd name="connsiteX1306" fmla="*/ 6895037 w 11625583"/>
              <a:gd name="connsiteY1306" fmla="*/ 3550250 h 6380470"/>
              <a:gd name="connsiteX1307" fmla="*/ 6742377 w 11625583"/>
              <a:gd name="connsiteY1307" fmla="*/ 3550250 h 6380470"/>
              <a:gd name="connsiteX1308" fmla="*/ 6807043 w 11625583"/>
              <a:gd name="connsiteY1308" fmla="*/ 3614916 h 6380470"/>
              <a:gd name="connsiteX1309" fmla="*/ 6742377 w 11625583"/>
              <a:gd name="connsiteY1309" fmla="*/ 3679582 h 6380470"/>
              <a:gd name="connsiteX1310" fmla="*/ 6677711 w 11625583"/>
              <a:gd name="connsiteY1310" fmla="*/ 3614916 h 6380470"/>
              <a:gd name="connsiteX1311" fmla="*/ 6742377 w 11625583"/>
              <a:gd name="connsiteY1311" fmla="*/ 3550250 h 6380470"/>
              <a:gd name="connsiteX1312" fmla="*/ 6585804 w 11625583"/>
              <a:gd name="connsiteY1312" fmla="*/ 3550250 h 6380470"/>
              <a:gd name="connsiteX1313" fmla="*/ 6650470 w 11625583"/>
              <a:gd name="connsiteY1313" fmla="*/ 3614916 h 6380470"/>
              <a:gd name="connsiteX1314" fmla="*/ 6585804 w 11625583"/>
              <a:gd name="connsiteY1314" fmla="*/ 3679582 h 6380470"/>
              <a:gd name="connsiteX1315" fmla="*/ 6521138 w 11625583"/>
              <a:gd name="connsiteY1315" fmla="*/ 3614916 h 6380470"/>
              <a:gd name="connsiteX1316" fmla="*/ 6585804 w 11625583"/>
              <a:gd name="connsiteY1316" fmla="*/ 3550250 h 6380470"/>
              <a:gd name="connsiteX1317" fmla="*/ 6429231 w 11625583"/>
              <a:gd name="connsiteY1317" fmla="*/ 3550250 h 6380470"/>
              <a:gd name="connsiteX1318" fmla="*/ 6493897 w 11625583"/>
              <a:gd name="connsiteY1318" fmla="*/ 3614916 h 6380470"/>
              <a:gd name="connsiteX1319" fmla="*/ 6429231 w 11625583"/>
              <a:gd name="connsiteY1319" fmla="*/ 3679582 h 6380470"/>
              <a:gd name="connsiteX1320" fmla="*/ 6364565 w 11625583"/>
              <a:gd name="connsiteY1320" fmla="*/ 3614916 h 6380470"/>
              <a:gd name="connsiteX1321" fmla="*/ 6429231 w 11625583"/>
              <a:gd name="connsiteY1321" fmla="*/ 3550250 h 6380470"/>
              <a:gd name="connsiteX1322" fmla="*/ 6276571 w 11625583"/>
              <a:gd name="connsiteY1322" fmla="*/ 3550250 h 6380470"/>
              <a:gd name="connsiteX1323" fmla="*/ 6341237 w 11625583"/>
              <a:gd name="connsiteY1323" fmla="*/ 3614916 h 6380470"/>
              <a:gd name="connsiteX1324" fmla="*/ 6276571 w 11625583"/>
              <a:gd name="connsiteY1324" fmla="*/ 3679582 h 6380470"/>
              <a:gd name="connsiteX1325" fmla="*/ 6211905 w 11625583"/>
              <a:gd name="connsiteY1325" fmla="*/ 3614916 h 6380470"/>
              <a:gd name="connsiteX1326" fmla="*/ 6276571 w 11625583"/>
              <a:gd name="connsiteY1326" fmla="*/ 3550250 h 6380470"/>
              <a:gd name="connsiteX1327" fmla="*/ 6119999 w 11625583"/>
              <a:gd name="connsiteY1327" fmla="*/ 3550250 h 6380470"/>
              <a:gd name="connsiteX1328" fmla="*/ 6184665 w 11625583"/>
              <a:gd name="connsiteY1328" fmla="*/ 3614916 h 6380470"/>
              <a:gd name="connsiteX1329" fmla="*/ 6119999 w 11625583"/>
              <a:gd name="connsiteY1329" fmla="*/ 3679582 h 6380470"/>
              <a:gd name="connsiteX1330" fmla="*/ 6055333 w 11625583"/>
              <a:gd name="connsiteY1330" fmla="*/ 3614916 h 6380470"/>
              <a:gd name="connsiteX1331" fmla="*/ 6119999 w 11625583"/>
              <a:gd name="connsiteY1331" fmla="*/ 3550250 h 6380470"/>
              <a:gd name="connsiteX1332" fmla="*/ 5967339 w 11625583"/>
              <a:gd name="connsiteY1332" fmla="*/ 3550250 h 6380470"/>
              <a:gd name="connsiteX1333" fmla="*/ 6032005 w 11625583"/>
              <a:gd name="connsiteY1333" fmla="*/ 3614916 h 6380470"/>
              <a:gd name="connsiteX1334" fmla="*/ 5967339 w 11625583"/>
              <a:gd name="connsiteY1334" fmla="*/ 3679582 h 6380470"/>
              <a:gd name="connsiteX1335" fmla="*/ 5902673 w 11625583"/>
              <a:gd name="connsiteY1335" fmla="*/ 3614916 h 6380470"/>
              <a:gd name="connsiteX1336" fmla="*/ 5967339 w 11625583"/>
              <a:gd name="connsiteY1336" fmla="*/ 3550250 h 6380470"/>
              <a:gd name="connsiteX1337" fmla="*/ 5810778 w 11625583"/>
              <a:gd name="connsiteY1337" fmla="*/ 3550250 h 6380470"/>
              <a:gd name="connsiteX1338" fmla="*/ 5875432 w 11625583"/>
              <a:gd name="connsiteY1338" fmla="*/ 3614916 h 6380470"/>
              <a:gd name="connsiteX1339" fmla="*/ 5810778 w 11625583"/>
              <a:gd name="connsiteY1339" fmla="*/ 3679582 h 6380470"/>
              <a:gd name="connsiteX1340" fmla="*/ 5746106 w 11625583"/>
              <a:gd name="connsiteY1340" fmla="*/ 3614916 h 6380470"/>
              <a:gd name="connsiteX1341" fmla="*/ 5810778 w 11625583"/>
              <a:gd name="connsiteY1341" fmla="*/ 3550250 h 6380470"/>
              <a:gd name="connsiteX1342" fmla="*/ 5658107 w 11625583"/>
              <a:gd name="connsiteY1342" fmla="*/ 3550250 h 6380470"/>
              <a:gd name="connsiteX1343" fmla="*/ 5722777 w 11625583"/>
              <a:gd name="connsiteY1343" fmla="*/ 3614916 h 6380470"/>
              <a:gd name="connsiteX1344" fmla="*/ 5658107 w 11625583"/>
              <a:gd name="connsiteY1344" fmla="*/ 3679582 h 6380470"/>
              <a:gd name="connsiteX1345" fmla="*/ 5593441 w 11625583"/>
              <a:gd name="connsiteY1345" fmla="*/ 3614916 h 6380470"/>
              <a:gd name="connsiteX1346" fmla="*/ 5658107 w 11625583"/>
              <a:gd name="connsiteY1346" fmla="*/ 3550250 h 6380470"/>
              <a:gd name="connsiteX1347" fmla="*/ 5501536 w 11625583"/>
              <a:gd name="connsiteY1347" fmla="*/ 3550250 h 6380470"/>
              <a:gd name="connsiteX1348" fmla="*/ 5566201 w 11625583"/>
              <a:gd name="connsiteY1348" fmla="*/ 3614916 h 6380470"/>
              <a:gd name="connsiteX1349" fmla="*/ 5501536 w 11625583"/>
              <a:gd name="connsiteY1349" fmla="*/ 3679582 h 6380470"/>
              <a:gd name="connsiteX1350" fmla="*/ 5436874 w 11625583"/>
              <a:gd name="connsiteY1350" fmla="*/ 3614916 h 6380470"/>
              <a:gd name="connsiteX1351" fmla="*/ 5501536 w 11625583"/>
              <a:gd name="connsiteY1351" fmla="*/ 3550250 h 6380470"/>
              <a:gd name="connsiteX1352" fmla="*/ 5348883 w 11625583"/>
              <a:gd name="connsiteY1352" fmla="*/ 3550250 h 6380470"/>
              <a:gd name="connsiteX1353" fmla="*/ 5413547 w 11625583"/>
              <a:gd name="connsiteY1353" fmla="*/ 3614916 h 6380470"/>
              <a:gd name="connsiteX1354" fmla="*/ 5348883 w 11625583"/>
              <a:gd name="connsiteY1354" fmla="*/ 3679582 h 6380470"/>
              <a:gd name="connsiteX1355" fmla="*/ 5284218 w 11625583"/>
              <a:gd name="connsiteY1355" fmla="*/ 3614916 h 6380470"/>
              <a:gd name="connsiteX1356" fmla="*/ 5348883 w 11625583"/>
              <a:gd name="connsiteY1356" fmla="*/ 3550250 h 6380470"/>
              <a:gd name="connsiteX1357" fmla="*/ 5192310 w 11625583"/>
              <a:gd name="connsiteY1357" fmla="*/ 3550250 h 6380470"/>
              <a:gd name="connsiteX1358" fmla="*/ 5256975 w 11625583"/>
              <a:gd name="connsiteY1358" fmla="*/ 3614916 h 6380470"/>
              <a:gd name="connsiteX1359" fmla="*/ 5192310 w 11625583"/>
              <a:gd name="connsiteY1359" fmla="*/ 3679582 h 6380470"/>
              <a:gd name="connsiteX1360" fmla="*/ 5127644 w 11625583"/>
              <a:gd name="connsiteY1360" fmla="*/ 3614916 h 6380470"/>
              <a:gd name="connsiteX1361" fmla="*/ 5192310 w 11625583"/>
              <a:gd name="connsiteY1361" fmla="*/ 3550250 h 6380470"/>
              <a:gd name="connsiteX1362" fmla="*/ 5031828 w 11625583"/>
              <a:gd name="connsiteY1362" fmla="*/ 3550250 h 6380470"/>
              <a:gd name="connsiteX1363" fmla="*/ 5096490 w 11625583"/>
              <a:gd name="connsiteY1363" fmla="*/ 3614916 h 6380470"/>
              <a:gd name="connsiteX1364" fmla="*/ 5031828 w 11625583"/>
              <a:gd name="connsiteY1364" fmla="*/ 3679582 h 6380470"/>
              <a:gd name="connsiteX1365" fmla="*/ 4967158 w 11625583"/>
              <a:gd name="connsiteY1365" fmla="*/ 3614916 h 6380470"/>
              <a:gd name="connsiteX1366" fmla="*/ 5031828 w 11625583"/>
              <a:gd name="connsiteY1366" fmla="*/ 3550250 h 6380470"/>
              <a:gd name="connsiteX1367" fmla="*/ 3321299 w 11625583"/>
              <a:gd name="connsiteY1367" fmla="*/ 3550250 h 6380470"/>
              <a:gd name="connsiteX1368" fmla="*/ 3385957 w 11625583"/>
              <a:gd name="connsiteY1368" fmla="*/ 3614916 h 6380470"/>
              <a:gd name="connsiteX1369" fmla="*/ 3321299 w 11625583"/>
              <a:gd name="connsiteY1369" fmla="*/ 3679582 h 6380470"/>
              <a:gd name="connsiteX1370" fmla="*/ 3256631 w 11625583"/>
              <a:gd name="connsiteY1370" fmla="*/ 3614916 h 6380470"/>
              <a:gd name="connsiteX1371" fmla="*/ 3321299 w 11625583"/>
              <a:gd name="connsiteY1371" fmla="*/ 3550250 h 6380470"/>
              <a:gd name="connsiteX1372" fmla="*/ 3172552 w 11625583"/>
              <a:gd name="connsiteY1372" fmla="*/ 3550250 h 6380470"/>
              <a:gd name="connsiteX1373" fmla="*/ 3237221 w 11625583"/>
              <a:gd name="connsiteY1373" fmla="*/ 3614916 h 6380470"/>
              <a:gd name="connsiteX1374" fmla="*/ 3172552 w 11625583"/>
              <a:gd name="connsiteY1374" fmla="*/ 3679582 h 6380470"/>
              <a:gd name="connsiteX1375" fmla="*/ 3107879 w 11625583"/>
              <a:gd name="connsiteY1375" fmla="*/ 3614916 h 6380470"/>
              <a:gd name="connsiteX1376" fmla="*/ 3172552 w 11625583"/>
              <a:gd name="connsiteY1376" fmla="*/ 3550250 h 6380470"/>
              <a:gd name="connsiteX1377" fmla="*/ 3012054 w 11625583"/>
              <a:gd name="connsiteY1377" fmla="*/ 3550250 h 6380470"/>
              <a:gd name="connsiteX1378" fmla="*/ 3076721 w 11625583"/>
              <a:gd name="connsiteY1378" fmla="*/ 3614916 h 6380470"/>
              <a:gd name="connsiteX1379" fmla="*/ 3012054 w 11625583"/>
              <a:gd name="connsiteY1379" fmla="*/ 3679582 h 6380470"/>
              <a:gd name="connsiteX1380" fmla="*/ 2947391 w 11625583"/>
              <a:gd name="connsiteY1380" fmla="*/ 3614916 h 6380470"/>
              <a:gd name="connsiteX1381" fmla="*/ 3012054 w 11625583"/>
              <a:gd name="connsiteY1381" fmla="*/ 3550250 h 6380470"/>
              <a:gd name="connsiteX1382" fmla="*/ 2855489 w 11625583"/>
              <a:gd name="connsiteY1382" fmla="*/ 3550250 h 6380470"/>
              <a:gd name="connsiteX1383" fmla="*/ 2920151 w 11625583"/>
              <a:gd name="connsiteY1383" fmla="*/ 3614916 h 6380470"/>
              <a:gd name="connsiteX1384" fmla="*/ 2855489 w 11625583"/>
              <a:gd name="connsiteY1384" fmla="*/ 3679582 h 6380470"/>
              <a:gd name="connsiteX1385" fmla="*/ 2790826 w 11625583"/>
              <a:gd name="connsiteY1385" fmla="*/ 3614916 h 6380470"/>
              <a:gd name="connsiteX1386" fmla="*/ 2855489 w 11625583"/>
              <a:gd name="connsiteY1386" fmla="*/ 3550250 h 6380470"/>
              <a:gd name="connsiteX1387" fmla="*/ 2698923 w 11625583"/>
              <a:gd name="connsiteY1387" fmla="*/ 3550250 h 6380470"/>
              <a:gd name="connsiteX1388" fmla="*/ 2763586 w 11625583"/>
              <a:gd name="connsiteY1388" fmla="*/ 3614916 h 6380470"/>
              <a:gd name="connsiteX1389" fmla="*/ 2698923 w 11625583"/>
              <a:gd name="connsiteY1389" fmla="*/ 3679582 h 6380470"/>
              <a:gd name="connsiteX1390" fmla="*/ 2634261 w 11625583"/>
              <a:gd name="connsiteY1390" fmla="*/ 3614916 h 6380470"/>
              <a:gd name="connsiteX1391" fmla="*/ 2698923 w 11625583"/>
              <a:gd name="connsiteY1391" fmla="*/ 3550250 h 6380470"/>
              <a:gd name="connsiteX1392" fmla="*/ 9541125 w 11625583"/>
              <a:gd name="connsiteY1392" fmla="*/ 3401506 h 6380470"/>
              <a:gd name="connsiteX1393" fmla="*/ 9605791 w 11625583"/>
              <a:gd name="connsiteY1393" fmla="*/ 3466172 h 6380470"/>
              <a:gd name="connsiteX1394" fmla="*/ 9541125 w 11625583"/>
              <a:gd name="connsiteY1394" fmla="*/ 3530838 h 6380470"/>
              <a:gd name="connsiteX1395" fmla="*/ 9476459 w 11625583"/>
              <a:gd name="connsiteY1395" fmla="*/ 3466172 h 6380470"/>
              <a:gd name="connsiteX1396" fmla="*/ 9541125 w 11625583"/>
              <a:gd name="connsiteY1396" fmla="*/ 3401506 h 6380470"/>
              <a:gd name="connsiteX1397" fmla="*/ 8914831 w 11625583"/>
              <a:gd name="connsiteY1397" fmla="*/ 3401506 h 6380470"/>
              <a:gd name="connsiteX1398" fmla="*/ 8979497 w 11625583"/>
              <a:gd name="connsiteY1398" fmla="*/ 3466172 h 6380470"/>
              <a:gd name="connsiteX1399" fmla="*/ 8914831 w 11625583"/>
              <a:gd name="connsiteY1399" fmla="*/ 3530838 h 6380470"/>
              <a:gd name="connsiteX1400" fmla="*/ 8850165 w 11625583"/>
              <a:gd name="connsiteY1400" fmla="*/ 3466172 h 6380470"/>
              <a:gd name="connsiteX1401" fmla="*/ 8914831 w 11625583"/>
              <a:gd name="connsiteY1401" fmla="*/ 3401506 h 6380470"/>
              <a:gd name="connsiteX1402" fmla="*/ 8766086 w 11625583"/>
              <a:gd name="connsiteY1402" fmla="*/ 3401506 h 6380470"/>
              <a:gd name="connsiteX1403" fmla="*/ 8830752 w 11625583"/>
              <a:gd name="connsiteY1403" fmla="*/ 3466172 h 6380470"/>
              <a:gd name="connsiteX1404" fmla="*/ 8766086 w 11625583"/>
              <a:gd name="connsiteY1404" fmla="*/ 3530838 h 6380470"/>
              <a:gd name="connsiteX1405" fmla="*/ 8701420 w 11625583"/>
              <a:gd name="connsiteY1405" fmla="*/ 3466172 h 6380470"/>
              <a:gd name="connsiteX1406" fmla="*/ 8766086 w 11625583"/>
              <a:gd name="connsiteY1406" fmla="*/ 3401506 h 6380470"/>
              <a:gd name="connsiteX1407" fmla="*/ 8139793 w 11625583"/>
              <a:gd name="connsiteY1407" fmla="*/ 3401506 h 6380470"/>
              <a:gd name="connsiteX1408" fmla="*/ 8204459 w 11625583"/>
              <a:gd name="connsiteY1408" fmla="*/ 3466172 h 6380470"/>
              <a:gd name="connsiteX1409" fmla="*/ 8139793 w 11625583"/>
              <a:gd name="connsiteY1409" fmla="*/ 3530838 h 6380470"/>
              <a:gd name="connsiteX1410" fmla="*/ 8075127 w 11625583"/>
              <a:gd name="connsiteY1410" fmla="*/ 3466172 h 6380470"/>
              <a:gd name="connsiteX1411" fmla="*/ 8139793 w 11625583"/>
              <a:gd name="connsiteY1411" fmla="*/ 3401506 h 6380470"/>
              <a:gd name="connsiteX1412" fmla="*/ 7987135 w 11625583"/>
              <a:gd name="connsiteY1412" fmla="*/ 3401506 h 6380470"/>
              <a:gd name="connsiteX1413" fmla="*/ 8051801 w 11625583"/>
              <a:gd name="connsiteY1413" fmla="*/ 3466172 h 6380470"/>
              <a:gd name="connsiteX1414" fmla="*/ 7987135 w 11625583"/>
              <a:gd name="connsiteY1414" fmla="*/ 3530838 h 6380470"/>
              <a:gd name="connsiteX1415" fmla="*/ 7922469 w 11625583"/>
              <a:gd name="connsiteY1415" fmla="*/ 3466172 h 6380470"/>
              <a:gd name="connsiteX1416" fmla="*/ 7987135 w 11625583"/>
              <a:gd name="connsiteY1416" fmla="*/ 3401506 h 6380470"/>
              <a:gd name="connsiteX1417" fmla="*/ 6742377 w 11625583"/>
              <a:gd name="connsiteY1417" fmla="*/ 3401506 h 6380470"/>
              <a:gd name="connsiteX1418" fmla="*/ 6807043 w 11625583"/>
              <a:gd name="connsiteY1418" fmla="*/ 3466172 h 6380470"/>
              <a:gd name="connsiteX1419" fmla="*/ 6742377 w 11625583"/>
              <a:gd name="connsiteY1419" fmla="*/ 3530838 h 6380470"/>
              <a:gd name="connsiteX1420" fmla="*/ 6677711 w 11625583"/>
              <a:gd name="connsiteY1420" fmla="*/ 3466172 h 6380470"/>
              <a:gd name="connsiteX1421" fmla="*/ 6742377 w 11625583"/>
              <a:gd name="connsiteY1421" fmla="*/ 3401506 h 6380470"/>
              <a:gd name="connsiteX1422" fmla="*/ 6585804 w 11625583"/>
              <a:gd name="connsiteY1422" fmla="*/ 3401506 h 6380470"/>
              <a:gd name="connsiteX1423" fmla="*/ 6650470 w 11625583"/>
              <a:gd name="connsiteY1423" fmla="*/ 3466172 h 6380470"/>
              <a:gd name="connsiteX1424" fmla="*/ 6585804 w 11625583"/>
              <a:gd name="connsiteY1424" fmla="*/ 3530838 h 6380470"/>
              <a:gd name="connsiteX1425" fmla="*/ 6521138 w 11625583"/>
              <a:gd name="connsiteY1425" fmla="*/ 3466172 h 6380470"/>
              <a:gd name="connsiteX1426" fmla="*/ 6585804 w 11625583"/>
              <a:gd name="connsiteY1426" fmla="*/ 3401506 h 6380470"/>
              <a:gd name="connsiteX1427" fmla="*/ 6429231 w 11625583"/>
              <a:gd name="connsiteY1427" fmla="*/ 3401506 h 6380470"/>
              <a:gd name="connsiteX1428" fmla="*/ 6493897 w 11625583"/>
              <a:gd name="connsiteY1428" fmla="*/ 3466172 h 6380470"/>
              <a:gd name="connsiteX1429" fmla="*/ 6429231 w 11625583"/>
              <a:gd name="connsiteY1429" fmla="*/ 3530838 h 6380470"/>
              <a:gd name="connsiteX1430" fmla="*/ 6364565 w 11625583"/>
              <a:gd name="connsiteY1430" fmla="*/ 3466172 h 6380470"/>
              <a:gd name="connsiteX1431" fmla="*/ 6429231 w 11625583"/>
              <a:gd name="connsiteY1431" fmla="*/ 3401506 h 6380470"/>
              <a:gd name="connsiteX1432" fmla="*/ 6276571 w 11625583"/>
              <a:gd name="connsiteY1432" fmla="*/ 3401506 h 6380470"/>
              <a:gd name="connsiteX1433" fmla="*/ 6341237 w 11625583"/>
              <a:gd name="connsiteY1433" fmla="*/ 3466172 h 6380470"/>
              <a:gd name="connsiteX1434" fmla="*/ 6276571 w 11625583"/>
              <a:gd name="connsiteY1434" fmla="*/ 3530838 h 6380470"/>
              <a:gd name="connsiteX1435" fmla="*/ 6211905 w 11625583"/>
              <a:gd name="connsiteY1435" fmla="*/ 3466172 h 6380470"/>
              <a:gd name="connsiteX1436" fmla="*/ 6276571 w 11625583"/>
              <a:gd name="connsiteY1436" fmla="*/ 3401506 h 6380470"/>
              <a:gd name="connsiteX1437" fmla="*/ 6119999 w 11625583"/>
              <a:gd name="connsiteY1437" fmla="*/ 3401506 h 6380470"/>
              <a:gd name="connsiteX1438" fmla="*/ 6184665 w 11625583"/>
              <a:gd name="connsiteY1438" fmla="*/ 3466172 h 6380470"/>
              <a:gd name="connsiteX1439" fmla="*/ 6119999 w 11625583"/>
              <a:gd name="connsiteY1439" fmla="*/ 3530838 h 6380470"/>
              <a:gd name="connsiteX1440" fmla="*/ 6055333 w 11625583"/>
              <a:gd name="connsiteY1440" fmla="*/ 3466172 h 6380470"/>
              <a:gd name="connsiteX1441" fmla="*/ 6119999 w 11625583"/>
              <a:gd name="connsiteY1441" fmla="*/ 3401506 h 6380470"/>
              <a:gd name="connsiteX1442" fmla="*/ 5967338 w 11625583"/>
              <a:gd name="connsiteY1442" fmla="*/ 3401504 h 6380470"/>
              <a:gd name="connsiteX1443" fmla="*/ 6032004 w 11625583"/>
              <a:gd name="connsiteY1443" fmla="*/ 3466170 h 6380470"/>
              <a:gd name="connsiteX1444" fmla="*/ 5967338 w 11625583"/>
              <a:gd name="connsiteY1444" fmla="*/ 3530836 h 6380470"/>
              <a:gd name="connsiteX1445" fmla="*/ 5902672 w 11625583"/>
              <a:gd name="connsiteY1445" fmla="*/ 3466170 h 6380470"/>
              <a:gd name="connsiteX1446" fmla="*/ 5967338 w 11625583"/>
              <a:gd name="connsiteY1446" fmla="*/ 3401504 h 6380470"/>
              <a:gd name="connsiteX1447" fmla="*/ 5810778 w 11625583"/>
              <a:gd name="connsiteY1447" fmla="*/ 3401504 h 6380470"/>
              <a:gd name="connsiteX1448" fmla="*/ 5875431 w 11625583"/>
              <a:gd name="connsiteY1448" fmla="*/ 3466170 h 6380470"/>
              <a:gd name="connsiteX1449" fmla="*/ 5810778 w 11625583"/>
              <a:gd name="connsiteY1449" fmla="*/ 3530836 h 6380470"/>
              <a:gd name="connsiteX1450" fmla="*/ 5746106 w 11625583"/>
              <a:gd name="connsiteY1450" fmla="*/ 3466170 h 6380470"/>
              <a:gd name="connsiteX1451" fmla="*/ 5810778 w 11625583"/>
              <a:gd name="connsiteY1451" fmla="*/ 3401504 h 6380470"/>
              <a:gd name="connsiteX1452" fmla="*/ 5658107 w 11625583"/>
              <a:gd name="connsiteY1452" fmla="*/ 3401504 h 6380470"/>
              <a:gd name="connsiteX1453" fmla="*/ 5722777 w 11625583"/>
              <a:gd name="connsiteY1453" fmla="*/ 3466170 h 6380470"/>
              <a:gd name="connsiteX1454" fmla="*/ 5658107 w 11625583"/>
              <a:gd name="connsiteY1454" fmla="*/ 3530836 h 6380470"/>
              <a:gd name="connsiteX1455" fmla="*/ 5593441 w 11625583"/>
              <a:gd name="connsiteY1455" fmla="*/ 3466170 h 6380470"/>
              <a:gd name="connsiteX1456" fmla="*/ 5658107 w 11625583"/>
              <a:gd name="connsiteY1456" fmla="*/ 3401504 h 6380470"/>
              <a:gd name="connsiteX1457" fmla="*/ 5501536 w 11625583"/>
              <a:gd name="connsiteY1457" fmla="*/ 3401504 h 6380470"/>
              <a:gd name="connsiteX1458" fmla="*/ 5566202 w 11625583"/>
              <a:gd name="connsiteY1458" fmla="*/ 3466170 h 6380470"/>
              <a:gd name="connsiteX1459" fmla="*/ 5501536 w 11625583"/>
              <a:gd name="connsiteY1459" fmla="*/ 3530836 h 6380470"/>
              <a:gd name="connsiteX1460" fmla="*/ 5436874 w 11625583"/>
              <a:gd name="connsiteY1460" fmla="*/ 3466170 h 6380470"/>
              <a:gd name="connsiteX1461" fmla="*/ 5501536 w 11625583"/>
              <a:gd name="connsiteY1461" fmla="*/ 3401504 h 6380470"/>
              <a:gd name="connsiteX1462" fmla="*/ 5348883 w 11625583"/>
              <a:gd name="connsiteY1462" fmla="*/ 3401504 h 6380470"/>
              <a:gd name="connsiteX1463" fmla="*/ 5413547 w 11625583"/>
              <a:gd name="connsiteY1463" fmla="*/ 3466170 h 6380470"/>
              <a:gd name="connsiteX1464" fmla="*/ 5348883 w 11625583"/>
              <a:gd name="connsiteY1464" fmla="*/ 3530836 h 6380470"/>
              <a:gd name="connsiteX1465" fmla="*/ 5284218 w 11625583"/>
              <a:gd name="connsiteY1465" fmla="*/ 3466170 h 6380470"/>
              <a:gd name="connsiteX1466" fmla="*/ 5348883 w 11625583"/>
              <a:gd name="connsiteY1466" fmla="*/ 3401504 h 6380470"/>
              <a:gd name="connsiteX1467" fmla="*/ 5192310 w 11625583"/>
              <a:gd name="connsiteY1467" fmla="*/ 3401504 h 6380470"/>
              <a:gd name="connsiteX1468" fmla="*/ 5256973 w 11625583"/>
              <a:gd name="connsiteY1468" fmla="*/ 3466170 h 6380470"/>
              <a:gd name="connsiteX1469" fmla="*/ 5192310 w 11625583"/>
              <a:gd name="connsiteY1469" fmla="*/ 3530836 h 6380470"/>
              <a:gd name="connsiteX1470" fmla="*/ 5127643 w 11625583"/>
              <a:gd name="connsiteY1470" fmla="*/ 3466170 h 6380470"/>
              <a:gd name="connsiteX1471" fmla="*/ 5192310 w 11625583"/>
              <a:gd name="connsiteY1471" fmla="*/ 3401504 h 6380470"/>
              <a:gd name="connsiteX1472" fmla="*/ 5031826 w 11625583"/>
              <a:gd name="connsiteY1472" fmla="*/ 3401504 h 6380470"/>
              <a:gd name="connsiteX1473" fmla="*/ 5096490 w 11625583"/>
              <a:gd name="connsiteY1473" fmla="*/ 3466170 h 6380470"/>
              <a:gd name="connsiteX1474" fmla="*/ 5031826 w 11625583"/>
              <a:gd name="connsiteY1474" fmla="*/ 3530836 h 6380470"/>
              <a:gd name="connsiteX1475" fmla="*/ 4967156 w 11625583"/>
              <a:gd name="connsiteY1475" fmla="*/ 3466170 h 6380470"/>
              <a:gd name="connsiteX1476" fmla="*/ 5031826 w 11625583"/>
              <a:gd name="connsiteY1476" fmla="*/ 3401504 h 6380470"/>
              <a:gd name="connsiteX1477" fmla="*/ 2698926 w 11625583"/>
              <a:gd name="connsiteY1477" fmla="*/ 3401504 h 6380470"/>
              <a:gd name="connsiteX1478" fmla="*/ 2763588 w 11625583"/>
              <a:gd name="connsiteY1478" fmla="*/ 3466170 h 6380470"/>
              <a:gd name="connsiteX1479" fmla="*/ 2698926 w 11625583"/>
              <a:gd name="connsiteY1479" fmla="*/ 3530836 h 6380470"/>
              <a:gd name="connsiteX1480" fmla="*/ 2634264 w 11625583"/>
              <a:gd name="connsiteY1480" fmla="*/ 3466170 h 6380470"/>
              <a:gd name="connsiteX1481" fmla="*/ 2698926 w 11625583"/>
              <a:gd name="connsiteY1481" fmla="*/ 3401504 h 6380470"/>
              <a:gd name="connsiteX1482" fmla="*/ 2546275 w 11625583"/>
              <a:gd name="connsiteY1482" fmla="*/ 3401504 h 6380470"/>
              <a:gd name="connsiteX1483" fmla="*/ 2610938 w 11625583"/>
              <a:gd name="connsiteY1483" fmla="*/ 3466170 h 6380470"/>
              <a:gd name="connsiteX1484" fmla="*/ 2546275 w 11625583"/>
              <a:gd name="connsiteY1484" fmla="*/ 3530836 h 6380470"/>
              <a:gd name="connsiteX1485" fmla="*/ 2481613 w 11625583"/>
              <a:gd name="connsiteY1485" fmla="*/ 3466170 h 6380470"/>
              <a:gd name="connsiteX1486" fmla="*/ 2546275 w 11625583"/>
              <a:gd name="connsiteY1486" fmla="*/ 3401504 h 6380470"/>
              <a:gd name="connsiteX1487" fmla="*/ 9541123 w 11625583"/>
              <a:gd name="connsiteY1487" fmla="*/ 3264501 h 6380470"/>
              <a:gd name="connsiteX1488" fmla="*/ 9605789 w 11625583"/>
              <a:gd name="connsiteY1488" fmla="*/ 3329167 h 6380470"/>
              <a:gd name="connsiteX1489" fmla="*/ 9541123 w 11625583"/>
              <a:gd name="connsiteY1489" fmla="*/ 3393833 h 6380470"/>
              <a:gd name="connsiteX1490" fmla="*/ 9476457 w 11625583"/>
              <a:gd name="connsiteY1490" fmla="*/ 3329167 h 6380470"/>
              <a:gd name="connsiteX1491" fmla="*/ 9541123 w 11625583"/>
              <a:gd name="connsiteY1491" fmla="*/ 3264501 h 6380470"/>
              <a:gd name="connsiteX1492" fmla="*/ 9384550 w 11625583"/>
              <a:gd name="connsiteY1492" fmla="*/ 3264501 h 6380470"/>
              <a:gd name="connsiteX1493" fmla="*/ 9449216 w 11625583"/>
              <a:gd name="connsiteY1493" fmla="*/ 3329167 h 6380470"/>
              <a:gd name="connsiteX1494" fmla="*/ 9384550 w 11625583"/>
              <a:gd name="connsiteY1494" fmla="*/ 3393833 h 6380470"/>
              <a:gd name="connsiteX1495" fmla="*/ 9319884 w 11625583"/>
              <a:gd name="connsiteY1495" fmla="*/ 3329167 h 6380470"/>
              <a:gd name="connsiteX1496" fmla="*/ 9384550 w 11625583"/>
              <a:gd name="connsiteY1496" fmla="*/ 3264501 h 6380470"/>
              <a:gd name="connsiteX1497" fmla="*/ 9075317 w 11625583"/>
              <a:gd name="connsiteY1497" fmla="*/ 3264501 h 6380470"/>
              <a:gd name="connsiteX1498" fmla="*/ 9139983 w 11625583"/>
              <a:gd name="connsiteY1498" fmla="*/ 3329167 h 6380470"/>
              <a:gd name="connsiteX1499" fmla="*/ 9075317 w 11625583"/>
              <a:gd name="connsiteY1499" fmla="*/ 3393833 h 6380470"/>
              <a:gd name="connsiteX1500" fmla="*/ 9010651 w 11625583"/>
              <a:gd name="connsiteY1500" fmla="*/ 3329167 h 6380470"/>
              <a:gd name="connsiteX1501" fmla="*/ 9075317 w 11625583"/>
              <a:gd name="connsiteY1501" fmla="*/ 3264501 h 6380470"/>
              <a:gd name="connsiteX1502" fmla="*/ 8914829 w 11625583"/>
              <a:gd name="connsiteY1502" fmla="*/ 3264501 h 6380470"/>
              <a:gd name="connsiteX1503" fmla="*/ 8979495 w 11625583"/>
              <a:gd name="connsiteY1503" fmla="*/ 3329167 h 6380470"/>
              <a:gd name="connsiteX1504" fmla="*/ 8914829 w 11625583"/>
              <a:gd name="connsiteY1504" fmla="*/ 3393833 h 6380470"/>
              <a:gd name="connsiteX1505" fmla="*/ 8850163 w 11625583"/>
              <a:gd name="connsiteY1505" fmla="*/ 3329167 h 6380470"/>
              <a:gd name="connsiteX1506" fmla="*/ 8914829 w 11625583"/>
              <a:gd name="connsiteY1506" fmla="*/ 3264501 h 6380470"/>
              <a:gd name="connsiteX1507" fmla="*/ 8766086 w 11625583"/>
              <a:gd name="connsiteY1507" fmla="*/ 3264501 h 6380470"/>
              <a:gd name="connsiteX1508" fmla="*/ 8830752 w 11625583"/>
              <a:gd name="connsiteY1508" fmla="*/ 3329167 h 6380470"/>
              <a:gd name="connsiteX1509" fmla="*/ 8766086 w 11625583"/>
              <a:gd name="connsiteY1509" fmla="*/ 3393833 h 6380470"/>
              <a:gd name="connsiteX1510" fmla="*/ 8701420 w 11625583"/>
              <a:gd name="connsiteY1510" fmla="*/ 3329167 h 6380470"/>
              <a:gd name="connsiteX1511" fmla="*/ 8766086 w 11625583"/>
              <a:gd name="connsiteY1511" fmla="*/ 3264501 h 6380470"/>
              <a:gd name="connsiteX1512" fmla="*/ 8601683 w 11625583"/>
              <a:gd name="connsiteY1512" fmla="*/ 3264501 h 6380470"/>
              <a:gd name="connsiteX1513" fmla="*/ 8666349 w 11625583"/>
              <a:gd name="connsiteY1513" fmla="*/ 3329167 h 6380470"/>
              <a:gd name="connsiteX1514" fmla="*/ 8601683 w 11625583"/>
              <a:gd name="connsiteY1514" fmla="*/ 3393833 h 6380470"/>
              <a:gd name="connsiteX1515" fmla="*/ 8537017 w 11625583"/>
              <a:gd name="connsiteY1515" fmla="*/ 3329167 h 6380470"/>
              <a:gd name="connsiteX1516" fmla="*/ 8601683 w 11625583"/>
              <a:gd name="connsiteY1516" fmla="*/ 3264501 h 6380470"/>
              <a:gd name="connsiteX1517" fmla="*/ 8139792 w 11625583"/>
              <a:gd name="connsiteY1517" fmla="*/ 3264501 h 6380470"/>
              <a:gd name="connsiteX1518" fmla="*/ 8204458 w 11625583"/>
              <a:gd name="connsiteY1518" fmla="*/ 3329167 h 6380470"/>
              <a:gd name="connsiteX1519" fmla="*/ 8139792 w 11625583"/>
              <a:gd name="connsiteY1519" fmla="*/ 3393833 h 6380470"/>
              <a:gd name="connsiteX1520" fmla="*/ 8075126 w 11625583"/>
              <a:gd name="connsiteY1520" fmla="*/ 3329167 h 6380470"/>
              <a:gd name="connsiteX1521" fmla="*/ 8139792 w 11625583"/>
              <a:gd name="connsiteY1521" fmla="*/ 3264501 h 6380470"/>
              <a:gd name="connsiteX1522" fmla="*/ 7987133 w 11625583"/>
              <a:gd name="connsiteY1522" fmla="*/ 3264501 h 6380470"/>
              <a:gd name="connsiteX1523" fmla="*/ 8051799 w 11625583"/>
              <a:gd name="connsiteY1523" fmla="*/ 3329167 h 6380470"/>
              <a:gd name="connsiteX1524" fmla="*/ 7987133 w 11625583"/>
              <a:gd name="connsiteY1524" fmla="*/ 3393833 h 6380470"/>
              <a:gd name="connsiteX1525" fmla="*/ 7922467 w 11625583"/>
              <a:gd name="connsiteY1525" fmla="*/ 3329167 h 6380470"/>
              <a:gd name="connsiteX1526" fmla="*/ 7987133 w 11625583"/>
              <a:gd name="connsiteY1526" fmla="*/ 3264501 h 6380470"/>
              <a:gd name="connsiteX1527" fmla="*/ 7212096 w 11625583"/>
              <a:gd name="connsiteY1527" fmla="*/ 3264501 h 6380470"/>
              <a:gd name="connsiteX1528" fmla="*/ 7276762 w 11625583"/>
              <a:gd name="connsiteY1528" fmla="*/ 3329167 h 6380470"/>
              <a:gd name="connsiteX1529" fmla="*/ 7212096 w 11625583"/>
              <a:gd name="connsiteY1529" fmla="*/ 3393833 h 6380470"/>
              <a:gd name="connsiteX1530" fmla="*/ 7147430 w 11625583"/>
              <a:gd name="connsiteY1530" fmla="*/ 3329167 h 6380470"/>
              <a:gd name="connsiteX1531" fmla="*/ 7212096 w 11625583"/>
              <a:gd name="connsiteY1531" fmla="*/ 3264501 h 6380470"/>
              <a:gd name="connsiteX1532" fmla="*/ 7055523 w 11625583"/>
              <a:gd name="connsiteY1532" fmla="*/ 3264501 h 6380470"/>
              <a:gd name="connsiteX1533" fmla="*/ 7120189 w 11625583"/>
              <a:gd name="connsiteY1533" fmla="*/ 3329167 h 6380470"/>
              <a:gd name="connsiteX1534" fmla="*/ 7055523 w 11625583"/>
              <a:gd name="connsiteY1534" fmla="*/ 3393833 h 6380470"/>
              <a:gd name="connsiteX1535" fmla="*/ 6990857 w 11625583"/>
              <a:gd name="connsiteY1535" fmla="*/ 3329167 h 6380470"/>
              <a:gd name="connsiteX1536" fmla="*/ 7055523 w 11625583"/>
              <a:gd name="connsiteY1536" fmla="*/ 3264501 h 6380470"/>
              <a:gd name="connsiteX1537" fmla="*/ 6895037 w 11625583"/>
              <a:gd name="connsiteY1537" fmla="*/ 3264501 h 6380470"/>
              <a:gd name="connsiteX1538" fmla="*/ 6959703 w 11625583"/>
              <a:gd name="connsiteY1538" fmla="*/ 3329167 h 6380470"/>
              <a:gd name="connsiteX1539" fmla="*/ 6895037 w 11625583"/>
              <a:gd name="connsiteY1539" fmla="*/ 3393833 h 6380470"/>
              <a:gd name="connsiteX1540" fmla="*/ 6830371 w 11625583"/>
              <a:gd name="connsiteY1540" fmla="*/ 3329167 h 6380470"/>
              <a:gd name="connsiteX1541" fmla="*/ 6895037 w 11625583"/>
              <a:gd name="connsiteY1541" fmla="*/ 3264501 h 6380470"/>
              <a:gd name="connsiteX1542" fmla="*/ 6585802 w 11625583"/>
              <a:gd name="connsiteY1542" fmla="*/ 3264501 h 6380470"/>
              <a:gd name="connsiteX1543" fmla="*/ 6650468 w 11625583"/>
              <a:gd name="connsiteY1543" fmla="*/ 3329167 h 6380470"/>
              <a:gd name="connsiteX1544" fmla="*/ 6585802 w 11625583"/>
              <a:gd name="connsiteY1544" fmla="*/ 3393833 h 6380470"/>
              <a:gd name="connsiteX1545" fmla="*/ 6521136 w 11625583"/>
              <a:gd name="connsiteY1545" fmla="*/ 3329167 h 6380470"/>
              <a:gd name="connsiteX1546" fmla="*/ 6585802 w 11625583"/>
              <a:gd name="connsiteY1546" fmla="*/ 3264501 h 6380470"/>
              <a:gd name="connsiteX1547" fmla="*/ 6429229 w 11625583"/>
              <a:gd name="connsiteY1547" fmla="*/ 3264501 h 6380470"/>
              <a:gd name="connsiteX1548" fmla="*/ 6493895 w 11625583"/>
              <a:gd name="connsiteY1548" fmla="*/ 3329167 h 6380470"/>
              <a:gd name="connsiteX1549" fmla="*/ 6429229 w 11625583"/>
              <a:gd name="connsiteY1549" fmla="*/ 3393833 h 6380470"/>
              <a:gd name="connsiteX1550" fmla="*/ 6364563 w 11625583"/>
              <a:gd name="connsiteY1550" fmla="*/ 3329167 h 6380470"/>
              <a:gd name="connsiteX1551" fmla="*/ 6429229 w 11625583"/>
              <a:gd name="connsiteY1551" fmla="*/ 3264501 h 6380470"/>
              <a:gd name="connsiteX1552" fmla="*/ 6276571 w 11625583"/>
              <a:gd name="connsiteY1552" fmla="*/ 3264501 h 6380470"/>
              <a:gd name="connsiteX1553" fmla="*/ 6341237 w 11625583"/>
              <a:gd name="connsiteY1553" fmla="*/ 3329167 h 6380470"/>
              <a:gd name="connsiteX1554" fmla="*/ 6276571 w 11625583"/>
              <a:gd name="connsiteY1554" fmla="*/ 3393833 h 6380470"/>
              <a:gd name="connsiteX1555" fmla="*/ 6211905 w 11625583"/>
              <a:gd name="connsiteY1555" fmla="*/ 3329167 h 6380470"/>
              <a:gd name="connsiteX1556" fmla="*/ 6276571 w 11625583"/>
              <a:gd name="connsiteY1556" fmla="*/ 3264501 h 6380470"/>
              <a:gd name="connsiteX1557" fmla="*/ 6119999 w 11625583"/>
              <a:gd name="connsiteY1557" fmla="*/ 3264501 h 6380470"/>
              <a:gd name="connsiteX1558" fmla="*/ 6184665 w 11625583"/>
              <a:gd name="connsiteY1558" fmla="*/ 3329167 h 6380470"/>
              <a:gd name="connsiteX1559" fmla="*/ 6119999 w 11625583"/>
              <a:gd name="connsiteY1559" fmla="*/ 3393833 h 6380470"/>
              <a:gd name="connsiteX1560" fmla="*/ 6055333 w 11625583"/>
              <a:gd name="connsiteY1560" fmla="*/ 3329167 h 6380470"/>
              <a:gd name="connsiteX1561" fmla="*/ 6119999 w 11625583"/>
              <a:gd name="connsiteY1561" fmla="*/ 3264501 h 6380470"/>
              <a:gd name="connsiteX1562" fmla="*/ 5967338 w 11625583"/>
              <a:gd name="connsiteY1562" fmla="*/ 3264501 h 6380470"/>
              <a:gd name="connsiteX1563" fmla="*/ 6032004 w 11625583"/>
              <a:gd name="connsiteY1563" fmla="*/ 3329167 h 6380470"/>
              <a:gd name="connsiteX1564" fmla="*/ 5967338 w 11625583"/>
              <a:gd name="connsiteY1564" fmla="*/ 3393833 h 6380470"/>
              <a:gd name="connsiteX1565" fmla="*/ 5902672 w 11625583"/>
              <a:gd name="connsiteY1565" fmla="*/ 3329167 h 6380470"/>
              <a:gd name="connsiteX1566" fmla="*/ 5967338 w 11625583"/>
              <a:gd name="connsiteY1566" fmla="*/ 3264501 h 6380470"/>
              <a:gd name="connsiteX1567" fmla="*/ 5810780 w 11625583"/>
              <a:gd name="connsiteY1567" fmla="*/ 3264501 h 6380470"/>
              <a:gd name="connsiteX1568" fmla="*/ 5875431 w 11625583"/>
              <a:gd name="connsiteY1568" fmla="*/ 3329167 h 6380470"/>
              <a:gd name="connsiteX1569" fmla="*/ 5810780 w 11625583"/>
              <a:gd name="connsiteY1569" fmla="*/ 3393833 h 6380470"/>
              <a:gd name="connsiteX1570" fmla="*/ 5746106 w 11625583"/>
              <a:gd name="connsiteY1570" fmla="*/ 3329167 h 6380470"/>
              <a:gd name="connsiteX1571" fmla="*/ 5810780 w 11625583"/>
              <a:gd name="connsiteY1571" fmla="*/ 3264501 h 6380470"/>
              <a:gd name="connsiteX1572" fmla="*/ 5658107 w 11625583"/>
              <a:gd name="connsiteY1572" fmla="*/ 3264501 h 6380470"/>
              <a:gd name="connsiteX1573" fmla="*/ 5722777 w 11625583"/>
              <a:gd name="connsiteY1573" fmla="*/ 3329167 h 6380470"/>
              <a:gd name="connsiteX1574" fmla="*/ 5658107 w 11625583"/>
              <a:gd name="connsiteY1574" fmla="*/ 3393833 h 6380470"/>
              <a:gd name="connsiteX1575" fmla="*/ 5593441 w 11625583"/>
              <a:gd name="connsiteY1575" fmla="*/ 3329167 h 6380470"/>
              <a:gd name="connsiteX1576" fmla="*/ 5658107 w 11625583"/>
              <a:gd name="connsiteY1576" fmla="*/ 3264501 h 6380470"/>
              <a:gd name="connsiteX1577" fmla="*/ 5501536 w 11625583"/>
              <a:gd name="connsiteY1577" fmla="*/ 3264501 h 6380470"/>
              <a:gd name="connsiteX1578" fmla="*/ 5566202 w 11625583"/>
              <a:gd name="connsiteY1578" fmla="*/ 3329167 h 6380470"/>
              <a:gd name="connsiteX1579" fmla="*/ 5501536 w 11625583"/>
              <a:gd name="connsiteY1579" fmla="*/ 3393833 h 6380470"/>
              <a:gd name="connsiteX1580" fmla="*/ 5436876 w 11625583"/>
              <a:gd name="connsiteY1580" fmla="*/ 3329167 h 6380470"/>
              <a:gd name="connsiteX1581" fmla="*/ 5501536 w 11625583"/>
              <a:gd name="connsiteY1581" fmla="*/ 3264501 h 6380470"/>
              <a:gd name="connsiteX1582" fmla="*/ 5348883 w 11625583"/>
              <a:gd name="connsiteY1582" fmla="*/ 3264501 h 6380470"/>
              <a:gd name="connsiteX1583" fmla="*/ 5413547 w 11625583"/>
              <a:gd name="connsiteY1583" fmla="*/ 3329167 h 6380470"/>
              <a:gd name="connsiteX1584" fmla="*/ 5348883 w 11625583"/>
              <a:gd name="connsiteY1584" fmla="*/ 3393833 h 6380470"/>
              <a:gd name="connsiteX1585" fmla="*/ 5284218 w 11625583"/>
              <a:gd name="connsiteY1585" fmla="*/ 3329167 h 6380470"/>
              <a:gd name="connsiteX1586" fmla="*/ 5348883 w 11625583"/>
              <a:gd name="connsiteY1586" fmla="*/ 3264501 h 6380470"/>
              <a:gd name="connsiteX1587" fmla="*/ 5192310 w 11625583"/>
              <a:gd name="connsiteY1587" fmla="*/ 3264501 h 6380470"/>
              <a:gd name="connsiteX1588" fmla="*/ 5256973 w 11625583"/>
              <a:gd name="connsiteY1588" fmla="*/ 3329167 h 6380470"/>
              <a:gd name="connsiteX1589" fmla="*/ 5192310 w 11625583"/>
              <a:gd name="connsiteY1589" fmla="*/ 3393833 h 6380470"/>
              <a:gd name="connsiteX1590" fmla="*/ 5127643 w 11625583"/>
              <a:gd name="connsiteY1590" fmla="*/ 3329167 h 6380470"/>
              <a:gd name="connsiteX1591" fmla="*/ 5192310 w 11625583"/>
              <a:gd name="connsiteY1591" fmla="*/ 3264501 h 6380470"/>
              <a:gd name="connsiteX1592" fmla="*/ 5031828 w 11625583"/>
              <a:gd name="connsiteY1592" fmla="*/ 3264501 h 6380470"/>
              <a:gd name="connsiteX1593" fmla="*/ 5096490 w 11625583"/>
              <a:gd name="connsiteY1593" fmla="*/ 3329167 h 6380470"/>
              <a:gd name="connsiteX1594" fmla="*/ 5031828 w 11625583"/>
              <a:gd name="connsiteY1594" fmla="*/ 3393833 h 6380470"/>
              <a:gd name="connsiteX1595" fmla="*/ 4967156 w 11625583"/>
              <a:gd name="connsiteY1595" fmla="*/ 3329167 h 6380470"/>
              <a:gd name="connsiteX1596" fmla="*/ 5031828 w 11625583"/>
              <a:gd name="connsiteY1596" fmla="*/ 3264501 h 6380470"/>
              <a:gd name="connsiteX1597" fmla="*/ 3172560 w 11625583"/>
              <a:gd name="connsiteY1597" fmla="*/ 3264501 h 6380470"/>
              <a:gd name="connsiteX1598" fmla="*/ 3237227 w 11625583"/>
              <a:gd name="connsiteY1598" fmla="*/ 3329167 h 6380470"/>
              <a:gd name="connsiteX1599" fmla="*/ 3172560 w 11625583"/>
              <a:gd name="connsiteY1599" fmla="*/ 3393833 h 6380470"/>
              <a:gd name="connsiteX1600" fmla="*/ 3107886 w 11625583"/>
              <a:gd name="connsiteY1600" fmla="*/ 3329167 h 6380470"/>
              <a:gd name="connsiteX1601" fmla="*/ 3172560 w 11625583"/>
              <a:gd name="connsiteY1601" fmla="*/ 3264501 h 6380470"/>
              <a:gd name="connsiteX1602" fmla="*/ 2546279 w 11625583"/>
              <a:gd name="connsiteY1602" fmla="*/ 3264501 h 6380470"/>
              <a:gd name="connsiteX1603" fmla="*/ 2610943 w 11625583"/>
              <a:gd name="connsiteY1603" fmla="*/ 3329167 h 6380470"/>
              <a:gd name="connsiteX1604" fmla="*/ 2546279 w 11625583"/>
              <a:gd name="connsiteY1604" fmla="*/ 3393833 h 6380470"/>
              <a:gd name="connsiteX1605" fmla="*/ 2481617 w 11625583"/>
              <a:gd name="connsiteY1605" fmla="*/ 3329167 h 6380470"/>
              <a:gd name="connsiteX1606" fmla="*/ 2546279 w 11625583"/>
              <a:gd name="connsiteY1606" fmla="*/ 3264501 h 6380470"/>
              <a:gd name="connsiteX1607" fmla="*/ 2389697 w 11625583"/>
              <a:gd name="connsiteY1607" fmla="*/ 3264501 h 6380470"/>
              <a:gd name="connsiteX1608" fmla="*/ 2454380 w 11625583"/>
              <a:gd name="connsiteY1608" fmla="*/ 3329167 h 6380470"/>
              <a:gd name="connsiteX1609" fmla="*/ 2389697 w 11625583"/>
              <a:gd name="connsiteY1609" fmla="*/ 3393833 h 6380470"/>
              <a:gd name="connsiteX1610" fmla="*/ 2325045 w 11625583"/>
              <a:gd name="connsiteY1610" fmla="*/ 3329167 h 6380470"/>
              <a:gd name="connsiteX1611" fmla="*/ 2389697 w 11625583"/>
              <a:gd name="connsiteY1611" fmla="*/ 3264501 h 6380470"/>
              <a:gd name="connsiteX1612" fmla="*/ 2237042 w 11625583"/>
              <a:gd name="connsiteY1612" fmla="*/ 3264501 h 6380470"/>
              <a:gd name="connsiteX1613" fmla="*/ 2301715 w 11625583"/>
              <a:gd name="connsiteY1613" fmla="*/ 3329167 h 6380470"/>
              <a:gd name="connsiteX1614" fmla="*/ 2237042 w 11625583"/>
              <a:gd name="connsiteY1614" fmla="*/ 3393833 h 6380470"/>
              <a:gd name="connsiteX1615" fmla="*/ 2172369 w 11625583"/>
              <a:gd name="connsiteY1615" fmla="*/ 3329167 h 6380470"/>
              <a:gd name="connsiteX1616" fmla="*/ 2237042 w 11625583"/>
              <a:gd name="connsiteY1616" fmla="*/ 3264501 h 6380470"/>
              <a:gd name="connsiteX1617" fmla="*/ 2084374 w 11625583"/>
              <a:gd name="connsiteY1617" fmla="*/ 3264501 h 6380470"/>
              <a:gd name="connsiteX1618" fmla="*/ 2149037 w 11625583"/>
              <a:gd name="connsiteY1618" fmla="*/ 3329167 h 6380470"/>
              <a:gd name="connsiteX1619" fmla="*/ 2084374 w 11625583"/>
              <a:gd name="connsiteY1619" fmla="*/ 3393833 h 6380470"/>
              <a:gd name="connsiteX1620" fmla="*/ 2019717 w 11625583"/>
              <a:gd name="connsiteY1620" fmla="*/ 3329167 h 6380470"/>
              <a:gd name="connsiteX1621" fmla="*/ 2084374 w 11625583"/>
              <a:gd name="connsiteY1621" fmla="*/ 3264501 h 6380470"/>
              <a:gd name="connsiteX1622" fmla="*/ 8914829 w 11625583"/>
              <a:gd name="connsiteY1622" fmla="*/ 3131417 h 6380470"/>
              <a:gd name="connsiteX1623" fmla="*/ 8979495 w 11625583"/>
              <a:gd name="connsiteY1623" fmla="*/ 3196083 h 6380470"/>
              <a:gd name="connsiteX1624" fmla="*/ 8914829 w 11625583"/>
              <a:gd name="connsiteY1624" fmla="*/ 3260749 h 6380470"/>
              <a:gd name="connsiteX1625" fmla="*/ 8850163 w 11625583"/>
              <a:gd name="connsiteY1625" fmla="*/ 3196083 h 6380470"/>
              <a:gd name="connsiteX1626" fmla="*/ 8914829 w 11625583"/>
              <a:gd name="connsiteY1626" fmla="*/ 3131417 h 6380470"/>
              <a:gd name="connsiteX1627" fmla="*/ 8766086 w 11625583"/>
              <a:gd name="connsiteY1627" fmla="*/ 3131417 h 6380470"/>
              <a:gd name="connsiteX1628" fmla="*/ 8830752 w 11625583"/>
              <a:gd name="connsiteY1628" fmla="*/ 3196083 h 6380470"/>
              <a:gd name="connsiteX1629" fmla="*/ 8766086 w 11625583"/>
              <a:gd name="connsiteY1629" fmla="*/ 3260749 h 6380470"/>
              <a:gd name="connsiteX1630" fmla="*/ 8701420 w 11625583"/>
              <a:gd name="connsiteY1630" fmla="*/ 3196083 h 6380470"/>
              <a:gd name="connsiteX1631" fmla="*/ 8766086 w 11625583"/>
              <a:gd name="connsiteY1631" fmla="*/ 3131417 h 6380470"/>
              <a:gd name="connsiteX1632" fmla="*/ 8601683 w 11625583"/>
              <a:gd name="connsiteY1632" fmla="*/ 3131417 h 6380470"/>
              <a:gd name="connsiteX1633" fmla="*/ 8666349 w 11625583"/>
              <a:gd name="connsiteY1633" fmla="*/ 3196083 h 6380470"/>
              <a:gd name="connsiteX1634" fmla="*/ 8601683 w 11625583"/>
              <a:gd name="connsiteY1634" fmla="*/ 3260749 h 6380470"/>
              <a:gd name="connsiteX1635" fmla="*/ 8537017 w 11625583"/>
              <a:gd name="connsiteY1635" fmla="*/ 3196083 h 6380470"/>
              <a:gd name="connsiteX1636" fmla="*/ 8601683 w 11625583"/>
              <a:gd name="connsiteY1636" fmla="*/ 3131417 h 6380470"/>
              <a:gd name="connsiteX1637" fmla="*/ 8296367 w 11625583"/>
              <a:gd name="connsiteY1637" fmla="*/ 3131417 h 6380470"/>
              <a:gd name="connsiteX1638" fmla="*/ 8361033 w 11625583"/>
              <a:gd name="connsiteY1638" fmla="*/ 3196083 h 6380470"/>
              <a:gd name="connsiteX1639" fmla="*/ 8296367 w 11625583"/>
              <a:gd name="connsiteY1639" fmla="*/ 3260749 h 6380470"/>
              <a:gd name="connsiteX1640" fmla="*/ 8231701 w 11625583"/>
              <a:gd name="connsiteY1640" fmla="*/ 3196083 h 6380470"/>
              <a:gd name="connsiteX1641" fmla="*/ 8296367 w 11625583"/>
              <a:gd name="connsiteY1641" fmla="*/ 3131417 h 6380470"/>
              <a:gd name="connsiteX1642" fmla="*/ 8139792 w 11625583"/>
              <a:gd name="connsiteY1642" fmla="*/ 3131417 h 6380470"/>
              <a:gd name="connsiteX1643" fmla="*/ 8204458 w 11625583"/>
              <a:gd name="connsiteY1643" fmla="*/ 3196083 h 6380470"/>
              <a:gd name="connsiteX1644" fmla="*/ 8139792 w 11625583"/>
              <a:gd name="connsiteY1644" fmla="*/ 3260749 h 6380470"/>
              <a:gd name="connsiteX1645" fmla="*/ 8075126 w 11625583"/>
              <a:gd name="connsiteY1645" fmla="*/ 3196083 h 6380470"/>
              <a:gd name="connsiteX1646" fmla="*/ 8139792 w 11625583"/>
              <a:gd name="connsiteY1646" fmla="*/ 3131417 h 6380470"/>
              <a:gd name="connsiteX1647" fmla="*/ 7987133 w 11625583"/>
              <a:gd name="connsiteY1647" fmla="*/ 3131417 h 6380470"/>
              <a:gd name="connsiteX1648" fmla="*/ 8051799 w 11625583"/>
              <a:gd name="connsiteY1648" fmla="*/ 3196083 h 6380470"/>
              <a:gd name="connsiteX1649" fmla="*/ 7987133 w 11625583"/>
              <a:gd name="connsiteY1649" fmla="*/ 3260749 h 6380470"/>
              <a:gd name="connsiteX1650" fmla="*/ 7922467 w 11625583"/>
              <a:gd name="connsiteY1650" fmla="*/ 3196083 h 6380470"/>
              <a:gd name="connsiteX1651" fmla="*/ 7987133 w 11625583"/>
              <a:gd name="connsiteY1651" fmla="*/ 3131417 h 6380470"/>
              <a:gd name="connsiteX1652" fmla="*/ 7830562 w 11625583"/>
              <a:gd name="connsiteY1652" fmla="*/ 3131417 h 6380470"/>
              <a:gd name="connsiteX1653" fmla="*/ 7895228 w 11625583"/>
              <a:gd name="connsiteY1653" fmla="*/ 3196083 h 6380470"/>
              <a:gd name="connsiteX1654" fmla="*/ 7830562 w 11625583"/>
              <a:gd name="connsiteY1654" fmla="*/ 3260749 h 6380470"/>
              <a:gd name="connsiteX1655" fmla="*/ 7765896 w 11625583"/>
              <a:gd name="connsiteY1655" fmla="*/ 3196083 h 6380470"/>
              <a:gd name="connsiteX1656" fmla="*/ 7830562 w 11625583"/>
              <a:gd name="connsiteY1656" fmla="*/ 3131417 h 6380470"/>
              <a:gd name="connsiteX1657" fmla="*/ 7368669 w 11625583"/>
              <a:gd name="connsiteY1657" fmla="*/ 3131417 h 6380470"/>
              <a:gd name="connsiteX1658" fmla="*/ 7433335 w 11625583"/>
              <a:gd name="connsiteY1658" fmla="*/ 3196083 h 6380470"/>
              <a:gd name="connsiteX1659" fmla="*/ 7368669 w 11625583"/>
              <a:gd name="connsiteY1659" fmla="*/ 3260749 h 6380470"/>
              <a:gd name="connsiteX1660" fmla="*/ 7304003 w 11625583"/>
              <a:gd name="connsiteY1660" fmla="*/ 3196083 h 6380470"/>
              <a:gd name="connsiteX1661" fmla="*/ 7368669 w 11625583"/>
              <a:gd name="connsiteY1661" fmla="*/ 3131417 h 6380470"/>
              <a:gd name="connsiteX1662" fmla="*/ 7212096 w 11625583"/>
              <a:gd name="connsiteY1662" fmla="*/ 3131417 h 6380470"/>
              <a:gd name="connsiteX1663" fmla="*/ 7276762 w 11625583"/>
              <a:gd name="connsiteY1663" fmla="*/ 3196083 h 6380470"/>
              <a:gd name="connsiteX1664" fmla="*/ 7212096 w 11625583"/>
              <a:gd name="connsiteY1664" fmla="*/ 3260749 h 6380470"/>
              <a:gd name="connsiteX1665" fmla="*/ 7147430 w 11625583"/>
              <a:gd name="connsiteY1665" fmla="*/ 3196083 h 6380470"/>
              <a:gd name="connsiteX1666" fmla="*/ 7212096 w 11625583"/>
              <a:gd name="connsiteY1666" fmla="*/ 3131417 h 6380470"/>
              <a:gd name="connsiteX1667" fmla="*/ 7055523 w 11625583"/>
              <a:gd name="connsiteY1667" fmla="*/ 3131417 h 6380470"/>
              <a:gd name="connsiteX1668" fmla="*/ 7120189 w 11625583"/>
              <a:gd name="connsiteY1668" fmla="*/ 3196083 h 6380470"/>
              <a:gd name="connsiteX1669" fmla="*/ 7055523 w 11625583"/>
              <a:gd name="connsiteY1669" fmla="*/ 3260749 h 6380470"/>
              <a:gd name="connsiteX1670" fmla="*/ 6990857 w 11625583"/>
              <a:gd name="connsiteY1670" fmla="*/ 3196083 h 6380470"/>
              <a:gd name="connsiteX1671" fmla="*/ 7055523 w 11625583"/>
              <a:gd name="connsiteY1671" fmla="*/ 3131417 h 6380470"/>
              <a:gd name="connsiteX1672" fmla="*/ 6895037 w 11625583"/>
              <a:gd name="connsiteY1672" fmla="*/ 3131417 h 6380470"/>
              <a:gd name="connsiteX1673" fmla="*/ 6959703 w 11625583"/>
              <a:gd name="connsiteY1673" fmla="*/ 3196083 h 6380470"/>
              <a:gd name="connsiteX1674" fmla="*/ 6895037 w 11625583"/>
              <a:gd name="connsiteY1674" fmla="*/ 3260749 h 6380470"/>
              <a:gd name="connsiteX1675" fmla="*/ 6830371 w 11625583"/>
              <a:gd name="connsiteY1675" fmla="*/ 3196083 h 6380470"/>
              <a:gd name="connsiteX1676" fmla="*/ 6895037 w 11625583"/>
              <a:gd name="connsiteY1676" fmla="*/ 3131417 h 6380470"/>
              <a:gd name="connsiteX1677" fmla="*/ 6585802 w 11625583"/>
              <a:gd name="connsiteY1677" fmla="*/ 3131417 h 6380470"/>
              <a:gd name="connsiteX1678" fmla="*/ 6650468 w 11625583"/>
              <a:gd name="connsiteY1678" fmla="*/ 3196083 h 6380470"/>
              <a:gd name="connsiteX1679" fmla="*/ 6585802 w 11625583"/>
              <a:gd name="connsiteY1679" fmla="*/ 3260749 h 6380470"/>
              <a:gd name="connsiteX1680" fmla="*/ 6521136 w 11625583"/>
              <a:gd name="connsiteY1680" fmla="*/ 3196083 h 6380470"/>
              <a:gd name="connsiteX1681" fmla="*/ 6585802 w 11625583"/>
              <a:gd name="connsiteY1681" fmla="*/ 3131417 h 6380470"/>
              <a:gd name="connsiteX1682" fmla="*/ 6429229 w 11625583"/>
              <a:gd name="connsiteY1682" fmla="*/ 3131417 h 6380470"/>
              <a:gd name="connsiteX1683" fmla="*/ 6493895 w 11625583"/>
              <a:gd name="connsiteY1683" fmla="*/ 3196083 h 6380470"/>
              <a:gd name="connsiteX1684" fmla="*/ 6429229 w 11625583"/>
              <a:gd name="connsiteY1684" fmla="*/ 3260749 h 6380470"/>
              <a:gd name="connsiteX1685" fmla="*/ 6364563 w 11625583"/>
              <a:gd name="connsiteY1685" fmla="*/ 3196083 h 6380470"/>
              <a:gd name="connsiteX1686" fmla="*/ 6429229 w 11625583"/>
              <a:gd name="connsiteY1686" fmla="*/ 3131417 h 6380470"/>
              <a:gd name="connsiteX1687" fmla="*/ 6276571 w 11625583"/>
              <a:gd name="connsiteY1687" fmla="*/ 3131417 h 6380470"/>
              <a:gd name="connsiteX1688" fmla="*/ 6341237 w 11625583"/>
              <a:gd name="connsiteY1688" fmla="*/ 3196083 h 6380470"/>
              <a:gd name="connsiteX1689" fmla="*/ 6276571 w 11625583"/>
              <a:gd name="connsiteY1689" fmla="*/ 3260749 h 6380470"/>
              <a:gd name="connsiteX1690" fmla="*/ 6211905 w 11625583"/>
              <a:gd name="connsiteY1690" fmla="*/ 3196083 h 6380470"/>
              <a:gd name="connsiteX1691" fmla="*/ 6276571 w 11625583"/>
              <a:gd name="connsiteY1691" fmla="*/ 3131417 h 6380470"/>
              <a:gd name="connsiteX1692" fmla="*/ 6119999 w 11625583"/>
              <a:gd name="connsiteY1692" fmla="*/ 3131417 h 6380470"/>
              <a:gd name="connsiteX1693" fmla="*/ 6184665 w 11625583"/>
              <a:gd name="connsiteY1693" fmla="*/ 3196083 h 6380470"/>
              <a:gd name="connsiteX1694" fmla="*/ 6119999 w 11625583"/>
              <a:gd name="connsiteY1694" fmla="*/ 3260749 h 6380470"/>
              <a:gd name="connsiteX1695" fmla="*/ 6055333 w 11625583"/>
              <a:gd name="connsiteY1695" fmla="*/ 3196083 h 6380470"/>
              <a:gd name="connsiteX1696" fmla="*/ 6119999 w 11625583"/>
              <a:gd name="connsiteY1696" fmla="*/ 3131417 h 6380470"/>
              <a:gd name="connsiteX1697" fmla="*/ 5967338 w 11625583"/>
              <a:gd name="connsiteY1697" fmla="*/ 3131417 h 6380470"/>
              <a:gd name="connsiteX1698" fmla="*/ 6032004 w 11625583"/>
              <a:gd name="connsiteY1698" fmla="*/ 3196083 h 6380470"/>
              <a:gd name="connsiteX1699" fmla="*/ 5967338 w 11625583"/>
              <a:gd name="connsiteY1699" fmla="*/ 3260749 h 6380470"/>
              <a:gd name="connsiteX1700" fmla="*/ 5902672 w 11625583"/>
              <a:gd name="connsiteY1700" fmla="*/ 3196083 h 6380470"/>
              <a:gd name="connsiteX1701" fmla="*/ 5967338 w 11625583"/>
              <a:gd name="connsiteY1701" fmla="*/ 3131417 h 6380470"/>
              <a:gd name="connsiteX1702" fmla="*/ 5810780 w 11625583"/>
              <a:gd name="connsiteY1702" fmla="*/ 3131417 h 6380470"/>
              <a:gd name="connsiteX1703" fmla="*/ 5875431 w 11625583"/>
              <a:gd name="connsiteY1703" fmla="*/ 3196083 h 6380470"/>
              <a:gd name="connsiteX1704" fmla="*/ 5810780 w 11625583"/>
              <a:gd name="connsiteY1704" fmla="*/ 3260749 h 6380470"/>
              <a:gd name="connsiteX1705" fmla="*/ 5746108 w 11625583"/>
              <a:gd name="connsiteY1705" fmla="*/ 3196083 h 6380470"/>
              <a:gd name="connsiteX1706" fmla="*/ 5810780 w 11625583"/>
              <a:gd name="connsiteY1706" fmla="*/ 3131417 h 6380470"/>
              <a:gd name="connsiteX1707" fmla="*/ 5658107 w 11625583"/>
              <a:gd name="connsiteY1707" fmla="*/ 3131417 h 6380470"/>
              <a:gd name="connsiteX1708" fmla="*/ 5722777 w 11625583"/>
              <a:gd name="connsiteY1708" fmla="*/ 3196083 h 6380470"/>
              <a:gd name="connsiteX1709" fmla="*/ 5658107 w 11625583"/>
              <a:gd name="connsiteY1709" fmla="*/ 3260749 h 6380470"/>
              <a:gd name="connsiteX1710" fmla="*/ 5593441 w 11625583"/>
              <a:gd name="connsiteY1710" fmla="*/ 3196083 h 6380470"/>
              <a:gd name="connsiteX1711" fmla="*/ 5658107 w 11625583"/>
              <a:gd name="connsiteY1711" fmla="*/ 3131417 h 6380470"/>
              <a:gd name="connsiteX1712" fmla="*/ 5501538 w 11625583"/>
              <a:gd name="connsiteY1712" fmla="*/ 3131417 h 6380470"/>
              <a:gd name="connsiteX1713" fmla="*/ 5566202 w 11625583"/>
              <a:gd name="connsiteY1713" fmla="*/ 3196083 h 6380470"/>
              <a:gd name="connsiteX1714" fmla="*/ 5501538 w 11625583"/>
              <a:gd name="connsiteY1714" fmla="*/ 3260749 h 6380470"/>
              <a:gd name="connsiteX1715" fmla="*/ 5436876 w 11625583"/>
              <a:gd name="connsiteY1715" fmla="*/ 3196083 h 6380470"/>
              <a:gd name="connsiteX1716" fmla="*/ 5501538 w 11625583"/>
              <a:gd name="connsiteY1716" fmla="*/ 3131417 h 6380470"/>
              <a:gd name="connsiteX1717" fmla="*/ 5348883 w 11625583"/>
              <a:gd name="connsiteY1717" fmla="*/ 3131417 h 6380470"/>
              <a:gd name="connsiteX1718" fmla="*/ 5413549 w 11625583"/>
              <a:gd name="connsiteY1718" fmla="*/ 3196083 h 6380470"/>
              <a:gd name="connsiteX1719" fmla="*/ 5348883 w 11625583"/>
              <a:gd name="connsiteY1719" fmla="*/ 3260749 h 6380470"/>
              <a:gd name="connsiteX1720" fmla="*/ 5284218 w 11625583"/>
              <a:gd name="connsiteY1720" fmla="*/ 3196083 h 6380470"/>
              <a:gd name="connsiteX1721" fmla="*/ 5348883 w 11625583"/>
              <a:gd name="connsiteY1721" fmla="*/ 3131417 h 6380470"/>
              <a:gd name="connsiteX1722" fmla="*/ 5192310 w 11625583"/>
              <a:gd name="connsiteY1722" fmla="*/ 3131417 h 6380470"/>
              <a:gd name="connsiteX1723" fmla="*/ 5256975 w 11625583"/>
              <a:gd name="connsiteY1723" fmla="*/ 3196083 h 6380470"/>
              <a:gd name="connsiteX1724" fmla="*/ 5192310 w 11625583"/>
              <a:gd name="connsiteY1724" fmla="*/ 3260749 h 6380470"/>
              <a:gd name="connsiteX1725" fmla="*/ 5127644 w 11625583"/>
              <a:gd name="connsiteY1725" fmla="*/ 3196083 h 6380470"/>
              <a:gd name="connsiteX1726" fmla="*/ 5192310 w 11625583"/>
              <a:gd name="connsiteY1726" fmla="*/ 3131417 h 6380470"/>
              <a:gd name="connsiteX1727" fmla="*/ 5031828 w 11625583"/>
              <a:gd name="connsiteY1727" fmla="*/ 3131417 h 6380470"/>
              <a:gd name="connsiteX1728" fmla="*/ 5096490 w 11625583"/>
              <a:gd name="connsiteY1728" fmla="*/ 3196083 h 6380470"/>
              <a:gd name="connsiteX1729" fmla="*/ 5031828 w 11625583"/>
              <a:gd name="connsiteY1729" fmla="*/ 3260749 h 6380470"/>
              <a:gd name="connsiteX1730" fmla="*/ 4967158 w 11625583"/>
              <a:gd name="connsiteY1730" fmla="*/ 3196083 h 6380470"/>
              <a:gd name="connsiteX1731" fmla="*/ 5031828 w 11625583"/>
              <a:gd name="connsiteY1731" fmla="*/ 3131417 h 6380470"/>
              <a:gd name="connsiteX1732" fmla="*/ 2855500 w 11625583"/>
              <a:gd name="connsiteY1732" fmla="*/ 3131417 h 6380470"/>
              <a:gd name="connsiteX1733" fmla="*/ 2920162 w 11625583"/>
              <a:gd name="connsiteY1733" fmla="*/ 3196083 h 6380470"/>
              <a:gd name="connsiteX1734" fmla="*/ 2855500 w 11625583"/>
              <a:gd name="connsiteY1734" fmla="*/ 3260749 h 6380470"/>
              <a:gd name="connsiteX1735" fmla="*/ 2790838 w 11625583"/>
              <a:gd name="connsiteY1735" fmla="*/ 3196083 h 6380470"/>
              <a:gd name="connsiteX1736" fmla="*/ 2855500 w 11625583"/>
              <a:gd name="connsiteY1736" fmla="*/ 3131417 h 6380470"/>
              <a:gd name="connsiteX1737" fmla="*/ 2546285 w 11625583"/>
              <a:gd name="connsiteY1737" fmla="*/ 3131417 h 6380470"/>
              <a:gd name="connsiteX1738" fmla="*/ 2610949 w 11625583"/>
              <a:gd name="connsiteY1738" fmla="*/ 3196083 h 6380470"/>
              <a:gd name="connsiteX1739" fmla="*/ 2546285 w 11625583"/>
              <a:gd name="connsiteY1739" fmla="*/ 3260749 h 6380470"/>
              <a:gd name="connsiteX1740" fmla="*/ 2481623 w 11625583"/>
              <a:gd name="connsiteY1740" fmla="*/ 3196083 h 6380470"/>
              <a:gd name="connsiteX1741" fmla="*/ 2546285 w 11625583"/>
              <a:gd name="connsiteY1741" fmla="*/ 3131417 h 6380470"/>
              <a:gd name="connsiteX1742" fmla="*/ 2237047 w 11625583"/>
              <a:gd name="connsiteY1742" fmla="*/ 3131417 h 6380470"/>
              <a:gd name="connsiteX1743" fmla="*/ 2301721 w 11625583"/>
              <a:gd name="connsiteY1743" fmla="*/ 3196083 h 6380470"/>
              <a:gd name="connsiteX1744" fmla="*/ 2237047 w 11625583"/>
              <a:gd name="connsiteY1744" fmla="*/ 3260749 h 6380470"/>
              <a:gd name="connsiteX1745" fmla="*/ 2172373 w 11625583"/>
              <a:gd name="connsiteY1745" fmla="*/ 3196083 h 6380470"/>
              <a:gd name="connsiteX1746" fmla="*/ 2237047 w 11625583"/>
              <a:gd name="connsiteY1746" fmla="*/ 3131417 h 6380470"/>
              <a:gd name="connsiteX1747" fmla="*/ 2084377 w 11625583"/>
              <a:gd name="connsiteY1747" fmla="*/ 3131417 h 6380470"/>
              <a:gd name="connsiteX1748" fmla="*/ 2149042 w 11625583"/>
              <a:gd name="connsiteY1748" fmla="*/ 3196083 h 6380470"/>
              <a:gd name="connsiteX1749" fmla="*/ 2084377 w 11625583"/>
              <a:gd name="connsiteY1749" fmla="*/ 3260749 h 6380470"/>
              <a:gd name="connsiteX1750" fmla="*/ 2019725 w 11625583"/>
              <a:gd name="connsiteY1750" fmla="*/ 3196083 h 6380470"/>
              <a:gd name="connsiteX1751" fmla="*/ 2084377 w 11625583"/>
              <a:gd name="connsiteY1751" fmla="*/ 3131417 h 6380470"/>
              <a:gd name="connsiteX1752" fmla="*/ 9227976 w 11625583"/>
              <a:gd name="connsiteY1752" fmla="*/ 2986586 h 6380470"/>
              <a:gd name="connsiteX1753" fmla="*/ 9292642 w 11625583"/>
              <a:gd name="connsiteY1753" fmla="*/ 3051252 h 6380470"/>
              <a:gd name="connsiteX1754" fmla="*/ 9227976 w 11625583"/>
              <a:gd name="connsiteY1754" fmla="*/ 3115919 h 6380470"/>
              <a:gd name="connsiteX1755" fmla="*/ 9163310 w 11625583"/>
              <a:gd name="connsiteY1755" fmla="*/ 3051252 h 6380470"/>
              <a:gd name="connsiteX1756" fmla="*/ 9227976 w 11625583"/>
              <a:gd name="connsiteY1756" fmla="*/ 2986586 h 6380470"/>
              <a:gd name="connsiteX1757" fmla="*/ 9075317 w 11625583"/>
              <a:gd name="connsiteY1757" fmla="*/ 2986586 h 6380470"/>
              <a:gd name="connsiteX1758" fmla="*/ 9139983 w 11625583"/>
              <a:gd name="connsiteY1758" fmla="*/ 3051252 h 6380470"/>
              <a:gd name="connsiteX1759" fmla="*/ 9075317 w 11625583"/>
              <a:gd name="connsiteY1759" fmla="*/ 3115919 h 6380470"/>
              <a:gd name="connsiteX1760" fmla="*/ 9010651 w 11625583"/>
              <a:gd name="connsiteY1760" fmla="*/ 3051252 h 6380470"/>
              <a:gd name="connsiteX1761" fmla="*/ 9075317 w 11625583"/>
              <a:gd name="connsiteY1761" fmla="*/ 2986586 h 6380470"/>
              <a:gd name="connsiteX1762" fmla="*/ 9384550 w 11625583"/>
              <a:gd name="connsiteY1762" fmla="*/ 2986584 h 6380470"/>
              <a:gd name="connsiteX1763" fmla="*/ 9449216 w 11625583"/>
              <a:gd name="connsiteY1763" fmla="*/ 3051250 h 6380470"/>
              <a:gd name="connsiteX1764" fmla="*/ 9384550 w 11625583"/>
              <a:gd name="connsiteY1764" fmla="*/ 3115917 h 6380470"/>
              <a:gd name="connsiteX1765" fmla="*/ 9319884 w 11625583"/>
              <a:gd name="connsiteY1765" fmla="*/ 3051250 h 6380470"/>
              <a:gd name="connsiteX1766" fmla="*/ 9384550 w 11625583"/>
              <a:gd name="connsiteY1766" fmla="*/ 2986584 h 6380470"/>
              <a:gd name="connsiteX1767" fmla="*/ 8914829 w 11625583"/>
              <a:gd name="connsiteY1767" fmla="*/ 2986584 h 6380470"/>
              <a:gd name="connsiteX1768" fmla="*/ 8979495 w 11625583"/>
              <a:gd name="connsiteY1768" fmla="*/ 3051250 h 6380470"/>
              <a:gd name="connsiteX1769" fmla="*/ 8914829 w 11625583"/>
              <a:gd name="connsiteY1769" fmla="*/ 3115917 h 6380470"/>
              <a:gd name="connsiteX1770" fmla="*/ 8850163 w 11625583"/>
              <a:gd name="connsiteY1770" fmla="*/ 3051250 h 6380470"/>
              <a:gd name="connsiteX1771" fmla="*/ 8914829 w 11625583"/>
              <a:gd name="connsiteY1771" fmla="*/ 2986584 h 6380470"/>
              <a:gd name="connsiteX1772" fmla="*/ 8766086 w 11625583"/>
              <a:gd name="connsiteY1772" fmla="*/ 2986584 h 6380470"/>
              <a:gd name="connsiteX1773" fmla="*/ 8830752 w 11625583"/>
              <a:gd name="connsiteY1773" fmla="*/ 3051250 h 6380470"/>
              <a:gd name="connsiteX1774" fmla="*/ 8766086 w 11625583"/>
              <a:gd name="connsiteY1774" fmla="*/ 3115917 h 6380470"/>
              <a:gd name="connsiteX1775" fmla="*/ 8701420 w 11625583"/>
              <a:gd name="connsiteY1775" fmla="*/ 3051250 h 6380470"/>
              <a:gd name="connsiteX1776" fmla="*/ 8766086 w 11625583"/>
              <a:gd name="connsiteY1776" fmla="*/ 2986584 h 6380470"/>
              <a:gd name="connsiteX1777" fmla="*/ 8601683 w 11625583"/>
              <a:gd name="connsiteY1777" fmla="*/ 2986584 h 6380470"/>
              <a:gd name="connsiteX1778" fmla="*/ 8666349 w 11625583"/>
              <a:gd name="connsiteY1778" fmla="*/ 3051250 h 6380470"/>
              <a:gd name="connsiteX1779" fmla="*/ 8601683 w 11625583"/>
              <a:gd name="connsiteY1779" fmla="*/ 3115917 h 6380470"/>
              <a:gd name="connsiteX1780" fmla="*/ 8537017 w 11625583"/>
              <a:gd name="connsiteY1780" fmla="*/ 3051250 h 6380470"/>
              <a:gd name="connsiteX1781" fmla="*/ 8601683 w 11625583"/>
              <a:gd name="connsiteY1781" fmla="*/ 2986584 h 6380470"/>
              <a:gd name="connsiteX1782" fmla="*/ 8449025 w 11625583"/>
              <a:gd name="connsiteY1782" fmla="*/ 2986584 h 6380470"/>
              <a:gd name="connsiteX1783" fmla="*/ 8513691 w 11625583"/>
              <a:gd name="connsiteY1783" fmla="*/ 3051250 h 6380470"/>
              <a:gd name="connsiteX1784" fmla="*/ 8449025 w 11625583"/>
              <a:gd name="connsiteY1784" fmla="*/ 3115917 h 6380470"/>
              <a:gd name="connsiteX1785" fmla="*/ 8384359 w 11625583"/>
              <a:gd name="connsiteY1785" fmla="*/ 3051250 h 6380470"/>
              <a:gd name="connsiteX1786" fmla="*/ 8449025 w 11625583"/>
              <a:gd name="connsiteY1786" fmla="*/ 2986584 h 6380470"/>
              <a:gd name="connsiteX1787" fmla="*/ 8139793 w 11625583"/>
              <a:gd name="connsiteY1787" fmla="*/ 2986584 h 6380470"/>
              <a:gd name="connsiteX1788" fmla="*/ 8204459 w 11625583"/>
              <a:gd name="connsiteY1788" fmla="*/ 3051250 h 6380470"/>
              <a:gd name="connsiteX1789" fmla="*/ 8139793 w 11625583"/>
              <a:gd name="connsiteY1789" fmla="*/ 3115917 h 6380470"/>
              <a:gd name="connsiteX1790" fmla="*/ 8075127 w 11625583"/>
              <a:gd name="connsiteY1790" fmla="*/ 3051250 h 6380470"/>
              <a:gd name="connsiteX1791" fmla="*/ 8139793 w 11625583"/>
              <a:gd name="connsiteY1791" fmla="*/ 2986584 h 6380470"/>
              <a:gd name="connsiteX1792" fmla="*/ 7987133 w 11625583"/>
              <a:gd name="connsiteY1792" fmla="*/ 2986584 h 6380470"/>
              <a:gd name="connsiteX1793" fmla="*/ 8051799 w 11625583"/>
              <a:gd name="connsiteY1793" fmla="*/ 3051250 h 6380470"/>
              <a:gd name="connsiteX1794" fmla="*/ 7987133 w 11625583"/>
              <a:gd name="connsiteY1794" fmla="*/ 3115917 h 6380470"/>
              <a:gd name="connsiteX1795" fmla="*/ 7922467 w 11625583"/>
              <a:gd name="connsiteY1795" fmla="*/ 3051250 h 6380470"/>
              <a:gd name="connsiteX1796" fmla="*/ 7987133 w 11625583"/>
              <a:gd name="connsiteY1796" fmla="*/ 2986584 h 6380470"/>
              <a:gd name="connsiteX1797" fmla="*/ 7830562 w 11625583"/>
              <a:gd name="connsiteY1797" fmla="*/ 2986584 h 6380470"/>
              <a:gd name="connsiteX1798" fmla="*/ 7895228 w 11625583"/>
              <a:gd name="connsiteY1798" fmla="*/ 3051250 h 6380470"/>
              <a:gd name="connsiteX1799" fmla="*/ 7830562 w 11625583"/>
              <a:gd name="connsiteY1799" fmla="*/ 3115917 h 6380470"/>
              <a:gd name="connsiteX1800" fmla="*/ 7765896 w 11625583"/>
              <a:gd name="connsiteY1800" fmla="*/ 3051250 h 6380470"/>
              <a:gd name="connsiteX1801" fmla="*/ 7830562 w 11625583"/>
              <a:gd name="connsiteY1801" fmla="*/ 2986584 h 6380470"/>
              <a:gd name="connsiteX1802" fmla="*/ 7368669 w 11625583"/>
              <a:gd name="connsiteY1802" fmla="*/ 2986584 h 6380470"/>
              <a:gd name="connsiteX1803" fmla="*/ 7433335 w 11625583"/>
              <a:gd name="connsiteY1803" fmla="*/ 3051250 h 6380470"/>
              <a:gd name="connsiteX1804" fmla="*/ 7368669 w 11625583"/>
              <a:gd name="connsiteY1804" fmla="*/ 3115917 h 6380470"/>
              <a:gd name="connsiteX1805" fmla="*/ 7304003 w 11625583"/>
              <a:gd name="connsiteY1805" fmla="*/ 3051250 h 6380470"/>
              <a:gd name="connsiteX1806" fmla="*/ 7368669 w 11625583"/>
              <a:gd name="connsiteY1806" fmla="*/ 2986584 h 6380470"/>
              <a:gd name="connsiteX1807" fmla="*/ 6742377 w 11625583"/>
              <a:gd name="connsiteY1807" fmla="*/ 2986584 h 6380470"/>
              <a:gd name="connsiteX1808" fmla="*/ 6807043 w 11625583"/>
              <a:gd name="connsiteY1808" fmla="*/ 3051250 h 6380470"/>
              <a:gd name="connsiteX1809" fmla="*/ 6742377 w 11625583"/>
              <a:gd name="connsiteY1809" fmla="*/ 3115917 h 6380470"/>
              <a:gd name="connsiteX1810" fmla="*/ 6677711 w 11625583"/>
              <a:gd name="connsiteY1810" fmla="*/ 3051250 h 6380470"/>
              <a:gd name="connsiteX1811" fmla="*/ 6742377 w 11625583"/>
              <a:gd name="connsiteY1811" fmla="*/ 2986584 h 6380470"/>
              <a:gd name="connsiteX1812" fmla="*/ 6429229 w 11625583"/>
              <a:gd name="connsiteY1812" fmla="*/ 2986584 h 6380470"/>
              <a:gd name="connsiteX1813" fmla="*/ 6493895 w 11625583"/>
              <a:gd name="connsiteY1813" fmla="*/ 3051250 h 6380470"/>
              <a:gd name="connsiteX1814" fmla="*/ 6429229 w 11625583"/>
              <a:gd name="connsiteY1814" fmla="*/ 3115917 h 6380470"/>
              <a:gd name="connsiteX1815" fmla="*/ 6364563 w 11625583"/>
              <a:gd name="connsiteY1815" fmla="*/ 3051250 h 6380470"/>
              <a:gd name="connsiteX1816" fmla="*/ 6429229 w 11625583"/>
              <a:gd name="connsiteY1816" fmla="*/ 2986584 h 6380470"/>
              <a:gd name="connsiteX1817" fmla="*/ 6276571 w 11625583"/>
              <a:gd name="connsiteY1817" fmla="*/ 2986584 h 6380470"/>
              <a:gd name="connsiteX1818" fmla="*/ 6341237 w 11625583"/>
              <a:gd name="connsiteY1818" fmla="*/ 3051250 h 6380470"/>
              <a:gd name="connsiteX1819" fmla="*/ 6276571 w 11625583"/>
              <a:gd name="connsiteY1819" fmla="*/ 3115917 h 6380470"/>
              <a:gd name="connsiteX1820" fmla="*/ 6211905 w 11625583"/>
              <a:gd name="connsiteY1820" fmla="*/ 3051250 h 6380470"/>
              <a:gd name="connsiteX1821" fmla="*/ 6276571 w 11625583"/>
              <a:gd name="connsiteY1821" fmla="*/ 2986584 h 6380470"/>
              <a:gd name="connsiteX1822" fmla="*/ 5967339 w 11625583"/>
              <a:gd name="connsiteY1822" fmla="*/ 2986584 h 6380470"/>
              <a:gd name="connsiteX1823" fmla="*/ 6032005 w 11625583"/>
              <a:gd name="connsiteY1823" fmla="*/ 3051250 h 6380470"/>
              <a:gd name="connsiteX1824" fmla="*/ 5967339 w 11625583"/>
              <a:gd name="connsiteY1824" fmla="*/ 3115917 h 6380470"/>
              <a:gd name="connsiteX1825" fmla="*/ 5902673 w 11625583"/>
              <a:gd name="connsiteY1825" fmla="*/ 3051250 h 6380470"/>
              <a:gd name="connsiteX1826" fmla="*/ 5967339 w 11625583"/>
              <a:gd name="connsiteY1826" fmla="*/ 2986584 h 6380470"/>
              <a:gd name="connsiteX1827" fmla="*/ 5810783 w 11625583"/>
              <a:gd name="connsiteY1827" fmla="*/ 2986584 h 6380470"/>
              <a:gd name="connsiteX1828" fmla="*/ 5875431 w 11625583"/>
              <a:gd name="connsiteY1828" fmla="*/ 3051250 h 6380470"/>
              <a:gd name="connsiteX1829" fmla="*/ 5810783 w 11625583"/>
              <a:gd name="connsiteY1829" fmla="*/ 3115917 h 6380470"/>
              <a:gd name="connsiteX1830" fmla="*/ 5746108 w 11625583"/>
              <a:gd name="connsiteY1830" fmla="*/ 3051250 h 6380470"/>
              <a:gd name="connsiteX1831" fmla="*/ 5810783 w 11625583"/>
              <a:gd name="connsiteY1831" fmla="*/ 2986584 h 6380470"/>
              <a:gd name="connsiteX1832" fmla="*/ 5658107 w 11625583"/>
              <a:gd name="connsiteY1832" fmla="*/ 2986584 h 6380470"/>
              <a:gd name="connsiteX1833" fmla="*/ 5722777 w 11625583"/>
              <a:gd name="connsiteY1833" fmla="*/ 3051250 h 6380470"/>
              <a:gd name="connsiteX1834" fmla="*/ 5658107 w 11625583"/>
              <a:gd name="connsiteY1834" fmla="*/ 3115917 h 6380470"/>
              <a:gd name="connsiteX1835" fmla="*/ 5593441 w 11625583"/>
              <a:gd name="connsiteY1835" fmla="*/ 3051250 h 6380470"/>
              <a:gd name="connsiteX1836" fmla="*/ 5658107 w 11625583"/>
              <a:gd name="connsiteY1836" fmla="*/ 2986584 h 6380470"/>
              <a:gd name="connsiteX1837" fmla="*/ 5501538 w 11625583"/>
              <a:gd name="connsiteY1837" fmla="*/ 2986584 h 6380470"/>
              <a:gd name="connsiteX1838" fmla="*/ 5566202 w 11625583"/>
              <a:gd name="connsiteY1838" fmla="*/ 3051250 h 6380470"/>
              <a:gd name="connsiteX1839" fmla="*/ 5501538 w 11625583"/>
              <a:gd name="connsiteY1839" fmla="*/ 3115917 h 6380470"/>
              <a:gd name="connsiteX1840" fmla="*/ 5436877 w 11625583"/>
              <a:gd name="connsiteY1840" fmla="*/ 3051250 h 6380470"/>
              <a:gd name="connsiteX1841" fmla="*/ 5501538 w 11625583"/>
              <a:gd name="connsiteY1841" fmla="*/ 2986584 h 6380470"/>
              <a:gd name="connsiteX1842" fmla="*/ 5192312 w 11625583"/>
              <a:gd name="connsiteY1842" fmla="*/ 2986584 h 6380470"/>
              <a:gd name="connsiteX1843" fmla="*/ 5256975 w 11625583"/>
              <a:gd name="connsiteY1843" fmla="*/ 3051250 h 6380470"/>
              <a:gd name="connsiteX1844" fmla="*/ 5192312 w 11625583"/>
              <a:gd name="connsiteY1844" fmla="*/ 3115917 h 6380470"/>
              <a:gd name="connsiteX1845" fmla="*/ 5127645 w 11625583"/>
              <a:gd name="connsiteY1845" fmla="*/ 3051250 h 6380470"/>
              <a:gd name="connsiteX1846" fmla="*/ 5192312 w 11625583"/>
              <a:gd name="connsiteY1846" fmla="*/ 2986584 h 6380470"/>
              <a:gd name="connsiteX1847" fmla="*/ 8296368 w 11625583"/>
              <a:gd name="connsiteY1847" fmla="*/ 2986583 h 6380470"/>
              <a:gd name="connsiteX1848" fmla="*/ 8361034 w 11625583"/>
              <a:gd name="connsiteY1848" fmla="*/ 3051249 h 6380470"/>
              <a:gd name="connsiteX1849" fmla="*/ 8296368 w 11625583"/>
              <a:gd name="connsiteY1849" fmla="*/ 3115916 h 6380470"/>
              <a:gd name="connsiteX1850" fmla="*/ 8231702 w 11625583"/>
              <a:gd name="connsiteY1850" fmla="*/ 3051249 h 6380470"/>
              <a:gd name="connsiteX1851" fmla="*/ 8296368 w 11625583"/>
              <a:gd name="connsiteY1851" fmla="*/ 2986583 h 6380470"/>
              <a:gd name="connsiteX1852" fmla="*/ 7677904 w 11625583"/>
              <a:gd name="connsiteY1852" fmla="*/ 2986583 h 6380470"/>
              <a:gd name="connsiteX1853" fmla="*/ 7742570 w 11625583"/>
              <a:gd name="connsiteY1853" fmla="*/ 3051249 h 6380470"/>
              <a:gd name="connsiteX1854" fmla="*/ 7677904 w 11625583"/>
              <a:gd name="connsiteY1854" fmla="*/ 3115916 h 6380470"/>
              <a:gd name="connsiteX1855" fmla="*/ 7613238 w 11625583"/>
              <a:gd name="connsiteY1855" fmla="*/ 3051249 h 6380470"/>
              <a:gd name="connsiteX1856" fmla="*/ 7677904 w 11625583"/>
              <a:gd name="connsiteY1856" fmla="*/ 2986583 h 6380470"/>
              <a:gd name="connsiteX1857" fmla="*/ 7521331 w 11625583"/>
              <a:gd name="connsiteY1857" fmla="*/ 2986583 h 6380470"/>
              <a:gd name="connsiteX1858" fmla="*/ 7585997 w 11625583"/>
              <a:gd name="connsiteY1858" fmla="*/ 3051249 h 6380470"/>
              <a:gd name="connsiteX1859" fmla="*/ 7521331 w 11625583"/>
              <a:gd name="connsiteY1859" fmla="*/ 3115916 h 6380470"/>
              <a:gd name="connsiteX1860" fmla="*/ 7456665 w 11625583"/>
              <a:gd name="connsiteY1860" fmla="*/ 3051249 h 6380470"/>
              <a:gd name="connsiteX1861" fmla="*/ 7521331 w 11625583"/>
              <a:gd name="connsiteY1861" fmla="*/ 2986583 h 6380470"/>
              <a:gd name="connsiteX1862" fmla="*/ 7212096 w 11625583"/>
              <a:gd name="connsiteY1862" fmla="*/ 2986583 h 6380470"/>
              <a:gd name="connsiteX1863" fmla="*/ 7276762 w 11625583"/>
              <a:gd name="connsiteY1863" fmla="*/ 3051249 h 6380470"/>
              <a:gd name="connsiteX1864" fmla="*/ 7212096 w 11625583"/>
              <a:gd name="connsiteY1864" fmla="*/ 3115916 h 6380470"/>
              <a:gd name="connsiteX1865" fmla="*/ 7147430 w 11625583"/>
              <a:gd name="connsiteY1865" fmla="*/ 3051249 h 6380470"/>
              <a:gd name="connsiteX1866" fmla="*/ 7212096 w 11625583"/>
              <a:gd name="connsiteY1866" fmla="*/ 2986583 h 6380470"/>
              <a:gd name="connsiteX1867" fmla="*/ 7055523 w 11625583"/>
              <a:gd name="connsiteY1867" fmla="*/ 2986583 h 6380470"/>
              <a:gd name="connsiteX1868" fmla="*/ 7120189 w 11625583"/>
              <a:gd name="connsiteY1868" fmla="*/ 3051249 h 6380470"/>
              <a:gd name="connsiteX1869" fmla="*/ 7055523 w 11625583"/>
              <a:gd name="connsiteY1869" fmla="*/ 3115916 h 6380470"/>
              <a:gd name="connsiteX1870" fmla="*/ 6990857 w 11625583"/>
              <a:gd name="connsiteY1870" fmla="*/ 3051249 h 6380470"/>
              <a:gd name="connsiteX1871" fmla="*/ 7055523 w 11625583"/>
              <a:gd name="connsiteY1871" fmla="*/ 2986583 h 6380470"/>
              <a:gd name="connsiteX1872" fmla="*/ 6895037 w 11625583"/>
              <a:gd name="connsiteY1872" fmla="*/ 2986583 h 6380470"/>
              <a:gd name="connsiteX1873" fmla="*/ 6959703 w 11625583"/>
              <a:gd name="connsiteY1873" fmla="*/ 3051249 h 6380470"/>
              <a:gd name="connsiteX1874" fmla="*/ 6895037 w 11625583"/>
              <a:gd name="connsiteY1874" fmla="*/ 3115916 h 6380470"/>
              <a:gd name="connsiteX1875" fmla="*/ 6830371 w 11625583"/>
              <a:gd name="connsiteY1875" fmla="*/ 3051249 h 6380470"/>
              <a:gd name="connsiteX1876" fmla="*/ 6895037 w 11625583"/>
              <a:gd name="connsiteY1876" fmla="*/ 2986583 h 6380470"/>
              <a:gd name="connsiteX1877" fmla="*/ 6585804 w 11625583"/>
              <a:gd name="connsiteY1877" fmla="*/ 2986583 h 6380470"/>
              <a:gd name="connsiteX1878" fmla="*/ 6650470 w 11625583"/>
              <a:gd name="connsiteY1878" fmla="*/ 3051249 h 6380470"/>
              <a:gd name="connsiteX1879" fmla="*/ 6585804 w 11625583"/>
              <a:gd name="connsiteY1879" fmla="*/ 3115916 h 6380470"/>
              <a:gd name="connsiteX1880" fmla="*/ 6521138 w 11625583"/>
              <a:gd name="connsiteY1880" fmla="*/ 3051249 h 6380470"/>
              <a:gd name="connsiteX1881" fmla="*/ 6585804 w 11625583"/>
              <a:gd name="connsiteY1881" fmla="*/ 2986583 h 6380470"/>
              <a:gd name="connsiteX1882" fmla="*/ 6119999 w 11625583"/>
              <a:gd name="connsiteY1882" fmla="*/ 2986583 h 6380470"/>
              <a:gd name="connsiteX1883" fmla="*/ 6184665 w 11625583"/>
              <a:gd name="connsiteY1883" fmla="*/ 3051249 h 6380470"/>
              <a:gd name="connsiteX1884" fmla="*/ 6119999 w 11625583"/>
              <a:gd name="connsiteY1884" fmla="*/ 3115916 h 6380470"/>
              <a:gd name="connsiteX1885" fmla="*/ 6055333 w 11625583"/>
              <a:gd name="connsiteY1885" fmla="*/ 3051249 h 6380470"/>
              <a:gd name="connsiteX1886" fmla="*/ 6119999 w 11625583"/>
              <a:gd name="connsiteY1886" fmla="*/ 2986583 h 6380470"/>
              <a:gd name="connsiteX1887" fmla="*/ 5348883 w 11625583"/>
              <a:gd name="connsiteY1887" fmla="*/ 2986583 h 6380470"/>
              <a:gd name="connsiteX1888" fmla="*/ 5413550 w 11625583"/>
              <a:gd name="connsiteY1888" fmla="*/ 3051249 h 6380470"/>
              <a:gd name="connsiteX1889" fmla="*/ 5348883 w 11625583"/>
              <a:gd name="connsiteY1889" fmla="*/ 3115916 h 6380470"/>
              <a:gd name="connsiteX1890" fmla="*/ 5284221 w 11625583"/>
              <a:gd name="connsiteY1890" fmla="*/ 3051249 h 6380470"/>
              <a:gd name="connsiteX1891" fmla="*/ 5348883 w 11625583"/>
              <a:gd name="connsiteY1891" fmla="*/ 2986583 h 6380470"/>
              <a:gd name="connsiteX1892" fmla="*/ 5031831 w 11625583"/>
              <a:gd name="connsiteY1892" fmla="*/ 2986583 h 6380470"/>
              <a:gd name="connsiteX1893" fmla="*/ 5096494 w 11625583"/>
              <a:gd name="connsiteY1893" fmla="*/ 3051249 h 6380470"/>
              <a:gd name="connsiteX1894" fmla="*/ 5031831 w 11625583"/>
              <a:gd name="connsiteY1894" fmla="*/ 3115916 h 6380470"/>
              <a:gd name="connsiteX1895" fmla="*/ 4967160 w 11625583"/>
              <a:gd name="connsiteY1895" fmla="*/ 3051249 h 6380470"/>
              <a:gd name="connsiteX1896" fmla="*/ 5031831 w 11625583"/>
              <a:gd name="connsiteY1896" fmla="*/ 2986583 h 6380470"/>
              <a:gd name="connsiteX1897" fmla="*/ 2237053 w 11625583"/>
              <a:gd name="connsiteY1897" fmla="*/ 2986583 h 6380470"/>
              <a:gd name="connsiteX1898" fmla="*/ 2301728 w 11625583"/>
              <a:gd name="connsiteY1898" fmla="*/ 3051249 h 6380470"/>
              <a:gd name="connsiteX1899" fmla="*/ 2237053 w 11625583"/>
              <a:gd name="connsiteY1899" fmla="*/ 3115916 h 6380470"/>
              <a:gd name="connsiteX1900" fmla="*/ 2172378 w 11625583"/>
              <a:gd name="connsiteY1900" fmla="*/ 3051249 h 6380470"/>
              <a:gd name="connsiteX1901" fmla="*/ 2237053 w 11625583"/>
              <a:gd name="connsiteY1901" fmla="*/ 2986583 h 6380470"/>
              <a:gd name="connsiteX1902" fmla="*/ 2084380 w 11625583"/>
              <a:gd name="connsiteY1902" fmla="*/ 2986583 h 6380470"/>
              <a:gd name="connsiteX1903" fmla="*/ 2149047 w 11625583"/>
              <a:gd name="connsiteY1903" fmla="*/ 3051249 h 6380470"/>
              <a:gd name="connsiteX1904" fmla="*/ 2084380 w 11625583"/>
              <a:gd name="connsiteY1904" fmla="*/ 3115916 h 6380470"/>
              <a:gd name="connsiteX1905" fmla="*/ 2019725 w 11625583"/>
              <a:gd name="connsiteY1905" fmla="*/ 3051249 h 6380470"/>
              <a:gd name="connsiteX1906" fmla="*/ 2084380 w 11625583"/>
              <a:gd name="connsiteY1906" fmla="*/ 2986583 h 6380470"/>
              <a:gd name="connsiteX1907" fmla="*/ 1927806 w 11625583"/>
              <a:gd name="connsiteY1907" fmla="*/ 2986583 h 6380470"/>
              <a:gd name="connsiteX1908" fmla="*/ 1992481 w 11625583"/>
              <a:gd name="connsiteY1908" fmla="*/ 3051249 h 6380470"/>
              <a:gd name="connsiteX1909" fmla="*/ 1927806 w 11625583"/>
              <a:gd name="connsiteY1909" fmla="*/ 3115916 h 6380470"/>
              <a:gd name="connsiteX1910" fmla="*/ 1863153 w 11625583"/>
              <a:gd name="connsiteY1910" fmla="*/ 3051249 h 6380470"/>
              <a:gd name="connsiteX1911" fmla="*/ 1927806 w 11625583"/>
              <a:gd name="connsiteY1911" fmla="*/ 2986583 h 6380470"/>
              <a:gd name="connsiteX1912" fmla="*/ 9384550 w 11625583"/>
              <a:gd name="connsiteY1912" fmla="*/ 2841752 h 6380470"/>
              <a:gd name="connsiteX1913" fmla="*/ 9449216 w 11625583"/>
              <a:gd name="connsiteY1913" fmla="*/ 2906419 h 6380470"/>
              <a:gd name="connsiteX1914" fmla="*/ 9384550 w 11625583"/>
              <a:gd name="connsiteY1914" fmla="*/ 2971084 h 6380470"/>
              <a:gd name="connsiteX1915" fmla="*/ 9319884 w 11625583"/>
              <a:gd name="connsiteY1915" fmla="*/ 2906419 h 6380470"/>
              <a:gd name="connsiteX1916" fmla="*/ 9384550 w 11625583"/>
              <a:gd name="connsiteY1916" fmla="*/ 2841752 h 6380470"/>
              <a:gd name="connsiteX1917" fmla="*/ 9227977 w 11625583"/>
              <a:gd name="connsiteY1917" fmla="*/ 2841752 h 6380470"/>
              <a:gd name="connsiteX1918" fmla="*/ 9292643 w 11625583"/>
              <a:gd name="connsiteY1918" fmla="*/ 2906419 h 6380470"/>
              <a:gd name="connsiteX1919" fmla="*/ 9227977 w 11625583"/>
              <a:gd name="connsiteY1919" fmla="*/ 2971084 h 6380470"/>
              <a:gd name="connsiteX1920" fmla="*/ 9163311 w 11625583"/>
              <a:gd name="connsiteY1920" fmla="*/ 2906419 h 6380470"/>
              <a:gd name="connsiteX1921" fmla="*/ 9227977 w 11625583"/>
              <a:gd name="connsiteY1921" fmla="*/ 2841752 h 6380470"/>
              <a:gd name="connsiteX1922" fmla="*/ 9075319 w 11625583"/>
              <a:gd name="connsiteY1922" fmla="*/ 2841752 h 6380470"/>
              <a:gd name="connsiteX1923" fmla="*/ 9139985 w 11625583"/>
              <a:gd name="connsiteY1923" fmla="*/ 2906419 h 6380470"/>
              <a:gd name="connsiteX1924" fmla="*/ 9075319 w 11625583"/>
              <a:gd name="connsiteY1924" fmla="*/ 2971084 h 6380470"/>
              <a:gd name="connsiteX1925" fmla="*/ 9010653 w 11625583"/>
              <a:gd name="connsiteY1925" fmla="*/ 2906419 h 6380470"/>
              <a:gd name="connsiteX1926" fmla="*/ 9075319 w 11625583"/>
              <a:gd name="connsiteY1926" fmla="*/ 2841752 h 6380470"/>
              <a:gd name="connsiteX1927" fmla="*/ 8914831 w 11625583"/>
              <a:gd name="connsiteY1927" fmla="*/ 2841752 h 6380470"/>
              <a:gd name="connsiteX1928" fmla="*/ 8979497 w 11625583"/>
              <a:gd name="connsiteY1928" fmla="*/ 2906419 h 6380470"/>
              <a:gd name="connsiteX1929" fmla="*/ 8914831 w 11625583"/>
              <a:gd name="connsiteY1929" fmla="*/ 2971084 h 6380470"/>
              <a:gd name="connsiteX1930" fmla="*/ 8850165 w 11625583"/>
              <a:gd name="connsiteY1930" fmla="*/ 2906419 h 6380470"/>
              <a:gd name="connsiteX1931" fmla="*/ 8914831 w 11625583"/>
              <a:gd name="connsiteY1931" fmla="*/ 2841752 h 6380470"/>
              <a:gd name="connsiteX1932" fmla="*/ 8766086 w 11625583"/>
              <a:gd name="connsiteY1932" fmla="*/ 2841752 h 6380470"/>
              <a:gd name="connsiteX1933" fmla="*/ 8830752 w 11625583"/>
              <a:gd name="connsiteY1933" fmla="*/ 2906419 h 6380470"/>
              <a:gd name="connsiteX1934" fmla="*/ 8766086 w 11625583"/>
              <a:gd name="connsiteY1934" fmla="*/ 2971084 h 6380470"/>
              <a:gd name="connsiteX1935" fmla="*/ 8701420 w 11625583"/>
              <a:gd name="connsiteY1935" fmla="*/ 2906419 h 6380470"/>
              <a:gd name="connsiteX1936" fmla="*/ 8766086 w 11625583"/>
              <a:gd name="connsiteY1936" fmla="*/ 2841752 h 6380470"/>
              <a:gd name="connsiteX1937" fmla="*/ 8601683 w 11625583"/>
              <a:gd name="connsiteY1937" fmla="*/ 2841752 h 6380470"/>
              <a:gd name="connsiteX1938" fmla="*/ 8666349 w 11625583"/>
              <a:gd name="connsiteY1938" fmla="*/ 2906419 h 6380470"/>
              <a:gd name="connsiteX1939" fmla="*/ 8601683 w 11625583"/>
              <a:gd name="connsiteY1939" fmla="*/ 2971084 h 6380470"/>
              <a:gd name="connsiteX1940" fmla="*/ 8537017 w 11625583"/>
              <a:gd name="connsiteY1940" fmla="*/ 2906419 h 6380470"/>
              <a:gd name="connsiteX1941" fmla="*/ 8601683 w 11625583"/>
              <a:gd name="connsiteY1941" fmla="*/ 2841752 h 6380470"/>
              <a:gd name="connsiteX1942" fmla="*/ 8449025 w 11625583"/>
              <a:gd name="connsiteY1942" fmla="*/ 2841752 h 6380470"/>
              <a:gd name="connsiteX1943" fmla="*/ 8513691 w 11625583"/>
              <a:gd name="connsiteY1943" fmla="*/ 2906419 h 6380470"/>
              <a:gd name="connsiteX1944" fmla="*/ 8449025 w 11625583"/>
              <a:gd name="connsiteY1944" fmla="*/ 2971084 h 6380470"/>
              <a:gd name="connsiteX1945" fmla="*/ 8384359 w 11625583"/>
              <a:gd name="connsiteY1945" fmla="*/ 2906419 h 6380470"/>
              <a:gd name="connsiteX1946" fmla="*/ 8449025 w 11625583"/>
              <a:gd name="connsiteY1946" fmla="*/ 2841752 h 6380470"/>
              <a:gd name="connsiteX1947" fmla="*/ 8296368 w 11625583"/>
              <a:gd name="connsiteY1947" fmla="*/ 2841752 h 6380470"/>
              <a:gd name="connsiteX1948" fmla="*/ 8361034 w 11625583"/>
              <a:gd name="connsiteY1948" fmla="*/ 2906419 h 6380470"/>
              <a:gd name="connsiteX1949" fmla="*/ 8296368 w 11625583"/>
              <a:gd name="connsiteY1949" fmla="*/ 2971084 h 6380470"/>
              <a:gd name="connsiteX1950" fmla="*/ 8231702 w 11625583"/>
              <a:gd name="connsiteY1950" fmla="*/ 2906419 h 6380470"/>
              <a:gd name="connsiteX1951" fmla="*/ 8296368 w 11625583"/>
              <a:gd name="connsiteY1951" fmla="*/ 2841752 h 6380470"/>
              <a:gd name="connsiteX1952" fmla="*/ 8139793 w 11625583"/>
              <a:gd name="connsiteY1952" fmla="*/ 2841752 h 6380470"/>
              <a:gd name="connsiteX1953" fmla="*/ 8204459 w 11625583"/>
              <a:gd name="connsiteY1953" fmla="*/ 2906419 h 6380470"/>
              <a:gd name="connsiteX1954" fmla="*/ 8139793 w 11625583"/>
              <a:gd name="connsiteY1954" fmla="*/ 2971084 h 6380470"/>
              <a:gd name="connsiteX1955" fmla="*/ 8075127 w 11625583"/>
              <a:gd name="connsiteY1955" fmla="*/ 2906419 h 6380470"/>
              <a:gd name="connsiteX1956" fmla="*/ 8139793 w 11625583"/>
              <a:gd name="connsiteY1956" fmla="*/ 2841752 h 6380470"/>
              <a:gd name="connsiteX1957" fmla="*/ 7987133 w 11625583"/>
              <a:gd name="connsiteY1957" fmla="*/ 2841752 h 6380470"/>
              <a:gd name="connsiteX1958" fmla="*/ 8051799 w 11625583"/>
              <a:gd name="connsiteY1958" fmla="*/ 2906419 h 6380470"/>
              <a:gd name="connsiteX1959" fmla="*/ 7987133 w 11625583"/>
              <a:gd name="connsiteY1959" fmla="*/ 2971084 h 6380470"/>
              <a:gd name="connsiteX1960" fmla="*/ 7922467 w 11625583"/>
              <a:gd name="connsiteY1960" fmla="*/ 2906419 h 6380470"/>
              <a:gd name="connsiteX1961" fmla="*/ 7987133 w 11625583"/>
              <a:gd name="connsiteY1961" fmla="*/ 2841752 h 6380470"/>
              <a:gd name="connsiteX1962" fmla="*/ 7830562 w 11625583"/>
              <a:gd name="connsiteY1962" fmla="*/ 2841752 h 6380470"/>
              <a:gd name="connsiteX1963" fmla="*/ 7895228 w 11625583"/>
              <a:gd name="connsiteY1963" fmla="*/ 2906419 h 6380470"/>
              <a:gd name="connsiteX1964" fmla="*/ 7830562 w 11625583"/>
              <a:gd name="connsiteY1964" fmla="*/ 2971084 h 6380470"/>
              <a:gd name="connsiteX1965" fmla="*/ 7765896 w 11625583"/>
              <a:gd name="connsiteY1965" fmla="*/ 2906419 h 6380470"/>
              <a:gd name="connsiteX1966" fmla="*/ 7830562 w 11625583"/>
              <a:gd name="connsiteY1966" fmla="*/ 2841752 h 6380470"/>
              <a:gd name="connsiteX1967" fmla="*/ 7677904 w 11625583"/>
              <a:gd name="connsiteY1967" fmla="*/ 2841752 h 6380470"/>
              <a:gd name="connsiteX1968" fmla="*/ 7742570 w 11625583"/>
              <a:gd name="connsiteY1968" fmla="*/ 2906419 h 6380470"/>
              <a:gd name="connsiteX1969" fmla="*/ 7677904 w 11625583"/>
              <a:gd name="connsiteY1969" fmla="*/ 2971084 h 6380470"/>
              <a:gd name="connsiteX1970" fmla="*/ 7613238 w 11625583"/>
              <a:gd name="connsiteY1970" fmla="*/ 2906419 h 6380470"/>
              <a:gd name="connsiteX1971" fmla="*/ 7677904 w 11625583"/>
              <a:gd name="connsiteY1971" fmla="*/ 2841752 h 6380470"/>
              <a:gd name="connsiteX1972" fmla="*/ 7521331 w 11625583"/>
              <a:gd name="connsiteY1972" fmla="*/ 2841752 h 6380470"/>
              <a:gd name="connsiteX1973" fmla="*/ 7585997 w 11625583"/>
              <a:gd name="connsiteY1973" fmla="*/ 2906419 h 6380470"/>
              <a:gd name="connsiteX1974" fmla="*/ 7521331 w 11625583"/>
              <a:gd name="connsiteY1974" fmla="*/ 2971084 h 6380470"/>
              <a:gd name="connsiteX1975" fmla="*/ 7456665 w 11625583"/>
              <a:gd name="connsiteY1975" fmla="*/ 2906419 h 6380470"/>
              <a:gd name="connsiteX1976" fmla="*/ 7521331 w 11625583"/>
              <a:gd name="connsiteY1976" fmla="*/ 2841752 h 6380470"/>
              <a:gd name="connsiteX1977" fmla="*/ 7368669 w 11625583"/>
              <a:gd name="connsiteY1977" fmla="*/ 2841752 h 6380470"/>
              <a:gd name="connsiteX1978" fmla="*/ 7433335 w 11625583"/>
              <a:gd name="connsiteY1978" fmla="*/ 2906419 h 6380470"/>
              <a:gd name="connsiteX1979" fmla="*/ 7368669 w 11625583"/>
              <a:gd name="connsiteY1979" fmla="*/ 2971084 h 6380470"/>
              <a:gd name="connsiteX1980" fmla="*/ 7304003 w 11625583"/>
              <a:gd name="connsiteY1980" fmla="*/ 2906419 h 6380470"/>
              <a:gd name="connsiteX1981" fmla="*/ 7368669 w 11625583"/>
              <a:gd name="connsiteY1981" fmla="*/ 2841752 h 6380470"/>
              <a:gd name="connsiteX1982" fmla="*/ 7212096 w 11625583"/>
              <a:gd name="connsiteY1982" fmla="*/ 2841752 h 6380470"/>
              <a:gd name="connsiteX1983" fmla="*/ 7276762 w 11625583"/>
              <a:gd name="connsiteY1983" fmla="*/ 2906419 h 6380470"/>
              <a:gd name="connsiteX1984" fmla="*/ 7212096 w 11625583"/>
              <a:gd name="connsiteY1984" fmla="*/ 2971084 h 6380470"/>
              <a:gd name="connsiteX1985" fmla="*/ 7147430 w 11625583"/>
              <a:gd name="connsiteY1985" fmla="*/ 2906419 h 6380470"/>
              <a:gd name="connsiteX1986" fmla="*/ 7212096 w 11625583"/>
              <a:gd name="connsiteY1986" fmla="*/ 2841752 h 6380470"/>
              <a:gd name="connsiteX1987" fmla="*/ 7055523 w 11625583"/>
              <a:gd name="connsiteY1987" fmla="*/ 2841752 h 6380470"/>
              <a:gd name="connsiteX1988" fmla="*/ 7120189 w 11625583"/>
              <a:gd name="connsiteY1988" fmla="*/ 2906419 h 6380470"/>
              <a:gd name="connsiteX1989" fmla="*/ 7055523 w 11625583"/>
              <a:gd name="connsiteY1989" fmla="*/ 2971084 h 6380470"/>
              <a:gd name="connsiteX1990" fmla="*/ 6990857 w 11625583"/>
              <a:gd name="connsiteY1990" fmla="*/ 2906419 h 6380470"/>
              <a:gd name="connsiteX1991" fmla="*/ 7055523 w 11625583"/>
              <a:gd name="connsiteY1991" fmla="*/ 2841752 h 6380470"/>
              <a:gd name="connsiteX1992" fmla="*/ 6895037 w 11625583"/>
              <a:gd name="connsiteY1992" fmla="*/ 2841752 h 6380470"/>
              <a:gd name="connsiteX1993" fmla="*/ 6959703 w 11625583"/>
              <a:gd name="connsiteY1993" fmla="*/ 2906419 h 6380470"/>
              <a:gd name="connsiteX1994" fmla="*/ 6895037 w 11625583"/>
              <a:gd name="connsiteY1994" fmla="*/ 2971084 h 6380470"/>
              <a:gd name="connsiteX1995" fmla="*/ 6830371 w 11625583"/>
              <a:gd name="connsiteY1995" fmla="*/ 2906419 h 6380470"/>
              <a:gd name="connsiteX1996" fmla="*/ 6895037 w 11625583"/>
              <a:gd name="connsiteY1996" fmla="*/ 2841752 h 6380470"/>
              <a:gd name="connsiteX1997" fmla="*/ 6742377 w 11625583"/>
              <a:gd name="connsiteY1997" fmla="*/ 2841752 h 6380470"/>
              <a:gd name="connsiteX1998" fmla="*/ 6807043 w 11625583"/>
              <a:gd name="connsiteY1998" fmla="*/ 2906419 h 6380470"/>
              <a:gd name="connsiteX1999" fmla="*/ 6742377 w 11625583"/>
              <a:gd name="connsiteY1999" fmla="*/ 2971084 h 6380470"/>
              <a:gd name="connsiteX2000" fmla="*/ 6677711 w 11625583"/>
              <a:gd name="connsiteY2000" fmla="*/ 2906419 h 6380470"/>
              <a:gd name="connsiteX2001" fmla="*/ 6742377 w 11625583"/>
              <a:gd name="connsiteY2001" fmla="*/ 2841752 h 6380470"/>
              <a:gd name="connsiteX2002" fmla="*/ 6585804 w 11625583"/>
              <a:gd name="connsiteY2002" fmla="*/ 2841752 h 6380470"/>
              <a:gd name="connsiteX2003" fmla="*/ 6650470 w 11625583"/>
              <a:gd name="connsiteY2003" fmla="*/ 2906419 h 6380470"/>
              <a:gd name="connsiteX2004" fmla="*/ 6585804 w 11625583"/>
              <a:gd name="connsiteY2004" fmla="*/ 2971084 h 6380470"/>
              <a:gd name="connsiteX2005" fmla="*/ 6521138 w 11625583"/>
              <a:gd name="connsiteY2005" fmla="*/ 2906419 h 6380470"/>
              <a:gd name="connsiteX2006" fmla="*/ 6585804 w 11625583"/>
              <a:gd name="connsiteY2006" fmla="*/ 2841752 h 6380470"/>
              <a:gd name="connsiteX2007" fmla="*/ 6429229 w 11625583"/>
              <a:gd name="connsiteY2007" fmla="*/ 2841752 h 6380470"/>
              <a:gd name="connsiteX2008" fmla="*/ 6493895 w 11625583"/>
              <a:gd name="connsiteY2008" fmla="*/ 2906419 h 6380470"/>
              <a:gd name="connsiteX2009" fmla="*/ 6429229 w 11625583"/>
              <a:gd name="connsiteY2009" fmla="*/ 2971084 h 6380470"/>
              <a:gd name="connsiteX2010" fmla="*/ 6364563 w 11625583"/>
              <a:gd name="connsiteY2010" fmla="*/ 2906419 h 6380470"/>
              <a:gd name="connsiteX2011" fmla="*/ 6429229 w 11625583"/>
              <a:gd name="connsiteY2011" fmla="*/ 2841752 h 6380470"/>
              <a:gd name="connsiteX2012" fmla="*/ 6276571 w 11625583"/>
              <a:gd name="connsiteY2012" fmla="*/ 2841752 h 6380470"/>
              <a:gd name="connsiteX2013" fmla="*/ 6341237 w 11625583"/>
              <a:gd name="connsiteY2013" fmla="*/ 2906419 h 6380470"/>
              <a:gd name="connsiteX2014" fmla="*/ 6276571 w 11625583"/>
              <a:gd name="connsiteY2014" fmla="*/ 2971084 h 6380470"/>
              <a:gd name="connsiteX2015" fmla="*/ 6211905 w 11625583"/>
              <a:gd name="connsiteY2015" fmla="*/ 2906419 h 6380470"/>
              <a:gd name="connsiteX2016" fmla="*/ 6276571 w 11625583"/>
              <a:gd name="connsiteY2016" fmla="*/ 2841752 h 6380470"/>
              <a:gd name="connsiteX2017" fmla="*/ 6119999 w 11625583"/>
              <a:gd name="connsiteY2017" fmla="*/ 2841752 h 6380470"/>
              <a:gd name="connsiteX2018" fmla="*/ 6184665 w 11625583"/>
              <a:gd name="connsiteY2018" fmla="*/ 2906419 h 6380470"/>
              <a:gd name="connsiteX2019" fmla="*/ 6119999 w 11625583"/>
              <a:gd name="connsiteY2019" fmla="*/ 2971084 h 6380470"/>
              <a:gd name="connsiteX2020" fmla="*/ 6055333 w 11625583"/>
              <a:gd name="connsiteY2020" fmla="*/ 2906419 h 6380470"/>
              <a:gd name="connsiteX2021" fmla="*/ 6119999 w 11625583"/>
              <a:gd name="connsiteY2021" fmla="*/ 2841752 h 6380470"/>
              <a:gd name="connsiteX2022" fmla="*/ 5967339 w 11625583"/>
              <a:gd name="connsiteY2022" fmla="*/ 2841752 h 6380470"/>
              <a:gd name="connsiteX2023" fmla="*/ 6032005 w 11625583"/>
              <a:gd name="connsiteY2023" fmla="*/ 2906419 h 6380470"/>
              <a:gd name="connsiteX2024" fmla="*/ 5967339 w 11625583"/>
              <a:gd name="connsiteY2024" fmla="*/ 2971084 h 6380470"/>
              <a:gd name="connsiteX2025" fmla="*/ 5902673 w 11625583"/>
              <a:gd name="connsiteY2025" fmla="*/ 2906419 h 6380470"/>
              <a:gd name="connsiteX2026" fmla="*/ 5967339 w 11625583"/>
              <a:gd name="connsiteY2026" fmla="*/ 2841752 h 6380470"/>
              <a:gd name="connsiteX2027" fmla="*/ 5810785 w 11625583"/>
              <a:gd name="connsiteY2027" fmla="*/ 2841752 h 6380470"/>
              <a:gd name="connsiteX2028" fmla="*/ 5875431 w 11625583"/>
              <a:gd name="connsiteY2028" fmla="*/ 2906419 h 6380470"/>
              <a:gd name="connsiteX2029" fmla="*/ 5810785 w 11625583"/>
              <a:gd name="connsiteY2029" fmla="*/ 2971084 h 6380470"/>
              <a:gd name="connsiteX2030" fmla="*/ 5746108 w 11625583"/>
              <a:gd name="connsiteY2030" fmla="*/ 2906419 h 6380470"/>
              <a:gd name="connsiteX2031" fmla="*/ 5810785 w 11625583"/>
              <a:gd name="connsiteY2031" fmla="*/ 2841752 h 6380470"/>
              <a:gd name="connsiteX2032" fmla="*/ 5658107 w 11625583"/>
              <a:gd name="connsiteY2032" fmla="*/ 2841752 h 6380470"/>
              <a:gd name="connsiteX2033" fmla="*/ 5722779 w 11625583"/>
              <a:gd name="connsiteY2033" fmla="*/ 2906419 h 6380470"/>
              <a:gd name="connsiteX2034" fmla="*/ 5658107 w 11625583"/>
              <a:gd name="connsiteY2034" fmla="*/ 2971084 h 6380470"/>
              <a:gd name="connsiteX2035" fmla="*/ 5593441 w 11625583"/>
              <a:gd name="connsiteY2035" fmla="*/ 2906419 h 6380470"/>
              <a:gd name="connsiteX2036" fmla="*/ 5658107 w 11625583"/>
              <a:gd name="connsiteY2036" fmla="*/ 2841752 h 6380470"/>
              <a:gd name="connsiteX2037" fmla="*/ 5501538 w 11625583"/>
              <a:gd name="connsiteY2037" fmla="*/ 2841752 h 6380470"/>
              <a:gd name="connsiteX2038" fmla="*/ 5566202 w 11625583"/>
              <a:gd name="connsiteY2038" fmla="*/ 2906419 h 6380470"/>
              <a:gd name="connsiteX2039" fmla="*/ 5501538 w 11625583"/>
              <a:gd name="connsiteY2039" fmla="*/ 2971084 h 6380470"/>
              <a:gd name="connsiteX2040" fmla="*/ 5436878 w 11625583"/>
              <a:gd name="connsiteY2040" fmla="*/ 2906419 h 6380470"/>
              <a:gd name="connsiteX2041" fmla="*/ 5501538 w 11625583"/>
              <a:gd name="connsiteY2041" fmla="*/ 2841752 h 6380470"/>
              <a:gd name="connsiteX2042" fmla="*/ 5348883 w 11625583"/>
              <a:gd name="connsiteY2042" fmla="*/ 2841752 h 6380470"/>
              <a:gd name="connsiteX2043" fmla="*/ 5413550 w 11625583"/>
              <a:gd name="connsiteY2043" fmla="*/ 2906419 h 6380470"/>
              <a:gd name="connsiteX2044" fmla="*/ 5348883 w 11625583"/>
              <a:gd name="connsiteY2044" fmla="*/ 2971084 h 6380470"/>
              <a:gd name="connsiteX2045" fmla="*/ 5284222 w 11625583"/>
              <a:gd name="connsiteY2045" fmla="*/ 2906419 h 6380470"/>
              <a:gd name="connsiteX2046" fmla="*/ 5348883 w 11625583"/>
              <a:gd name="connsiteY2046" fmla="*/ 2841752 h 6380470"/>
              <a:gd name="connsiteX2047" fmla="*/ 5192312 w 11625583"/>
              <a:gd name="connsiteY2047" fmla="*/ 2841752 h 6380470"/>
              <a:gd name="connsiteX2048" fmla="*/ 5256975 w 11625583"/>
              <a:gd name="connsiteY2048" fmla="*/ 2906419 h 6380470"/>
              <a:gd name="connsiteX2049" fmla="*/ 5192312 w 11625583"/>
              <a:gd name="connsiteY2049" fmla="*/ 2971084 h 6380470"/>
              <a:gd name="connsiteX2050" fmla="*/ 5127646 w 11625583"/>
              <a:gd name="connsiteY2050" fmla="*/ 2906419 h 6380470"/>
              <a:gd name="connsiteX2051" fmla="*/ 5192312 w 11625583"/>
              <a:gd name="connsiteY2051" fmla="*/ 2841752 h 6380470"/>
              <a:gd name="connsiteX2052" fmla="*/ 2855510 w 11625583"/>
              <a:gd name="connsiteY2052" fmla="*/ 2841752 h 6380470"/>
              <a:gd name="connsiteX2053" fmla="*/ 2920171 w 11625583"/>
              <a:gd name="connsiteY2053" fmla="*/ 2906419 h 6380470"/>
              <a:gd name="connsiteX2054" fmla="*/ 2855510 w 11625583"/>
              <a:gd name="connsiteY2054" fmla="*/ 2971084 h 6380470"/>
              <a:gd name="connsiteX2055" fmla="*/ 2790849 w 11625583"/>
              <a:gd name="connsiteY2055" fmla="*/ 2906419 h 6380470"/>
              <a:gd name="connsiteX2056" fmla="*/ 2855510 w 11625583"/>
              <a:gd name="connsiteY2056" fmla="*/ 2841752 h 6380470"/>
              <a:gd name="connsiteX2057" fmla="*/ 2237059 w 11625583"/>
              <a:gd name="connsiteY2057" fmla="*/ 2841752 h 6380470"/>
              <a:gd name="connsiteX2058" fmla="*/ 2301735 w 11625583"/>
              <a:gd name="connsiteY2058" fmla="*/ 2906419 h 6380470"/>
              <a:gd name="connsiteX2059" fmla="*/ 2237059 w 11625583"/>
              <a:gd name="connsiteY2059" fmla="*/ 2971084 h 6380470"/>
              <a:gd name="connsiteX2060" fmla="*/ 2172383 w 11625583"/>
              <a:gd name="connsiteY2060" fmla="*/ 2906419 h 6380470"/>
              <a:gd name="connsiteX2061" fmla="*/ 2237059 w 11625583"/>
              <a:gd name="connsiteY2061" fmla="*/ 2841752 h 6380470"/>
              <a:gd name="connsiteX2062" fmla="*/ 2084385 w 11625583"/>
              <a:gd name="connsiteY2062" fmla="*/ 2841752 h 6380470"/>
              <a:gd name="connsiteX2063" fmla="*/ 2149052 w 11625583"/>
              <a:gd name="connsiteY2063" fmla="*/ 2906419 h 6380470"/>
              <a:gd name="connsiteX2064" fmla="*/ 2084385 w 11625583"/>
              <a:gd name="connsiteY2064" fmla="*/ 2971084 h 6380470"/>
              <a:gd name="connsiteX2065" fmla="*/ 2019732 w 11625583"/>
              <a:gd name="connsiteY2065" fmla="*/ 2906419 h 6380470"/>
              <a:gd name="connsiteX2066" fmla="*/ 2084385 w 11625583"/>
              <a:gd name="connsiteY2066" fmla="*/ 2841752 h 6380470"/>
              <a:gd name="connsiteX2067" fmla="*/ 1927808 w 11625583"/>
              <a:gd name="connsiteY2067" fmla="*/ 2841752 h 6380470"/>
              <a:gd name="connsiteX2068" fmla="*/ 1992485 w 11625583"/>
              <a:gd name="connsiteY2068" fmla="*/ 2906419 h 6380470"/>
              <a:gd name="connsiteX2069" fmla="*/ 1927808 w 11625583"/>
              <a:gd name="connsiteY2069" fmla="*/ 2971084 h 6380470"/>
              <a:gd name="connsiteX2070" fmla="*/ 1863159 w 11625583"/>
              <a:gd name="connsiteY2070" fmla="*/ 2906419 h 6380470"/>
              <a:gd name="connsiteX2071" fmla="*/ 1927808 w 11625583"/>
              <a:gd name="connsiteY2071" fmla="*/ 2841752 h 6380470"/>
              <a:gd name="connsiteX2072" fmla="*/ 1775154 w 11625583"/>
              <a:gd name="connsiteY2072" fmla="*/ 2841752 h 6380470"/>
              <a:gd name="connsiteX2073" fmla="*/ 1839830 w 11625583"/>
              <a:gd name="connsiteY2073" fmla="*/ 2906419 h 6380470"/>
              <a:gd name="connsiteX2074" fmla="*/ 1775154 w 11625583"/>
              <a:gd name="connsiteY2074" fmla="*/ 2971084 h 6380470"/>
              <a:gd name="connsiteX2075" fmla="*/ 1710486 w 11625583"/>
              <a:gd name="connsiteY2075" fmla="*/ 2906419 h 6380470"/>
              <a:gd name="connsiteX2076" fmla="*/ 1775154 w 11625583"/>
              <a:gd name="connsiteY2076" fmla="*/ 2841752 h 6380470"/>
              <a:gd name="connsiteX2077" fmla="*/ 8296367 w 11625583"/>
              <a:gd name="connsiteY2077" fmla="*/ 2700840 h 6380470"/>
              <a:gd name="connsiteX2078" fmla="*/ 8361033 w 11625583"/>
              <a:gd name="connsiteY2078" fmla="*/ 2765506 h 6380470"/>
              <a:gd name="connsiteX2079" fmla="*/ 8296367 w 11625583"/>
              <a:gd name="connsiteY2079" fmla="*/ 2830172 h 6380470"/>
              <a:gd name="connsiteX2080" fmla="*/ 8231701 w 11625583"/>
              <a:gd name="connsiteY2080" fmla="*/ 2765506 h 6380470"/>
              <a:gd name="connsiteX2081" fmla="*/ 8296367 w 11625583"/>
              <a:gd name="connsiteY2081" fmla="*/ 2700840 h 6380470"/>
              <a:gd name="connsiteX2082" fmla="*/ 7677902 w 11625583"/>
              <a:gd name="connsiteY2082" fmla="*/ 2700840 h 6380470"/>
              <a:gd name="connsiteX2083" fmla="*/ 7742568 w 11625583"/>
              <a:gd name="connsiteY2083" fmla="*/ 2765506 h 6380470"/>
              <a:gd name="connsiteX2084" fmla="*/ 7677902 w 11625583"/>
              <a:gd name="connsiteY2084" fmla="*/ 2830172 h 6380470"/>
              <a:gd name="connsiteX2085" fmla="*/ 7613236 w 11625583"/>
              <a:gd name="connsiteY2085" fmla="*/ 2765506 h 6380470"/>
              <a:gd name="connsiteX2086" fmla="*/ 7677902 w 11625583"/>
              <a:gd name="connsiteY2086" fmla="*/ 2700840 h 6380470"/>
              <a:gd name="connsiteX2087" fmla="*/ 7521329 w 11625583"/>
              <a:gd name="connsiteY2087" fmla="*/ 2700840 h 6380470"/>
              <a:gd name="connsiteX2088" fmla="*/ 7585995 w 11625583"/>
              <a:gd name="connsiteY2088" fmla="*/ 2765506 h 6380470"/>
              <a:gd name="connsiteX2089" fmla="*/ 7521329 w 11625583"/>
              <a:gd name="connsiteY2089" fmla="*/ 2830172 h 6380470"/>
              <a:gd name="connsiteX2090" fmla="*/ 7456663 w 11625583"/>
              <a:gd name="connsiteY2090" fmla="*/ 2765506 h 6380470"/>
              <a:gd name="connsiteX2091" fmla="*/ 7521329 w 11625583"/>
              <a:gd name="connsiteY2091" fmla="*/ 2700840 h 6380470"/>
              <a:gd name="connsiteX2092" fmla="*/ 7212096 w 11625583"/>
              <a:gd name="connsiteY2092" fmla="*/ 2700840 h 6380470"/>
              <a:gd name="connsiteX2093" fmla="*/ 7276762 w 11625583"/>
              <a:gd name="connsiteY2093" fmla="*/ 2765506 h 6380470"/>
              <a:gd name="connsiteX2094" fmla="*/ 7212096 w 11625583"/>
              <a:gd name="connsiteY2094" fmla="*/ 2830172 h 6380470"/>
              <a:gd name="connsiteX2095" fmla="*/ 7147430 w 11625583"/>
              <a:gd name="connsiteY2095" fmla="*/ 2765506 h 6380470"/>
              <a:gd name="connsiteX2096" fmla="*/ 7212096 w 11625583"/>
              <a:gd name="connsiteY2096" fmla="*/ 2700840 h 6380470"/>
              <a:gd name="connsiteX2097" fmla="*/ 7055523 w 11625583"/>
              <a:gd name="connsiteY2097" fmla="*/ 2700840 h 6380470"/>
              <a:gd name="connsiteX2098" fmla="*/ 7120189 w 11625583"/>
              <a:gd name="connsiteY2098" fmla="*/ 2765506 h 6380470"/>
              <a:gd name="connsiteX2099" fmla="*/ 7055523 w 11625583"/>
              <a:gd name="connsiteY2099" fmla="*/ 2830172 h 6380470"/>
              <a:gd name="connsiteX2100" fmla="*/ 6990857 w 11625583"/>
              <a:gd name="connsiteY2100" fmla="*/ 2765506 h 6380470"/>
              <a:gd name="connsiteX2101" fmla="*/ 7055523 w 11625583"/>
              <a:gd name="connsiteY2101" fmla="*/ 2700840 h 6380470"/>
              <a:gd name="connsiteX2102" fmla="*/ 6895037 w 11625583"/>
              <a:gd name="connsiteY2102" fmla="*/ 2700840 h 6380470"/>
              <a:gd name="connsiteX2103" fmla="*/ 6959703 w 11625583"/>
              <a:gd name="connsiteY2103" fmla="*/ 2765506 h 6380470"/>
              <a:gd name="connsiteX2104" fmla="*/ 6895037 w 11625583"/>
              <a:gd name="connsiteY2104" fmla="*/ 2830172 h 6380470"/>
              <a:gd name="connsiteX2105" fmla="*/ 6830371 w 11625583"/>
              <a:gd name="connsiteY2105" fmla="*/ 2765506 h 6380470"/>
              <a:gd name="connsiteX2106" fmla="*/ 6895037 w 11625583"/>
              <a:gd name="connsiteY2106" fmla="*/ 2700840 h 6380470"/>
              <a:gd name="connsiteX2107" fmla="*/ 6119999 w 11625583"/>
              <a:gd name="connsiteY2107" fmla="*/ 2700840 h 6380470"/>
              <a:gd name="connsiteX2108" fmla="*/ 6184665 w 11625583"/>
              <a:gd name="connsiteY2108" fmla="*/ 2765506 h 6380470"/>
              <a:gd name="connsiteX2109" fmla="*/ 6119999 w 11625583"/>
              <a:gd name="connsiteY2109" fmla="*/ 2830172 h 6380470"/>
              <a:gd name="connsiteX2110" fmla="*/ 6055333 w 11625583"/>
              <a:gd name="connsiteY2110" fmla="*/ 2765506 h 6380470"/>
              <a:gd name="connsiteX2111" fmla="*/ 6119999 w 11625583"/>
              <a:gd name="connsiteY2111" fmla="*/ 2700840 h 6380470"/>
              <a:gd name="connsiteX2112" fmla="*/ 5348883 w 11625583"/>
              <a:gd name="connsiteY2112" fmla="*/ 2700840 h 6380470"/>
              <a:gd name="connsiteX2113" fmla="*/ 5413550 w 11625583"/>
              <a:gd name="connsiteY2113" fmla="*/ 2765506 h 6380470"/>
              <a:gd name="connsiteX2114" fmla="*/ 5348883 w 11625583"/>
              <a:gd name="connsiteY2114" fmla="*/ 2830172 h 6380470"/>
              <a:gd name="connsiteX2115" fmla="*/ 5284222 w 11625583"/>
              <a:gd name="connsiteY2115" fmla="*/ 2765506 h 6380470"/>
              <a:gd name="connsiteX2116" fmla="*/ 5348883 w 11625583"/>
              <a:gd name="connsiteY2116" fmla="*/ 2700840 h 6380470"/>
              <a:gd name="connsiteX2117" fmla="*/ 2855515 w 11625583"/>
              <a:gd name="connsiteY2117" fmla="*/ 2700840 h 6380470"/>
              <a:gd name="connsiteX2118" fmla="*/ 2920176 w 11625583"/>
              <a:gd name="connsiteY2118" fmla="*/ 2765506 h 6380470"/>
              <a:gd name="connsiteX2119" fmla="*/ 2855515 w 11625583"/>
              <a:gd name="connsiteY2119" fmla="*/ 2830172 h 6380470"/>
              <a:gd name="connsiteX2120" fmla="*/ 2790855 w 11625583"/>
              <a:gd name="connsiteY2120" fmla="*/ 2765506 h 6380470"/>
              <a:gd name="connsiteX2121" fmla="*/ 2855515 w 11625583"/>
              <a:gd name="connsiteY2121" fmla="*/ 2700840 h 6380470"/>
              <a:gd name="connsiteX2122" fmla="*/ 2698955 w 11625583"/>
              <a:gd name="connsiteY2122" fmla="*/ 2700840 h 6380470"/>
              <a:gd name="connsiteX2123" fmla="*/ 2763616 w 11625583"/>
              <a:gd name="connsiteY2123" fmla="*/ 2765506 h 6380470"/>
              <a:gd name="connsiteX2124" fmla="*/ 2698955 w 11625583"/>
              <a:gd name="connsiteY2124" fmla="*/ 2830172 h 6380470"/>
              <a:gd name="connsiteX2125" fmla="*/ 2634295 w 11625583"/>
              <a:gd name="connsiteY2125" fmla="*/ 2765506 h 6380470"/>
              <a:gd name="connsiteX2126" fmla="*/ 2698955 w 11625583"/>
              <a:gd name="connsiteY2126" fmla="*/ 2700840 h 6380470"/>
              <a:gd name="connsiteX2127" fmla="*/ 2389740 w 11625583"/>
              <a:gd name="connsiteY2127" fmla="*/ 2700840 h 6380470"/>
              <a:gd name="connsiteX2128" fmla="*/ 2454407 w 11625583"/>
              <a:gd name="connsiteY2128" fmla="*/ 2765506 h 6380470"/>
              <a:gd name="connsiteX2129" fmla="*/ 2389740 w 11625583"/>
              <a:gd name="connsiteY2129" fmla="*/ 2830172 h 6380470"/>
              <a:gd name="connsiteX2130" fmla="*/ 2325073 w 11625583"/>
              <a:gd name="connsiteY2130" fmla="*/ 2765506 h 6380470"/>
              <a:gd name="connsiteX2131" fmla="*/ 2389740 w 11625583"/>
              <a:gd name="connsiteY2131" fmla="*/ 2700840 h 6380470"/>
              <a:gd name="connsiteX2132" fmla="*/ 2237065 w 11625583"/>
              <a:gd name="connsiteY2132" fmla="*/ 2700840 h 6380470"/>
              <a:gd name="connsiteX2133" fmla="*/ 2301741 w 11625583"/>
              <a:gd name="connsiteY2133" fmla="*/ 2765506 h 6380470"/>
              <a:gd name="connsiteX2134" fmla="*/ 2237065 w 11625583"/>
              <a:gd name="connsiteY2134" fmla="*/ 2830172 h 6380470"/>
              <a:gd name="connsiteX2135" fmla="*/ 2172389 w 11625583"/>
              <a:gd name="connsiteY2135" fmla="*/ 2765506 h 6380470"/>
              <a:gd name="connsiteX2136" fmla="*/ 2237065 w 11625583"/>
              <a:gd name="connsiteY2136" fmla="*/ 2700840 h 6380470"/>
              <a:gd name="connsiteX2137" fmla="*/ 2084396 w 11625583"/>
              <a:gd name="connsiteY2137" fmla="*/ 2700840 h 6380470"/>
              <a:gd name="connsiteX2138" fmla="*/ 2149059 w 11625583"/>
              <a:gd name="connsiteY2138" fmla="*/ 2765506 h 6380470"/>
              <a:gd name="connsiteX2139" fmla="*/ 2084396 w 11625583"/>
              <a:gd name="connsiteY2139" fmla="*/ 2830172 h 6380470"/>
              <a:gd name="connsiteX2140" fmla="*/ 2019738 w 11625583"/>
              <a:gd name="connsiteY2140" fmla="*/ 2765506 h 6380470"/>
              <a:gd name="connsiteX2141" fmla="*/ 2084396 w 11625583"/>
              <a:gd name="connsiteY2141" fmla="*/ 2700840 h 6380470"/>
              <a:gd name="connsiteX2142" fmla="*/ 1927818 w 11625583"/>
              <a:gd name="connsiteY2142" fmla="*/ 2700840 h 6380470"/>
              <a:gd name="connsiteX2143" fmla="*/ 1992493 w 11625583"/>
              <a:gd name="connsiteY2143" fmla="*/ 2765506 h 6380470"/>
              <a:gd name="connsiteX2144" fmla="*/ 1927818 w 11625583"/>
              <a:gd name="connsiteY2144" fmla="*/ 2830172 h 6380470"/>
              <a:gd name="connsiteX2145" fmla="*/ 1863165 w 11625583"/>
              <a:gd name="connsiteY2145" fmla="*/ 2765506 h 6380470"/>
              <a:gd name="connsiteX2146" fmla="*/ 1927818 w 11625583"/>
              <a:gd name="connsiteY2146" fmla="*/ 2700840 h 6380470"/>
              <a:gd name="connsiteX2147" fmla="*/ 1775160 w 11625583"/>
              <a:gd name="connsiteY2147" fmla="*/ 2700840 h 6380470"/>
              <a:gd name="connsiteX2148" fmla="*/ 1839836 w 11625583"/>
              <a:gd name="connsiteY2148" fmla="*/ 2765506 h 6380470"/>
              <a:gd name="connsiteX2149" fmla="*/ 1775160 w 11625583"/>
              <a:gd name="connsiteY2149" fmla="*/ 2830172 h 6380470"/>
              <a:gd name="connsiteX2150" fmla="*/ 1710491 w 11625583"/>
              <a:gd name="connsiteY2150" fmla="*/ 2765506 h 6380470"/>
              <a:gd name="connsiteX2151" fmla="*/ 1775160 w 11625583"/>
              <a:gd name="connsiteY2151" fmla="*/ 2700840 h 6380470"/>
              <a:gd name="connsiteX2152" fmla="*/ 8449023 w 11625583"/>
              <a:gd name="connsiteY2152" fmla="*/ 2700839 h 6380470"/>
              <a:gd name="connsiteX2153" fmla="*/ 8513689 w 11625583"/>
              <a:gd name="connsiteY2153" fmla="*/ 2765504 h 6380470"/>
              <a:gd name="connsiteX2154" fmla="*/ 8449023 w 11625583"/>
              <a:gd name="connsiteY2154" fmla="*/ 2830170 h 6380470"/>
              <a:gd name="connsiteX2155" fmla="*/ 8384357 w 11625583"/>
              <a:gd name="connsiteY2155" fmla="*/ 2765504 h 6380470"/>
              <a:gd name="connsiteX2156" fmla="*/ 8449023 w 11625583"/>
              <a:gd name="connsiteY2156" fmla="*/ 2700839 h 6380470"/>
              <a:gd name="connsiteX2157" fmla="*/ 8139792 w 11625583"/>
              <a:gd name="connsiteY2157" fmla="*/ 2700839 h 6380470"/>
              <a:gd name="connsiteX2158" fmla="*/ 8204458 w 11625583"/>
              <a:gd name="connsiteY2158" fmla="*/ 2765504 h 6380470"/>
              <a:gd name="connsiteX2159" fmla="*/ 8139792 w 11625583"/>
              <a:gd name="connsiteY2159" fmla="*/ 2830170 h 6380470"/>
              <a:gd name="connsiteX2160" fmla="*/ 8075126 w 11625583"/>
              <a:gd name="connsiteY2160" fmla="*/ 2765504 h 6380470"/>
              <a:gd name="connsiteX2161" fmla="*/ 8139792 w 11625583"/>
              <a:gd name="connsiteY2161" fmla="*/ 2700839 h 6380470"/>
              <a:gd name="connsiteX2162" fmla="*/ 7987133 w 11625583"/>
              <a:gd name="connsiteY2162" fmla="*/ 2700839 h 6380470"/>
              <a:gd name="connsiteX2163" fmla="*/ 8051799 w 11625583"/>
              <a:gd name="connsiteY2163" fmla="*/ 2765504 h 6380470"/>
              <a:gd name="connsiteX2164" fmla="*/ 7987133 w 11625583"/>
              <a:gd name="connsiteY2164" fmla="*/ 2830170 h 6380470"/>
              <a:gd name="connsiteX2165" fmla="*/ 7922467 w 11625583"/>
              <a:gd name="connsiteY2165" fmla="*/ 2765504 h 6380470"/>
              <a:gd name="connsiteX2166" fmla="*/ 7987133 w 11625583"/>
              <a:gd name="connsiteY2166" fmla="*/ 2700839 h 6380470"/>
              <a:gd name="connsiteX2167" fmla="*/ 7830562 w 11625583"/>
              <a:gd name="connsiteY2167" fmla="*/ 2700839 h 6380470"/>
              <a:gd name="connsiteX2168" fmla="*/ 7895228 w 11625583"/>
              <a:gd name="connsiteY2168" fmla="*/ 2765504 h 6380470"/>
              <a:gd name="connsiteX2169" fmla="*/ 7830562 w 11625583"/>
              <a:gd name="connsiteY2169" fmla="*/ 2830170 h 6380470"/>
              <a:gd name="connsiteX2170" fmla="*/ 7765896 w 11625583"/>
              <a:gd name="connsiteY2170" fmla="*/ 2765504 h 6380470"/>
              <a:gd name="connsiteX2171" fmla="*/ 7830562 w 11625583"/>
              <a:gd name="connsiteY2171" fmla="*/ 2700839 h 6380470"/>
              <a:gd name="connsiteX2172" fmla="*/ 7368669 w 11625583"/>
              <a:gd name="connsiteY2172" fmla="*/ 2700839 h 6380470"/>
              <a:gd name="connsiteX2173" fmla="*/ 7433335 w 11625583"/>
              <a:gd name="connsiteY2173" fmla="*/ 2765504 h 6380470"/>
              <a:gd name="connsiteX2174" fmla="*/ 7368669 w 11625583"/>
              <a:gd name="connsiteY2174" fmla="*/ 2830170 h 6380470"/>
              <a:gd name="connsiteX2175" fmla="*/ 7304003 w 11625583"/>
              <a:gd name="connsiteY2175" fmla="*/ 2765504 h 6380470"/>
              <a:gd name="connsiteX2176" fmla="*/ 7368669 w 11625583"/>
              <a:gd name="connsiteY2176" fmla="*/ 2700839 h 6380470"/>
              <a:gd name="connsiteX2177" fmla="*/ 6742375 w 11625583"/>
              <a:gd name="connsiteY2177" fmla="*/ 2700839 h 6380470"/>
              <a:gd name="connsiteX2178" fmla="*/ 6807041 w 11625583"/>
              <a:gd name="connsiteY2178" fmla="*/ 2765504 h 6380470"/>
              <a:gd name="connsiteX2179" fmla="*/ 6742375 w 11625583"/>
              <a:gd name="connsiteY2179" fmla="*/ 2830170 h 6380470"/>
              <a:gd name="connsiteX2180" fmla="*/ 6677709 w 11625583"/>
              <a:gd name="connsiteY2180" fmla="*/ 2765504 h 6380470"/>
              <a:gd name="connsiteX2181" fmla="*/ 6742375 w 11625583"/>
              <a:gd name="connsiteY2181" fmla="*/ 2700839 h 6380470"/>
              <a:gd name="connsiteX2182" fmla="*/ 6429229 w 11625583"/>
              <a:gd name="connsiteY2182" fmla="*/ 2700839 h 6380470"/>
              <a:gd name="connsiteX2183" fmla="*/ 6493895 w 11625583"/>
              <a:gd name="connsiteY2183" fmla="*/ 2765504 h 6380470"/>
              <a:gd name="connsiteX2184" fmla="*/ 6429229 w 11625583"/>
              <a:gd name="connsiteY2184" fmla="*/ 2830170 h 6380470"/>
              <a:gd name="connsiteX2185" fmla="*/ 6364563 w 11625583"/>
              <a:gd name="connsiteY2185" fmla="*/ 2765504 h 6380470"/>
              <a:gd name="connsiteX2186" fmla="*/ 6429229 w 11625583"/>
              <a:gd name="connsiteY2186" fmla="*/ 2700839 h 6380470"/>
              <a:gd name="connsiteX2187" fmla="*/ 6276571 w 11625583"/>
              <a:gd name="connsiteY2187" fmla="*/ 2700839 h 6380470"/>
              <a:gd name="connsiteX2188" fmla="*/ 6341237 w 11625583"/>
              <a:gd name="connsiteY2188" fmla="*/ 2765504 h 6380470"/>
              <a:gd name="connsiteX2189" fmla="*/ 6276571 w 11625583"/>
              <a:gd name="connsiteY2189" fmla="*/ 2830170 h 6380470"/>
              <a:gd name="connsiteX2190" fmla="*/ 6211905 w 11625583"/>
              <a:gd name="connsiteY2190" fmla="*/ 2765504 h 6380470"/>
              <a:gd name="connsiteX2191" fmla="*/ 6276571 w 11625583"/>
              <a:gd name="connsiteY2191" fmla="*/ 2700839 h 6380470"/>
              <a:gd name="connsiteX2192" fmla="*/ 5967338 w 11625583"/>
              <a:gd name="connsiteY2192" fmla="*/ 2700839 h 6380470"/>
              <a:gd name="connsiteX2193" fmla="*/ 6032004 w 11625583"/>
              <a:gd name="connsiteY2193" fmla="*/ 2765504 h 6380470"/>
              <a:gd name="connsiteX2194" fmla="*/ 5967338 w 11625583"/>
              <a:gd name="connsiteY2194" fmla="*/ 2830170 h 6380470"/>
              <a:gd name="connsiteX2195" fmla="*/ 5902672 w 11625583"/>
              <a:gd name="connsiteY2195" fmla="*/ 2765504 h 6380470"/>
              <a:gd name="connsiteX2196" fmla="*/ 5967338 w 11625583"/>
              <a:gd name="connsiteY2196" fmla="*/ 2700839 h 6380470"/>
              <a:gd name="connsiteX2197" fmla="*/ 5810785 w 11625583"/>
              <a:gd name="connsiteY2197" fmla="*/ 2700839 h 6380470"/>
              <a:gd name="connsiteX2198" fmla="*/ 5875431 w 11625583"/>
              <a:gd name="connsiteY2198" fmla="*/ 2765504 h 6380470"/>
              <a:gd name="connsiteX2199" fmla="*/ 5810785 w 11625583"/>
              <a:gd name="connsiteY2199" fmla="*/ 2830170 h 6380470"/>
              <a:gd name="connsiteX2200" fmla="*/ 5746110 w 11625583"/>
              <a:gd name="connsiteY2200" fmla="*/ 2765504 h 6380470"/>
              <a:gd name="connsiteX2201" fmla="*/ 5810785 w 11625583"/>
              <a:gd name="connsiteY2201" fmla="*/ 2700839 h 6380470"/>
              <a:gd name="connsiteX2202" fmla="*/ 5658107 w 11625583"/>
              <a:gd name="connsiteY2202" fmla="*/ 2700839 h 6380470"/>
              <a:gd name="connsiteX2203" fmla="*/ 5722779 w 11625583"/>
              <a:gd name="connsiteY2203" fmla="*/ 2765504 h 6380470"/>
              <a:gd name="connsiteX2204" fmla="*/ 5658107 w 11625583"/>
              <a:gd name="connsiteY2204" fmla="*/ 2830170 h 6380470"/>
              <a:gd name="connsiteX2205" fmla="*/ 5593441 w 11625583"/>
              <a:gd name="connsiteY2205" fmla="*/ 2765504 h 6380470"/>
              <a:gd name="connsiteX2206" fmla="*/ 5658107 w 11625583"/>
              <a:gd name="connsiteY2206" fmla="*/ 2700839 h 6380470"/>
              <a:gd name="connsiteX2207" fmla="*/ 5501539 w 11625583"/>
              <a:gd name="connsiteY2207" fmla="*/ 2700839 h 6380470"/>
              <a:gd name="connsiteX2208" fmla="*/ 5566202 w 11625583"/>
              <a:gd name="connsiteY2208" fmla="*/ 2765504 h 6380470"/>
              <a:gd name="connsiteX2209" fmla="*/ 5501539 w 11625583"/>
              <a:gd name="connsiteY2209" fmla="*/ 2830170 h 6380470"/>
              <a:gd name="connsiteX2210" fmla="*/ 5436879 w 11625583"/>
              <a:gd name="connsiteY2210" fmla="*/ 2765504 h 6380470"/>
              <a:gd name="connsiteX2211" fmla="*/ 5501539 w 11625583"/>
              <a:gd name="connsiteY2211" fmla="*/ 2700839 h 6380470"/>
              <a:gd name="connsiteX2212" fmla="*/ 5192312 w 11625583"/>
              <a:gd name="connsiteY2212" fmla="*/ 2700839 h 6380470"/>
              <a:gd name="connsiteX2213" fmla="*/ 5256977 w 11625583"/>
              <a:gd name="connsiteY2213" fmla="*/ 2765504 h 6380470"/>
              <a:gd name="connsiteX2214" fmla="*/ 5192312 w 11625583"/>
              <a:gd name="connsiteY2214" fmla="*/ 2830170 h 6380470"/>
              <a:gd name="connsiteX2215" fmla="*/ 5127646 w 11625583"/>
              <a:gd name="connsiteY2215" fmla="*/ 2765504 h 6380470"/>
              <a:gd name="connsiteX2216" fmla="*/ 5192312 w 11625583"/>
              <a:gd name="connsiteY2216" fmla="*/ 2700839 h 6380470"/>
              <a:gd name="connsiteX2217" fmla="*/ 2546309 w 11625583"/>
              <a:gd name="connsiteY2217" fmla="*/ 2700839 h 6380470"/>
              <a:gd name="connsiteX2218" fmla="*/ 2610971 w 11625583"/>
              <a:gd name="connsiteY2218" fmla="*/ 2765504 h 6380470"/>
              <a:gd name="connsiteX2219" fmla="*/ 2546309 w 11625583"/>
              <a:gd name="connsiteY2219" fmla="*/ 2830170 h 6380470"/>
              <a:gd name="connsiteX2220" fmla="*/ 2481648 w 11625583"/>
              <a:gd name="connsiteY2220" fmla="*/ 2765504 h 6380470"/>
              <a:gd name="connsiteX2221" fmla="*/ 2546309 w 11625583"/>
              <a:gd name="connsiteY2221" fmla="*/ 2700839 h 6380470"/>
              <a:gd name="connsiteX2222" fmla="*/ 9384550 w 11625583"/>
              <a:gd name="connsiteY2222" fmla="*/ 2700836 h 6380470"/>
              <a:gd name="connsiteX2223" fmla="*/ 9449216 w 11625583"/>
              <a:gd name="connsiteY2223" fmla="*/ 2765504 h 6380470"/>
              <a:gd name="connsiteX2224" fmla="*/ 9384550 w 11625583"/>
              <a:gd name="connsiteY2224" fmla="*/ 2830169 h 6380470"/>
              <a:gd name="connsiteX2225" fmla="*/ 9319884 w 11625583"/>
              <a:gd name="connsiteY2225" fmla="*/ 2765504 h 6380470"/>
              <a:gd name="connsiteX2226" fmla="*/ 9384550 w 11625583"/>
              <a:gd name="connsiteY2226" fmla="*/ 2700836 h 6380470"/>
              <a:gd name="connsiteX2227" fmla="*/ 9227977 w 11625583"/>
              <a:gd name="connsiteY2227" fmla="*/ 2700836 h 6380470"/>
              <a:gd name="connsiteX2228" fmla="*/ 9292643 w 11625583"/>
              <a:gd name="connsiteY2228" fmla="*/ 2765504 h 6380470"/>
              <a:gd name="connsiteX2229" fmla="*/ 9227977 w 11625583"/>
              <a:gd name="connsiteY2229" fmla="*/ 2830169 h 6380470"/>
              <a:gd name="connsiteX2230" fmla="*/ 9163311 w 11625583"/>
              <a:gd name="connsiteY2230" fmla="*/ 2765504 h 6380470"/>
              <a:gd name="connsiteX2231" fmla="*/ 9227977 w 11625583"/>
              <a:gd name="connsiteY2231" fmla="*/ 2700836 h 6380470"/>
              <a:gd name="connsiteX2232" fmla="*/ 9075319 w 11625583"/>
              <a:gd name="connsiteY2232" fmla="*/ 2700836 h 6380470"/>
              <a:gd name="connsiteX2233" fmla="*/ 9139985 w 11625583"/>
              <a:gd name="connsiteY2233" fmla="*/ 2765504 h 6380470"/>
              <a:gd name="connsiteX2234" fmla="*/ 9075319 w 11625583"/>
              <a:gd name="connsiteY2234" fmla="*/ 2830169 h 6380470"/>
              <a:gd name="connsiteX2235" fmla="*/ 9010653 w 11625583"/>
              <a:gd name="connsiteY2235" fmla="*/ 2765504 h 6380470"/>
              <a:gd name="connsiteX2236" fmla="*/ 9075319 w 11625583"/>
              <a:gd name="connsiteY2236" fmla="*/ 2700836 h 6380470"/>
              <a:gd name="connsiteX2237" fmla="*/ 8914831 w 11625583"/>
              <a:gd name="connsiteY2237" fmla="*/ 2700836 h 6380470"/>
              <a:gd name="connsiteX2238" fmla="*/ 8979497 w 11625583"/>
              <a:gd name="connsiteY2238" fmla="*/ 2765504 h 6380470"/>
              <a:gd name="connsiteX2239" fmla="*/ 8914831 w 11625583"/>
              <a:gd name="connsiteY2239" fmla="*/ 2830169 h 6380470"/>
              <a:gd name="connsiteX2240" fmla="*/ 8850165 w 11625583"/>
              <a:gd name="connsiteY2240" fmla="*/ 2765504 h 6380470"/>
              <a:gd name="connsiteX2241" fmla="*/ 8914831 w 11625583"/>
              <a:gd name="connsiteY2241" fmla="*/ 2700836 h 6380470"/>
              <a:gd name="connsiteX2242" fmla="*/ 8766086 w 11625583"/>
              <a:gd name="connsiteY2242" fmla="*/ 2700836 h 6380470"/>
              <a:gd name="connsiteX2243" fmla="*/ 8830752 w 11625583"/>
              <a:gd name="connsiteY2243" fmla="*/ 2765504 h 6380470"/>
              <a:gd name="connsiteX2244" fmla="*/ 8766086 w 11625583"/>
              <a:gd name="connsiteY2244" fmla="*/ 2830169 h 6380470"/>
              <a:gd name="connsiteX2245" fmla="*/ 8701420 w 11625583"/>
              <a:gd name="connsiteY2245" fmla="*/ 2765504 h 6380470"/>
              <a:gd name="connsiteX2246" fmla="*/ 8766086 w 11625583"/>
              <a:gd name="connsiteY2246" fmla="*/ 2700836 h 6380470"/>
              <a:gd name="connsiteX2247" fmla="*/ 8601683 w 11625583"/>
              <a:gd name="connsiteY2247" fmla="*/ 2700836 h 6380470"/>
              <a:gd name="connsiteX2248" fmla="*/ 8666349 w 11625583"/>
              <a:gd name="connsiteY2248" fmla="*/ 2765504 h 6380470"/>
              <a:gd name="connsiteX2249" fmla="*/ 8601683 w 11625583"/>
              <a:gd name="connsiteY2249" fmla="*/ 2830169 h 6380470"/>
              <a:gd name="connsiteX2250" fmla="*/ 8537017 w 11625583"/>
              <a:gd name="connsiteY2250" fmla="*/ 2765504 h 6380470"/>
              <a:gd name="connsiteX2251" fmla="*/ 8601683 w 11625583"/>
              <a:gd name="connsiteY2251" fmla="*/ 2700836 h 6380470"/>
              <a:gd name="connsiteX2252" fmla="*/ 10003015 w 11625583"/>
              <a:gd name="connsiteY2252" fmla="*/ 2559922 h 6380470"/>
              <a:gd name="connsiteX2253" fmla="*/ 10067681 w 11625583"/>
              <a:gd name="connsiteY2253" fmla="*/ 2624589 h 6380470"/>
              <a:gd name="connsiteX2254" fmla="*/ 10003015 w 11625583"/>
              <a:gd name="connsiteY2254" fmla="*/ 2689256 h 6380470"/>
              <a:gd name="connsiteX2255" fmla="*/ 9938349 w 11625583"/>
              <a:gd name="connsiteY2255" fmla="*/ 2624589 h 6380470"/>
              <a:gd name="connsiteX2256" fmla="*/ 10003015 w 11625583"/>
              <a:gd name="connsiteY2256" fmla="*/ 2559922 h 6380470"/>
              <a:gd name="connsiteX2257" fmla="*/ 9850356 w 11625583"/>
              <a:gd name="connsiteY2257" fmla="*/ 2559922 h 6380470"/>
              <a:gd name="connsiteX2258" fmla="*/ 9915022 w 11625583"/>
              <a:gd name="connsiteY2258" fmla="*/ 2624589 h 6380470"/>
              <a:gd name="connsiteX2259" fmla="*/ 9850356 w 11625583"/>
              <a:gd name="connsiteY2259" fmla="*/ 2689256 h 6380470"/>
              <a:gd name="connsiteX2260" fmla="*/ 9785690 w 11625583"/>
              <a:gd name="connsiteY2260" fmla="*/ 2624589 h 6380470"/>
              <a:gd name="connsiteX2261" fmla="*/ 9850356 w 11625583"/>
              <a:gd name="connsiteY2261" fmla="*/ 2559922 h 6380470"/>
              <a:gd name="connsiteX2262" fmla="*/ 9384549 w 11625583"/>
              <a:gd name="connsiteY2262" fmla="*/ 2559922 h 6380470"/>
              <a:gd name="connsiteX2263" fmla="*/ 9449215 w 11625583"/>
              <a:gd name="connsiteY2263" fmla="*/ 2624589 h 6380470"/>
              <a:gd name="connsiteX2264" fmla="*/ 9384549 w 11625583"/>
              <a:gd name="connsiteY2264" fmla="*/ 2689256 h 6380470"/>
              <a:gd name="connsiteX2265" fmla="*/ 9319883 w 11625583"/>
              <a:gd name="connsiteY2265" fmla="*/ 2624589 h 6380470"/>
              <a:gd name="connsiteX2266" fmla="*/ 9384549 w 11625583"/>
              <a:gd name="connsiteY2266" fmla="*/ 2559922 h 6380470"/>
              <a:gd name="connsiteX2267" fmla="*/ 9227976 w 11625583"/>
              <a:gd name="connsiteY2267" fmla="*/ 2559922 h 6380470"/>
              <a:gd name="connsiteX2268" fmla="*/ 9292642 w 11625583"/>
              <a:gd name="connsiteY2268" fmla="*/ 2624589 h 6380470"/>
              <a:gd name="connsiteX2269" fmla="*/ 9227976 w 11625583"/>
              <a:gd name="connsiteY2269" fmla="*/ 2689256 h 6380470"/>
              <a:gd name="connsiteX2270" fmla="*/ 9163310 w 11625583"/>
              <a:gd name="connsiteY2270" fmla="*/ 2624589 h 6380470"/>
              <a:gd name="connsiteX2271" fmla="*/ 9227976 w 11625583"/>
              <a:gd name="connsiteY2271" fmla="*/ 2559922 h 6380470"/>
              <a:gd name="connsiteX2272" fmla="*/ 9075317 w 11625583"/>
              <a:gd name="connsiteY2272" fmla="*/ 2559922 h 6380470"/>
              <a:gd name="connsiteX2273" fmla="*/ 9139983 w 11625583"/>
              <a:gd name="connsiteY2273" fmla="*/ 2624589 h 6380470"/>
              <a:gd name="connsiteX2274" fmla="*/ 9075317 w 11625583"/>
              <a:gd name="connsiteY2274" fmla="*/ 2689256 h 6380470"/>
              <a:gd name="connsiteX2275" fmla="*/ 9010651 w 11625583"/>
              <a:gd name="connsiteY2275" fmla="*/ 2624589 h 6380470"/>
              <a:gd name="connsiteX2276" fmla="*/ 9075317 w 11625583"/>
              <a:gd name="connsiteY2276" fmla="*/ 2559922 h 6380470"/>
              <a:gd name="connsiteX2277" fmla="*/ 8914829 w 11625583"/>
              <a:gd name="connsiteY2277" fmla="*/ 2559922 h 6380470"/>
              <a:gd name="connsiteX2278" fmla="*/ 8979495 w 11625583"/>
              <a:gd name="connsiteY2278" fmla="*/ 2624589 h 6380470"/>
              <a:gd name="connsiteX2279" fmla="*/ 8914829 w 11625583"/>
              <a:gd name="connsiteY2279" fmla="*/ 2689256 h 6380470"/>
              <a:gd name="connsiteX2280" fmla="*/ 8850163 w 11625583"/>
              <a:gd name="connsiteY2280" fmla="*/ 2624589 h 6380470"/>
              <a:gd name="connsiteX2281" fmla="*/ 8914829 w 11625583"/>
              <a:gd name="connsiteY2281" fmla="*/ 2559922 h 6380470"/>
              <a:gd name="connsiteX2282" fmla="*/ 8766084 w 11625583"/>
              <a:gd name="connsiteY2282" fmla="*/ 2559922 h 6380470"/>
              <a:gd name="connsiteX2283" fmla="*/ 8830750 w 11625583"/>
              <a:gd name="connsiteY2283" fmla="*/ 2624589 h 6380470"/>
              <a:gd name="connsiteX2284" fmla="*/ 8766084 w 11625583"/>
              <a:gd name="connsiteY2284" fmla="*/ 2689256 h 6380470"/>
              <a:gd name="connsiteX2285" fmla="*/ 8701418 w 11625583"/>
              <a:gd name="connsiteY2285" fmla="*/ 2624589 h 6380470"/>
              <a:gd name="connsiteX2286" fmla="*/ 8766084 w 11625583"/>
              <a:gd name="connsiteY2286" fmla="*/ 2559922 h 6380470"/>
              <a:gd name="connsiteX2287" fmla="*/ 8601683 w 11625583"/>
              <a:gd name="connsiteY2287" fmla="*/ 2559922 h 6380470"/>
              <a:gd name="connsiteX2288" fmla="*/ 8666349 w 11625583"/>
              <a:gd name="connsiteY2288" fmla="*/ 2624589 h 6380470"/>
              <a:gd name="connsiteX2289" fmla="*/ 8601683 w 11625583"/>
              <a:gd name="connsiteY2289" fmla="*/ 2689256 h 6380470"/>
              <a:gd name="connsiteX2290" fmla="*/ 8537017 w 11625583"/>
              <a:gd name="connsiteY2290" fmla="*/ 2624589 h 6380470"/>
              <a:gd name="connsiteX2291" fmla="*/ 8601683 w 11625583"/>
              <a:gd name="connsiteY2291" fmla="*/ 2559922 h 6380470"/>
              <a:gd name="connsiteX2292" fmla="*/ 8449023 w 11625583"/>
              <a:gd name="connsiteY2292" fmla="*/ 2559922 h 6380470"/>
              <a:gd name="connsiteX2293" fmla="*/ 8513689 w 11625583"/>
              <a:gd name="connsiteY2293" fmla="*/ 2624589 h 6380470"/>
              <a:gd name="connsiteX2294" fmla="*/ 8449023 w 11625583"/>
              <a:gd name="connsiteY2294" fmla="*/ 2689256 h 6380470"/>
              <a:gd name="connsiteX2295" fmla="*/ 8384357 w 11625583"/>
              <a:gd name="connsiteY2295" fmla="*/ 2624589 h 6380470"/>
              <a:gd name="connsiteX2296" fmla="*/ 8449023 w 11625583"/>
              <a:gd name="connsiteY2296" fmla="*/ 2559922 h 6380470"/>
              <a:gd name="connsiteX2297" fmla="*/ 8296367 w 11625583"/>
              <a:gd name="connsiteY2297" fmla="*/ 2559922 h 6380470"/>
              <a:gd name="connsiteX2298" fmla="*/ 8361033 w 11625583"/>
              <a:gd name="connsiteY2298" fmla="*/ 2624589 h 6380470"/>
              <a:gd name="connsiteX2299" fmla="*/ 8296367 w 11625583"/>
              <a:gd name="connsiteY2299" fmla="*/ 2689256 h 6380470"/>
              <a:gd name="connsiteX2300" fmla="*/ 8231701 w 11625583"/>
              <a:gd name="connsiteY2300" fmla="*/ 2624589 h 6380470"/>
              <a:gd name="connsiteX2301" fmla="*/ 8296367 w 11625583"/>
              <a:gd name="connsiteY2301" fmla="*/ 2559922 h 6380470"/>
              <a:gd name="connsiteX2302" fmla="*/ 8139792 w 11625583"/>
              <a:gd name="connsiteY2302" fmla="*/ 2559922 h 6380470"/>
              <a:gd name="connsiteX2303" fmla="*/ 8204458 w 11625583"/>
              <a:gd name="connsiteY2303" fmla="*/ 2624589 h 6380470"/>
              <a:gd name="connsiteX2304" fmla="*/ 8139792 w 11625583"/>
              <a:gd name="connsiteY2304" fmla="*/ 2689256 h 6380470"/>
              <a:gd name="connsiteX2305" fmla="*/ 8075126 w 11625583"/>
              <a:gd name="connsiteY2305" fmla="*/ 2624589 h 6380470"/>
              <a:gd name="connsiteX2306" fmla="*/ 8139792 w 11625583"/>
              <a:gd name="connsiteY2306" fmla="*/ 2559922 h 6380470"/>
              <a:gd name="connsiteX2307" fmla="*/ 7987133 w 11625583"/>
              <a:gd name="connsiteY2307" fmla="*/ 2559922 h 6380470"/>
              <a:gd name="connsiteX2308" fmla="*/ 8051799 w 11625583"/>
              <a:gd name="connsiteY2308" fmla="*/ 2624589 h 6380470"/>
              <a:gd name="connsiteX2309" fmla="*/ 7987133 w 11625583"/>
              <a:gd name="connsiteY2309" fmla="*/ 2689256 h 6380470"/>
              <a:gd name="connsiteX2310" fmla="*/ 7922467 w 11625583"/>
              <a:gd name="connsiteY2310" fmla="*/ 2624589 h 6380470"/>
              <a:gd name="connsiteX2311" fmla="*/ 7987133 w 11625583"/>
              <a:gd name="connsiteY2311" fmla="*/ 2559922 h 6380470"/>
              <a:gd name="connsiteX2312" fmla="*/ 7830562 w 11625583"/>
              <a:gd name="connsiteY2312" fmla="*/ 2559922 h 6380470"/>
              <a:gd name="connsiteX2313" fmla="*/ 7895228 w 11625583"/>
              <a:gd name="connsiteY2313" fmla="*/ 2624589 h 6380470"/>
              <a:gd name="connsiteX2314" fmla="*/ 7830562 w 11625583"/>
              <a:gd name="connsiteY2314" fmla="*/ 2689256 h 6380470"/>
              <a:gd name="connsiteX2315" fmla="*/ 7765896 w 11625583"/>
              <a:gd name="connsiteY2315" fmla="*/ 2624589 h 6380470"/>
              <a:gd name="connsiteX2316" fmla="*/ 7830562 w 11625583"/>
              <a:gd name="connsiteY2316" fmla="*/ 2559922 h 6380470"/>
              <a:gd name="connsiteX2317" fmla="*/ 7677902 w 11625583"/>
              <a:gd name="connsiteY2317" fmla="*/ 2559922 h 6380470"/>
              <a:gd name="connsiteX2318" fmla="*/ 7742568 w 11625583"/>
              <a:gd name="connsiteY2318" fmla="*/ 2624589 h 6380470"/>
              <a:gd name="connsiteX2319" fmla="*/ 7677902 w 11625583"/>
              <a:gd name="connsiteY2319" fmla="*/ 2689256 h 6380470"/>
              <a:gd name="connsiteX2320" fmla="*/ 7613236 w 11625583"/>
              <a:gd name="connsiteY2320" fmla="*/ 2624589 h 6380470"/>
              <a:gd name="connsiteX2321" fmla="*/ 7677902 w 11625583"/>
              <a:gd name="connsiteY2321" fmla="*/ 2559922 h 6380470"/>
              <a:gd name="connsiteX2322" fmla="*/ 7521329 w 11625583"/>
              <a:gd name="connsiteY2322" fmla="*/ 2559922 h 6380470"/>
              <a:gd name="connsiteX2323" fmla="*/ 7585995 w 11625583"/>
              <a:gd name="connsiteY2323" fmla="*/ 2624589 h 6380470"/>
              <a:gd name="connsiteX2324" fmla="*/ 7521329 w 11625583"/>
              <a:gd name="connsiteY2324" fmla="*/ 2689256 h 6380470"/>
              <a:gd name="connsiteX2325" fmla="*/ 7456663 w 11625583"/>
              <a:gd name="connsiteY2325" fmla="*/ 2624589 h 6380470"/>
              <a:gd name="connsiteX2326" fmla="*/ 7521329 w 11625583"/>
              <a:gd name="connsiteY2326" fmla="*/ 2559922 h 6380470"/>
              <a:gd name="connsiteX2327" fmla="*/ 7368669 w 11625583"/>
              <a:gd name="connsiteY2327" fmla="*/ 2559922 h 6380470"/>
              <a:gd name="connsiteX2328" fmla="*/ 7433335 w 11625583"/>
              <a:gd name="connsiteY2328" fmla="*/ 2624589 h 6380470"/>
              <a:gd name="connsiteX2329" fmla="*/ 7368669 w 11625583"/>
              <a:gd name="connsiteY2329" fmla="*/ 2689256 h 6380470"/>
              <a:gd name="connsiteX2330" fmla="*/ 7304003 w 11625583"/>
              <a:gd name="connsiteY2330" fmla="*/ 2624589 h 6380470"/>
              <a:gd name="connsiteX2331" fmla="*/ 7368669 w 11625583"/>
              <a:gd name="connsiteY2331" fmla="*/ 2559922 h 6380470"/>
              <a:gd name="connsiteX2332" fmla="*/ 7212096 w 11625583"/>
              <a:gd name="connsiteY2332" fmla="*/ 2559922 h 6380470"/>
              <a:gd name="connsiteX2333" fmla="*/ 7276762 w 11625583"/>
              <a:gd name="connsiteY2333" fmla="*/ 2624589 h 6380470"/>
              <a:gd name="connsiteX2334" fmla="*/ 7212096 w 11625583"/>
              <a:gd name="connsiteY2334" fmla="*/ 2689256 h 6380470"/>
              <a:gd name="connsiteX2335" fmla="*/ 7147430 w 11625583"/>
              <a:gd name="connsiteY2335" fmla="*/ 2624589 h 6380470"/>
              <a:gd name="connsiteX2336" fmla="*/ 7212096 w 11625583"/>
              <a:gd name="connsiteY2336" fmla="*/ 2559922 h 6380470"/>
              <a:gd name="connsiteX2337" fmla="*/ 7055523 w 11625583"/>
              <a:gd name="connsiteY2337" fmla="*/ 2559922 h 6380470"/>
              <a:gd name="connsiteX2338" fmla="*/ 7120189 w 11625583"/>
              <a:gd name="connsiteY2338" fmla="*/ 2624589 h 6380470"/>
              <a:gd name="connsiteX2339" fmla="*/ 7055523 w 11625583"/>
              <a:gd name="connsiteY2339" fmla="*/ 2689256 h 6380470"/>
              <a:gd name="connsiteX2340" fmla="*/ 6990857 w 11625583"/>
              <a:gd name="connsiteY2340" fmla="*/ 2624589 h 6380470"/>
              <a:gd name="connsiteX2341" fmla="*/ 7055523 w 11625583"/>
              <a:gd name="connsiteY2341" fmla="*/ 2559922 h 6380470"/>
              <a:gd name="connsiteX2342" fmla="*/ 6895037 w 11625583"/>
              <a:gd name="connsiteY2342" fmla="*/ 2559922 h 6380470"/>
              <a:gd name="connsiteX2343" fmla="*/ 6959703 w 11625583"/>
              <a:gd name="connsiteY2343" fmla="*/ 2624589 h 6380470"/>
              <a:gd name="connsiteX2344" fmla="*/ 6895037 w 11625583"/>
              <a:gd name="connsiteY2344" fmla="*/ 2689256 h 6380470"/>
              <a:gd name="connsiteX2345" fmla="*/ 6830371 w 11625583"/>
              <a:gd name="connsiteY2345" fmla="*/ 2624589 h 6380470"/>
              <a:gd name="connsiteX2346" fmla="*/ 6895037 w 11625583"/>
              <a:gd name="connsiteY2346" fmla="*/ 2559922 h 6380470"/>
              <a:gd name="connsiteX2347" fmla="*/ 6742375 w 11625583"/>
              <a:gd name="connsiteY2347" fmla="*/ 2559922 h 6380470"/>
              <a:gd name="connsiteX2348" fmla="*/ 6807041 w 11625583"/>
              <a:gd name="connsiteY2348" fmla="*/ 2624589 h 6380470"/>
              <a:gd name="connsiteX2349" fmla="*/ 6742375 w 11625583"/>
              <a:gd name="connsiteY2349" fmla="*/ 2689256 h 6380470"/>
              <a:gd name="connsiteX2350" fmla="*/ 6677709 w 11625583"/>
              <a:gd name="connsiteY2350" fmla="*/ 2624589 h 6380470"/>
              <a:gd name="connsiteX2351" fmla="*/ 6742375 w 11625583"/>
              <a:gd name="connsiteY2351" fmla="*/ 2559922 h 6380470"/>
              <a:gd name="connsiteX2352" fmla="*/ 5810787 w 11625583"/>
              <a:gd name="connsiteY2352" fmla="*/ 2559922 h 6380470"/>
              <a:gd name="connsiteX2353" fmla="*/ 5875431 w 11625583"/>
              <a:gd name="connsiteY2353" fmla="*/ 2624589 h 6380470"/>
              <a:gd name="connsiteX2354" fmla="*/ 5810787 w 11625583"/>
              <a:gd name="connsiteY2354" fmla="*/ 2689256 h 6380470"/>
              <a:gd name="connsiteX2355" fmla="*/ 5746110 w 11625583"/>
              <a:gd name="connsiteY2355" fmla="*/ 2624589 h 6380470"/>
              <a:gd name="connsiteX2356" fmla="*/ 5810787 w 11625583"/>
              <a:gd name="connsiteY2356" fmla="*/ 2559922 h 6380470"/>
              <a:gd name="connsiteX2357" fmla="*/ 5658107 w 11625583"/>
              <a:gd name="connsiteY2357" fmla="*/ 2559922 h 6380470"/>
              <a:gd name="connsiteX2358" fmla="*/ 5722779 w 11625583"/>
              <a:gd name="connsiteY2358" fmla="*/ 2624589 h 6380470"/>
              <a:gd name="connsiteX2359" fmla="*/ 5658107 w 11625583"/>
              <a:gd name="connsiteY2359" fmla="*/ 2689256 h 6380470"/>
              <a:gd name="connsiteX2360" fmla="*/ 5593441 w 11625583"/>
              <a:gd name="connsiteY2360" fmla="*/ 2624589 h 6380470"/>
              <a:gd name="connsiteX2361" fmla="*/ 5658107 w 11625583"/>
              <a:gd name="connsiteY2361" fmla="*/ 2559922 h 6380470"/>
              <a:gd name="connsiteX2362" fmla="*/ 5501539 w 11625583"/>
              <a:gd name="connsiteY2362" fmla="*/ 2559922 h 6380470"/>
              <a:gd name="connsiteX2363" fmla="*/ 5566203 w 11625583"/>
              <a:gd name="connsiteY2363" fmla="*/ 2624589 h 6380470"/>
              <a:gd name="connsiteX2364" fmla="*/ 5501539 w 11625583"/>
              <a:gd name="connsiteY2364" fmla="*/ 2689256 h 6380470"/>
              <a:gd name="connsiteX2365" fmla="*/ 5436879 w 11625583"/>
              <a:gd name="connsiteY2365" fmla="*/ 2624589 h 6380470"/>
              <a:gd name="connsiteX2366" fmla="*/ 5501539 w 11625583"/>
              <a:gd name="connsiteY2366" fmla="*/ 2559922 h 6380470"/>
              <a:gd name="connsiteX2367" fmla="*/ 5348883 w 11625583"/>
              <a:gd name="connsiteY2367" fmla="*/ 2559922 h 6380470"/>
              <a:gd name="connsiteX2368" fmla="*/ 5413550 w 11625583"/>
              <a:gd name="connsiteY2368" fmla="*/ 2624589 h 6380470"/>
              <a:gd name="connsiteX2369" fmla="*/ 5348883 w 11625583"/>
              <a:gd name="connsiteY2369" fmla="*/ 2689256 h 6380470"/>
              <a:gd name="connsiteX2370" fmla="*/ 5284224 w 11625583"/>
              <a:gd name="connsiteY2370" fmla="*/ 2624589 h 6380470"/>
              <a:gd name="connsiteX2371" fmla="*/ 5348883 w 11625583"/>
              <a:gd name="connsiteY2371" fmla="*/ 2559922 h 6380470"/>
              <a:gd name="connsiteX2372" fmla="*/ 2855521 w 11625583"/>
              <a:gd name="connsiteY2372" fmla="*/ 2559922 h 6380470"/>
              <a:gd name="connsiteX2373" fmla="*/ 2920181 w 11625583"/>
              <a:gd name="connsiteY2373" fmla="*/ 2624589 h 6380470"/>
              <a:gd name="connsiteX2374" fmla="*/ 2855521 w 11625583"/>
              <a:gd name="connsiteY2374" fmla="*/ 2689256 h 6380470"/>
              <a:gd name="connsiteX2375" fmla="*/ 2790860 w 11625583"/>
              <a:gd name="connsiteY2375" fmla="*/ 2624589 h 6380470"/>
              <a:gd name="connsiteX2376" fmla="*/ 2855521 w 11625583"/>
              <a:gd name="connsiteY2376" fmla="*/ 2559922 h 6380470"/>
              <a:gd name="connsiteX2377" fmla="*/ 2698961 w 11625583"/>
              <a:gd name="connsiteY2377" fmla="*/ 2559922 h 6380470"/>
              <a:gd name="connsiteX2378" fmla="*/ 2763622 w 11625583"/>
              <a:gd name="connsiteY2378" fmla="*/ 2624589 h 6380470"/>
              <a:gd name="connsiteX2379" fmla="*/ 2698961 w 11625583"/>
              <a:gd name="connsiteY2379" fmla="*/ 2689256 h 6380470"/>
              <a:gd name="connsiteX2380" fmla="*/ 2634302 w 11625583"/>
              <a:gd name="connsiteY2380" fmla="*/ 2624589 h 6380470"/>
              <a:gd name="connsiteX2381" fmla="*/ 2698961 w 11625583"/>
              <a:gd name="connsiteY2381" fmla="*/ 2559922 h 6380470"/>
              <a:gd name="connsiteX2382" fmla="*/ 2546316 w 11625583"/>
              <a:gd name="connsiteY2382" fmla="*/ 2559922 h 6380470"/>
              <a:gd name="connsiteX2383" fmla="*/ 2610977 w 11625583"/>
              <a:gd name="connsiteY2383" fmla="*/ 2624589 h 6380470"/>
              <a:gd name="connsiteX2384" fmla="*/ 2546316 w 11625583"/>
              <a:gd name="connsiteY2384" fmla="*/ 2689256 h 6380470"/>
              <a:gd name="connsiteX2385" fmla="*/ 2481655 w 11625583"/>
              <a:gd name="connsiteY2385" fmla="*/ 2624589 h 6380470"/>
              <a:gd name="connsiteX2386" fmla="*/ 2546316 w 11625583"/>
              <a:gd name="connsiteY2386" fmla="*/ 2559922 h 6380470"/>
              <a:gd name="connsiteX2387" fmla="*/ 2389740 w 11625583"/>
              <a:gd name="connsiteY2387" fmla="*/ 2559922 h 6380470"/>
              <a:gd name="connsiteX2388" fmla="*/ 2454414 w 11625583"/>
              <a:gd name="connsiteY2388" fmla="*/ 2624589 h 6380470"/>
              <a:gd name="connsiteX2389" fmla="*/ 2389740 w 11625583"/>
              <a:gd name="connsiteY2389" fmla="*/ 2689256 h 6380470"/>
              <a:gd name="connsiteX2390" fmla="*/ 2325081 w 11625583"/>
              <a:gd name="connsiteY2390" fmla="*/ 2624589 h 6380470"/>
              <a:gd name="connsiteX2391" fmla="*/ 2389740 w 11625583"/>
              <a:gd name="connsiteY2391" fmla="*/ 2559922 h 6380470"/>
              <a:gd name="connsiteX2392" fmla="*/ 2237072 w 11625583"/>
              <a:gd name="connsiteY2392" fmla="*/ 2559922 h 6380470"/>
              <a:gd name="connsiteX2393" fmla="*/ 2301749 w 11625583"/>
              <a:gd name="connsiteY2393" fmla="*/ 2624589 h 6380470"/>
              <a:gd name="connsiteX2394" fmla="*/ 2237072 w 11625583"/>
              <a:gd name="connsiteY2394" fmla="*/ 2689256 h 6380470"/>
              <a:gd name="connsiteX2395" fmla="*/ 2172394 w 11625583"/>
              <a:gd name="connsiteY2395" fmla="*/ 2624589 h 6380470"/>
              <a:gd name="connsiteX2396" fmla="*/ 2237072 w 11625583"/>
              <a:gd name="connsiteY2396" fmla="*/ 2559922 h 6380470"/>
              <a:gd name="connsiteX2397" fmla="*/ 2084396 w 11625583"/>
              <a:gd name="connsiteY2397" fmla="*/ 2559922 h 6380470"/>
              <a:gd name="connsiteX2398" fmla="*/ 2149064 w 11625583"/>
              <a:gd name="connsiteY2398" fmla="*/ 2624589 h 6380470"/>
              <a:gd name="connsiteX2399" fmla="*/ 2084396 w 11625583"/>
              <a:gd name="connsiteY2399" fmla="*/ 2689256 h 6380470"/>
              <a:gd name="connsiteX2400" fmla="*/ 2019746 w 11625583"/>
              <a:gd name="connsiteY2400" fmla="*/ 2624589 h 6380470"/>
              <a:gd name="connsiteX2401" fmla="*/ 2084396 w 11625583"/>
              <a:gd name="connsiteY2401" fmla="*/ 2559922 h 6380470"/>
              <a:gd name="connsiteX2402" fmla="*/ 1927818 w 11625583"/>
              <a:gd name="connsiteY2402" fmla="*/ 2559922 h 6380470"/>
              <a:gd name="connsiteX2403" fmla="*/ 1992499 w 11625583"/>
              <a:gd name="connsiteY2403" fmla="*/ 2624589 h 6380470"/>
              <a:gd name="connsiteX2404" fmla="*/ 1927818 w 11625583"/>
              <a:gd name="connsiteY2404" fmla="*/ 2689256 h 6380470"/>
              <a:gd name="connsiteX2405" fmla="*/ 1863171 w 11625583"/>
              <a:gd name="connsiteY2405" fmla="*/ 2624589 h 6380470"/>
              <a:gd name="connsiteX2406" fmla="*/ 1927818 w 11625583"/>
              <a:gd name="connsiteY2406" fmla="*/ 2559922 h 6380470"/>
              <a:gd name="connsiteX2407" fmla="*/ 1775165 w 11625583"/>
              <a:gd name="connsiteY2407" fmla="*/ 2559922 h 6380470"/>
              <a:gd name="connsiteX2408" fmla="*/ 1839842 w 11625583"/>
              <a:gd name="connsiteY2408" fmla="*/ 2624589 h 6380470"/>
              <a:gd name="connsiteX2409" fmla="*/ 1775165 w 11625583"/>
              <a:gd name="connsiteY2409" fmla="*/ 2689256 h 6380470"/>
              <a:gd name="connsiteX2410" fmla="*/ 1710496 w 11625583"/>
              <a:gd name="connsiteY2410" fmla="*/ 2624589 h 6380470"/>
              <a:gd name="connsiteX2411" fmla="*/ 1775165 w 11625583"/>
              <a:gd name="connsiteY2411" fmla="*/ 2559922 h 6380470"/>
              <a:gd name="connsiteX2412" fmla="*/ 1618586 w 11625583"/>
              <a:gd name="connsiteY2412" fmla="*/ 2559922 h 6380470"/>
              <a:gd name="connsiteX2413" fmla="*/ 1683255 w 11625583"/>
              <a:gd name="connsiteY2413" fmla="*/ 2624589 h 6380470"/>
              <a:gd name="connsiteX2414" fmla="*/ 1618586 w 11625583"/>
              <a:gd name="connsiteY2414" fmla="*/ 2689256 h 6380470"/>
              <a:gd name="connsiteX2415" fmla="*/ 1553923 w 11625583"/>
              <a:gd name="connsiteY2415" fmla="*/ 2624589 h 6380470"/>
              <a:gd name="connsiteX2416" fmla="*/ 1618586 w 11625583"/>
              <a:gd name="connsiteY2416" fmla="*/ 2559922 h 6380470"/>
              <a:gd name="connsiteX2417" fmla="*/ 10003015 w 11625583"/>
              <a:gd name="connsiteY2417" fmla="*/ 2422922 h 6380470"/>
              <a:gd name="connsiteX2418" fmla="*/ 10067681 w 11625583"/>
              <a:gd name="connsiteY2418" fmla="*/ 2487589 h 6380470"/>
              <a:gd name="connsiteX2419" fmla="*/ 10003015 w 11625583"/>
              <a:gd name="connsiteY2419" fmla="*/ 2552255 h 6380470"/>
              <a:gd name="connsiteX2420" fmla="*/ 9938349 w 11625583"/>
              <a:gd name="connsiteY2420" fmla="*/ 2487589 h 6380470"/>
              <a:gd name="connsiteX2421" fmla="*/ 10003015 w 11625583"/>
              <a:gd name="connsiteY2421" fmla="*/ 2422922 h 6380470"/>
              <a:gd name="connsiteX2422" fmla="*/ 9693782 w 11625583"/>
              <a:gd name="connsiteY2422" fmla="*/ 2422922 h 6380470"/>
              <a:gd name="connsiteX2423" fmla="*/ 9758448 w 11625583"/>
              <a:gd name="connsiteY2423" fmla="*/ 2487589 h 6380470"/>
              <a:gd name="connsiteX2424" fmla="*/ 9693782 w 11625583"/>
              <a:gd name="connsiteY2424" fmla="*/ 2552255 h 6380470"/>
              <a:gd name="connsiteX2425" fmla="*/ 9629116 w 11625583"/>
              <a:gd name="connsiteY2425" fmla="*/ 2487589 h 6380470"/>
              <a:gd name="connsiteX2426" fmla="*/ 9693782 w 11625583"/>
              <a:gd name="connsiteY2426" fmla="*/ 2422922 h 6380470"/>
              <a:gd name="connsiteX2427" fmla="*/ 9384549 w 11625583"/>
              <a:gd name="connsiteY2427" fmla="*/ 2422922 h 6380470"/>
              <a:gd name="connsiteX2428" fmla="*/ 9449215 w 11625583"/>
              <a:gd name="connsiteY2428" fmla="*/ 2487589 h 6380470"/>
              <a:gd name="connsiteX2429" fmla="*/ 9384549 w 11625583"/>
              <a:gd name="connsiteY2429" fmla="*/ 2552255 h 6380470"/>
              <a:gd name="connsiteX2430" fmla="*/ 9319883 w 11625583"/>
              <a:gd name="connsiteY2430" fmla="*/ 2487589 h 6380470"/>
              <a:gd name="connsiteX2431" fmla="*/ 9384549 w 11625583"/>
              <a:gd name="connsiteY2431" fmla="*/ 2422922 h 6380470"/>
              <a:gd name="connsiteX2432" fmla="*/ 9227976 w 11625583"/>
              <a:gd name="connsiteY2432" fmla="*/ 2422922 h 6380470"/>
              <a:gd name="connsiteX2433" fmla="*/ 9292642 w 11625583"/>
              <a:gd name="connsiteY2433" fmla="*/ 2487589 h 6380470"/>
              <a:gd name="connsiteX2434" fmla="*/ 9227976 w 11625583"/>
              <a:gd name="connsiteY2434" fmla="*/ 2552255 h 6380470"/>
              <a:gd name="connsiteX2435" fmla="*/ 9163310 w 11625583"/>
              <a:gd name="connsiteY2435" fmla="*/ 2487589 h 6380470"/>
              <a:gd name="connsiteX2436" fmla="*/ 9227976 w 11625583"/>
              <a:gd name="connsiteY2436" fmla="*/ 2422922 h 6380470"/>
              <a:gd name="connsiteX2437" fmla="*/ 9075317 w 11625583"/>
              <a:gd name="connsiteY2437" fmla="*/ 2422922 h 6380470"/>
              <a:gd name="connsiteX2438" fmla="*/ 9139983 w 11625583"/>
              <a:gd name="connsiteY2438" fmla="*/ 2487589 h 6380470"/>
              <a:gd name="connsiteX2439" fmla="*/ 9075317 w 11625583"/>
              <a:gd name="connsiteY2439" fmla="*/ 2552255 h 6380470"/>
              <a:gd name="connsiteX2440" fmla="*/ 9010651 w 11625583"/>
              <a:gd name="connsiteY2440" fmla="*/ 2487589 h 6380470"/>
              <a:gd name="connsiteX2441" fmla="*/ 9075317 w 11625583"/>
              <a:gd name="connsiteY2441" fmla="*/ 2422922 h 6380470"/>
              <a:gd name="connsiteX2442" fmla="*/ 8914831 w 11625583"/>
              <a:gd name="connsiteY2442" fmla="*/ 2422922 h 6380470"/>
              <a:gd name="connsiteX2443" fmla="*/ 8979497 w 11625583"/>
              <a:gd name="connsiteY2443" fmla="*/ 2487589 h 6380470"/>
              <a:gd name="connsiteX2444" fmla="*/ 8914831 w 11625583"/>
              <a:gd name="connsiteY2444" fmla="*/ 2552255 h 6380470"/>
              <a:gd name="connsiteX2445" fmla="*/ 8850165 w 11625583"/>
              <a:gd name="connsiteY2445" fmla="*/ 2487589 h 6380470"/>
              <a:gd name="connsiteX2446" fmla="*/ 8914831 w 11625583"/>
              <a:gd name="connsiteY2446" fmla="*/ 2422922 h 6380470"/>
              <a:gd name="connsiteX2447" fmla="*/ 8766086 w 11625583"/>
              <a:gd name="connsiteY2447" fmla="*/ 2422922 h 6380470"/>
              <a:gd name="connsiteX2448" fmla="*/ 8830752 w 11625583"/>
              <a:gd name="connsiteY2448" fmla="*/ 2487589 h 6380470"/>
              <a:gd name="connsiteX2449" fmla="*/ 8766086 w 11625583"/>
              <a:gd name="connsiteY2449" fmla="*/ 2552255 h 6380470"/>
              <a:gd name="connsiteX2450" fmla="*/ 8701420 w 11625583"/>
              <a:gd name="connsiteY2450" fmla="*/ 2487589 h 6380470"/>
              <a:gd name="connsiteX2451" fmla="*/ 8766086 w 11625583"/>
              <a:gd name="connsiteY2451" fmla="*/ 2422922 h 6380470"/>
              <a:gd name="connsiteX2452" fmla="*/ 8601685 w 11625583"/>
              <a:gd name="connsiteY2452" fmla="*/ 2422922 h 6380470"/>
              <a:gd name="connsiteX2453" fmla="*/ 8666351 w 11625583"/>
              <a:gd name="connsiteY2453" fmla="*/ 2487589 h 6380470"/>
              <a:gd name="connsiteX2454" fmla="*/ 8601685 w 11625583"/>
              <a:gd name="connsiteY2454" fmla="*/ 2552255 h 6380470"/>
              <a:gd name="connsiteX2455" fmla="*/ 8537019 w 11625583"/>
              <a:gd name="connsiteY2455" fmla="*/ 2487589 h 6380470"/>
              <a:gd name="connsiteX2456" fmla="*/ 8601685 w 11625583"/>
              <a:gd name="connsiteY2456" fmla="*/ 2422922 h 6380470"/>
              <a:gd name="connsiteX2457" fmla="*/ 8449025 w 11625583"/>
              <a:gd name="connsiteY2457" fmla="*/ 2422922 h 6380470"/>
              <a:gd name="connsiteX2458" fmla="*/ 8513691 w 11625583"/>
              <a:gd name="connsiteY2458" fmla="*/ 2487589 h 6380470"/>
              <a:gd name="connsiteX2459" fmla="*/ 8449025 w 11625583"/>
              <a:gd name="connsiteY2459" fmla="*/ 2552255 h 6380470"/>
              <a:gd name="connsiteX2460" fmla="*/ 8384359 w 11625583"/>
              <a:gd name="connsiteY2460" fmla="*/ 2487589 h 6380470"/>
              <a:gd name="connsiteX2461" fmla="*/ 8449025 w 11625583"/>
              <a:gd name="connsiteY2461" fmla="*/ 2422922 h 6380470"/>
              <a:gd name="connsiteX2462" fmla="*/ 8296368 w 11625583"/>
              <a:gd name="connsiteY2462" fmla="*/ 2422922 h 6380470"/>
              <a:gd name="connsiteX2463" fmla="*/ 8361034 w 11625583"/>
              <a:gd name="connsiteY2463" fmla="*/ 2487589 h 6380470"/>
              <a:gd name="connsiteX2464" fmla="*/ 8296368 w 11625583"/>
              <a:gd name="connsiteY2464" fmla="*/ 2552255 h 6380470"/>
              <a:gd name="connsiteX2465" fmla="*/ 8231702 w 11625583"/>
              <a:gd name="connsiteY2465" fmla="*/ 2487589 h 6380470"/>
              <a:gd name="connsiteX2466" fmla="*/ 8296368 w 11625583"/>
              <a:gd name="connsiteY2466" fmla="*/ 2422922 h 6380470"/>
              <a:gd name="connsiteX2467" fmla="*/ 8139793 w 11625583"/>
              <a:gd name="connsiteY2467" fmla="*/ 2422922 h 6380470"/>
              <a:gd name="connsiteX2468" fmla="*/ 8204459 w 11625583"/>
              <a:gd name="connsiteY2468" fmla="*/ 2487589 h 6380470"/>
              <a:gd name="connsiteX2469" fmla="*/ 8139793 w 11625583"/>
              <a:gd name="connsiteY2469" fmla="*/ 2552255 h 6380470"/>
              <a:gd name="connsiteX2470" fmla="*/ 8075127 w 11625583"/>
              <a:gd name="connsiteY2470" fmla="*/ 2487589 h 6380470"/>
              <a:gd name="connsiteX2471" fmla="*/ 8139793 w 11625583"/>
              <a:gd name="connsiteY2471" fmla="*/ 2422922 h 6380470"/>
              <a:gd name="connsiteX2472" fmla="*/ 7987133 w 11625583"/>
              <a:gd name="connsiteY2472" fmla="*/ 2422922 h 6380470"/>
              <a:gd name="connsiteX2473" fmla="*/ 8051799 w 11625583"/>
              <a:gd name="connsiteY2473" fmla="*/ 2487589 h 6380470"/>
              <a:gd name="connsiteX2474" fmla="*/ 7987133 w 11625583"/>
              <a:gd name="connsiteY2474" fmla="*/ 2552255 h 6380470"/>
              <a:gd name="connsiteX2475" fmla="*/ 7922467 w 11625583"/>
              <a:gd name="connsiteY2475" fmla="*/ 2487589 h 6380470"/>
              <a:gd name="connsiteX2476" fmla="*/ 7987133 w 11625583"/>
              <a:gd name="connsiteY2476" fmla="*/ 2422922 h 6380470"/>
              <a:gd name="connsiteX2477" fmla="*/ 7830562 w 11625583"/>
              <a:gd name="connsiteY2477" fmla="*/ 2422922 h 6380470"/>
              <a:gd name="connsiteX2478" fmla="*/ 7895228 w 11625583"/>
              <a:gd name="connsiteY2478" fmla="*/ 2487589 h 6380470"/>
              <a:gd name="connsiteX2479" fmla="*/ 7830562 w 11625583"/>
              <a:gd name="connsiteY2479" fmla="*/ 2552255 h 6380470"/>
              <a:gd name="connsiteX2480" fmla="*/ 7765896 w 11625583"/>
              <a:gd name="connsiteY2480" fmla="*/ 2487589 h 6380470"/>
              <a:gd name="connsiteX2481" fmla="*/ 7830562 w 11625583"/>
              <a:gd name="connsiteY2481" fmla="*/ 2422922 h 6380470"/>
              <a:gd name="connsiteX2482" fmla="*/ 7677904 w 11625583"/>
              <a:gd name="connsiteY2482" fmla="*/ 2422922 h 6380470"/>
              <a:gd name="connsiteX2483" fmla="*/ 7742570 w 11625583"/>
              <a:gd name="connsiteY2483" fmla="*/ 2487589 h 6380470"/>
              <a:gd name="connsiteX2484" fmla="*/ 7677904 w 11625583"/>
              <a:gd name="connsiteY2484" fmla="*/ 2552255 h 6380470"/>
              <a:gd name="connsiteX2485" fmla="*/ 7613238 w 11625583"/>
              <a:gd name="connsiteY2485" fmla="*/ 2487589 h 6380470"/>
              <a:gd name="connsiteX2486" fmla="*/ 7677904 w 11625583"/>
              <a:gd name="connsiteY2486" fmla="*/ 2422922 h 6380470"/>
              <a:gd name="connsiteX2487" fmla="*/ 7521331 w 11625583"/>
              <a:gd name="connsiteY2487" fmla="*/ 2422922 h 6380470"/>
              <a:gd name="connsiteX2488" fmla="*/ 7585997 w 11625583"/>
              <a:gd name="connsiteY2488" fmla="*/ 2487589 h 6380470"/>
              <a:gd name="connsiteX2489" fmla="*/ 7521331 w 11625583"/>
              <a:gd name="connsiteY2489" fmla="*/ 2552255 h 6380470"/>
              <a:gd name="connsiteX2490" fmla="*/ 7456665 w 11625583"/>
              <a:gd name="connsiteY2490" fmla="*/ 2487589 h 6380470"/>
              <a:gd name="connsiteX2491" fmla="*/ 7521331 w 11625583"/>
              <a:gd name="connsiteY2491" fmla="*/ 2422922 h 6380470"/>
              <a:gd name="connsiteX2492" fmla="*/ 7368671 w 11625583"/>
              <a:gd name="connsiteY2492" fmla="*/ 2422922 h 6380470"/>
              <a:gd name="connsiteX2493" fmla="*/ 7433337 w 11625583"/>
              <a:gd name="connsiteY2493" fmla="*/ 2487589 h 6380470"/>
              <a:gd name="connsiteX2494" fmla="*/ 7368671 w 11625583"/>
              <a:gd name="connsiteY2494" fmla="*/ 2552255 h 6380470"/>
              <a:gd name="connsiteX2495" fmla="*/ 7304005 w 11625583"/>
              <a:gd name="connsiteY2495" fmla="*/ 2487589 h 6380470"/>
              <a:gd name="connsiteX2496" fmla="*/ 7368671 w 11625583"/>
              <a:gd name="connsiteY2496" fmla="*/ 2422922 h 6380470"/>
              <a:gd name="connsiteX2497" fmla="*/ 7055523 w 11625583"/>
              <a:gd name="connsiteY2497" fmla="*/ 2422922 h 6380470"/>
              <a:gd name="connsiteX2498" fmla="*/ 7120189 w 11625583"/>
              <a:gd name="connsiteY2498" fmla="*/ 2487589 h 6380470"/>
              <a:gd name="connsiteX2499" fmla="*/ 7055523 w 11625583"/>
              <a:gd name="connsiteY2499" fmla="*/ 2552255 h 6380470"/>
              <a:gd name="connsiteX2500" fmla="*/ 6990857 w 11625583"/>
              <a:gd name="connsiteY2500" fmla="*/ 2487589 h 6380470"/>
              <a:gd name="connsiteX2501" fmla="*/ 7055523 w 11625583"/>
              <a:gd name="connsiteY2501" fmla="*/ 2422922 h 6380470"/>
              <a:gd name="connsiteX2502" fmla="*/ 6895037 w 11625583"/>
              <a:gd name="connsiteY2502" fmla="*/ 2422922 h 6380470"/>
              <a:gd name="connsiteX2503" fmla="*/ 6959703 w 11625583"/>
              <a:gd name="connsiteY2503" fmla="*/ 2487589 h 6380470"/>
              <a:gd name="connsiteX2504" fmla="*/ 6895037 w 11625583"/>
              <a:gd name="connsiteY2504" fmla="*/ 2552255 h 6380470"/>
              <a:gd name="connsiteX2505" fmla="*/ 6830371 w 11625583"/>
              <a:gd name="connsiteY2505" fmla="*/ 2487589 h 6380470"/>
              <a:gd name="connsiteX2506" fmla="*/ 6895037 w 11625583"/>
              <a:gd name="connsiteY2506" fmla="*/ 2422922 h 6380470"/>
              <a:gd name="connsiteX2507" fmla="*/ 6742377 w 11625583"/>
              <a:gd name="connsiteY2507" fmla="*/ 2422922 h 6380470"/>
              <a:gd name="connsiteX2508" fmla="*/ 6807043 w 11625583"/>
              <a:gd name="connsiteY2508" fmla="*/ 2487589 h 6380470"/>
              <a:gd name="connsiteX2509" fmla="*/ 6742377 w 11625583"/>
              <a:gd name="connsiteY2509" fmla="*/ 2552255 h 6380470"/>
              <a:gd name="connsiteX2510" fmla="*/ 6677711 w 11625583"/>
              <a:gd name="connsiteY2510" fmla="*/ 2487589 h 6380470"/>
              <a:gd name="connsiteX2511" fmla="*/ 6742377 w 11625583"/>
              <a:gd name="connsiteY2511" fmla="*/ 2422922 h 6380470"/>
              <a:gd name="connsiteX2512" fmla="*/ 6585804 w 11625583"/>
              <a:gd name="connsiteY2512" fmla="*/ 2422922 h 6380470"/>
              <a:gd name="connsiteX2513" fmla="*/ 6650470 w 11625583"/>
              <a:gd name="connsiteY2513" fmla="*/ 2487589 h 6380470"/>
              <a:gd name="connsiteX2514" fmla="*/ 6585804 w 11625583"/>
              <a:gd name="connsiteY2514" fmla="*/ 2552255 h 6380470"/>
              <a:gd name="connsiteX2515" fmla="*/ 6521138 w 11625583"/>
              <a:gd name="connsiteY2515" fmla="*/ 2487589 h 6380470"/>
              <a:gd name="connsiteX2516" fmla="*/ 6585804 w 11625583"/>
              <a:gd name="connsiteY2516" fmla="*/ 2422922 h 6380470"/>
              <a:gd name="connsiteX2517" fmla="*/ 6429231 w 11625583"/>
              <a:gd name="connsiteY2517" fmla="*/ 2422922 h 6380470"/>
              <a:gd name="connsiteX2518" fmla="*/ 6493897 w 11625583"/>
              <a:gd name="connsiteY2518" fmla="*/ 2487589 h 6380470"/>
              <a:gd name="connsiteX2519" fmla="*/ 6429231 w 11625583"/>
              <a:gd name="connsiteY2519" fmla="*/ 2552255 h 6380470"/>
              <a:gd name="connsiteX2520" fmla="*/ 6364565 w 11625583"/>
              <a:gd name="connsiteY2520" fmla="*/ 2487589 h 6380470"/>
              <a:gd name="connsiteX2521" fmla="*/ 6429231 w 11625583"/>
              <a:gd name="connsiteY2521" fmla="*/ 2422922 h 6380470"/>
              <a:gd name="connsiteX2522" fmla="*/ 6276571 w 11625583"/>
              <a:gd name="connsiteY2522" fmla="*/ 2422922 h 6380470"/>
              <a:gd name="connsiteX2523" fmla="*/ 6341237 w 11625583"/>
              <a:gd name="connsiteY2523" fmla="*/ 2487589 h 6380470"/>
              <a:gd name="connsiteX2524" fmla="*/ 6276571 w 11625583"/>
              <a:gd name="connsiteY2524" fmla="*/ 2552255 h 6380470"/>
              <a:gd name="connsiteX2525" fmla="*/ 6211905 w 11625583"/>
              <a:gd name="connsiteY2525" fmla="*/ 2487589 h 6380470"/>
              <a:gd name="connsiteX2526" fmla="*/ 6276571 w 11625583"/>
              <a:gd name="connsiteY2526" fmla="*/ 2422922 h 6380470"/>
              <a:gd name="connsiteX2527" fmla="*/ 5967339 w 11625583"/>
              <a:gd name="connsiteY2527" fmla="*/ 2422922 h 6380470"/>
              <a:gd name="connsiteX2528" fmla="*/ 6032005 w 11625583"/>
              <a:gd name="connsiteY2528" fmla="*/ 2487589 h 6380470"/>
              <a:gd name="connsiteX2529" fmla="*/ 5967339 w 11625583"/>
              <a:gd name="connsiteY2529" fmla="*/ 2552255 h 6380470"/>
              <a:gd name="connsiteX2530" fmla="*/ 5902673 w 11625583"/>
              <a:gd name="connsiteY2530" fmla="*/ 2487589 h 6380470"/>
              <a:gd name="connsiteX2531" fmla="*/ 5967339 w 11625583"/>
              <a:gd name="connsiteY2531" fmla="*/ 2422922 h 6380470"/>
              <a:gd name="connsiteX2532" fmla="*/ 5348888 w 11625583"/>
              <a:gd name="connsiteY2532" fmla="*/ 2422922 h 6380470"/>
              <a:gd name="connsiteX2533" fmla="*/ 5413551 w 11625583"/>
              <a:gd name="connsiteY2533" fmla="*/ 2487589 h 6380470"/>
              <a:gd name="connsiteX2534" fmla="*/ 5348888 w 11625583"/>
              <a:gd name="connsiteY2534" fmla="*/ 2552255 h 6380470"/>
              <a:gd name="connsiteX2535" fmla="*/ 5284224 w 11625583"/>
              <a:gd name="connsiteY2535" fmla="*/ 2487589 h 6380470"/>
              <a:gd name="connsiteX2536" fmla="*/ 5348888 w 11625583"/>
              <a:gd name="connsiteY2536" fmla="*/ 2422922 h 6380470"/>
              <a:gd name="connsiteX2537" fmla="*/ 5192318 w 11625583"/>
              <a:gd name="connsiteY2537" fmla="*/ 2422922 h 6380470"/>
              <a:gd name="connsiteX2538" fmla="*/ 5256980 w 11625583"/>
              <a:gd name="connsiteY2538" fmla="*/ 2487589 h 6380470"/>
              <a:gd name="connsiteX2539" fmla="*/ 5192318 w 11625583"/>
              <a:gd name="connsiteY2539" fmla="*/ 2552255 h 6380470"/>
              <a:gd name="connsiteX2540" fmla="*/ 5127651 w 11625583"/>
              <a:gd name="connsiteY2540" fmla="*/ 2487589 h 6380470"/>
              <a:gd name="connsiteX2541" fmla="*/ 5192318 w 11625583"/>
              <a:gd name="connsiteY2541" fmla="*/ 2422922 h 6380470"/>
              <a:gd name="connsiteX2542" fmla="*/ 3012086 w 11625583"/>
              <a:gd name="connsiteY2542" fmla="*/ 2422922 h 6380470"/>
              <a:gd name="connsiteX2543" fmla="*/ 3076754 w 11625583"/>
              <a:gd name="connsiteY2543" fmla="*/ 2487589 h 6380470"/>
              <a:gd name="connsiteX2544" fmla="*/ 3012086 w 11625583"/>
              <a:gd name="connsiteY2544" fmla="*/ 2552255 h 6380470"/>
              <a:gd name="connsiteX2545" fmla="*/ 2947426 w 11625583"/>
              <a:gd name="connsiteY2545" fmla="*/ 2487589 h 6380470"/>
              <a:gd name="connsiteX2546" fmla="*/ 3012086 w 11625583"/>
              <a:gd name="connsiteY2546" fmla="*/ 2422922 h 6380470"/>
              <a:gd name="connsiteX2547" fmla="*/ 2855526 w 11625583"/>
              <a:gd name="connsiteY2547" fmla="*/ 2422922 h 6380470"/>
              <a:gd name="connsiteX2548" fmla="*/ 2920186 w 11625583"/>
              <a:gd name="connsiteY2548" fmla="*/ 2487589 h 6380470"/>
              <a:gd name="connsiteX2549" fmla="*/ 2855526 w 11625583"/>
              <a:gd name="connsiteY2549" fmla="*/ 2552255 h 6380470"/>
              <a:gd name="connsiteX2550" fmla="*/ 2790866 w 11625583"/>
              <a:gd name="connsiteY2550" fmla="*/ 2487589 h 6380470"/>
              <a:gd name="connsiteX2551" fmla="*/ 2855526 w 11625583"/>
              <a:gd name="connsiteY2551" fmla="*/ 2422922 h 6380470"/>
              <a:gd name="connsiteX2552" fmla="*/ 2698968 w 11625583"/>
              <a:gd name="connsiteY2552" fmla="*/ 2422922 h 6380470"/>
              <a:gd name="connsiteX2553" fmla="*/ 2763629 w 11625583"/>
              <a:gd name="connsiteY2553" fmla="*/ 2487589 h 6380470"/>
              <a:gd name="connsiteX2554" fmla="*/ 2698968 w 11625583"/>
              <a:gd name="connsiteY2554" fmla="*/ 2552255 h 6380470"/>
              <a:gd name="connsiteX2555" fmla="*/ 2634309 w 11625583"/>
              <a:gd name="connsiteY2555" fmla="*/ 2487589 h 6380470"/>
              <a:gd name="connsiteX2556" fmla="*/ 2698968 w 11625583"/>
              <a:gd name="connsiteY2556" fmla="*/ 2422922 h 6380470"/>
              <a:gd name="connsiteX2557" fmla="*/ 2546324 w 11625583"/>
              <a:gd name="connsiteY2557" fmla="*/ 2422922 h 6380470"/>
              <a:gd name="connsiteX2558" fmla="*/ 2610985 w 11625583"/>
              <a:gd name="connsiteY2558" fmla="*/ 2487589 h 6380470"/>
              <a:gd name="connsiteX2559" fmla="*/ 2546324 w 11625583"/>
              <a:gd name="connsiteY2559" fmla="*/ 2552255 h 6380470"/>
              <a:gd name="connsiteX2560" fmla="*/ 2481663 w 11625583"/>
              <a:gd name="connsiteY2560" fmla="*/ 2487589 h 6380470"/>
              <a:gd name="connsiteX2561" fmla="*/ 2546324 w 11625583"/>
              <a:gd name="connsiteY2561" fmla="*/ 2422922 h 6380470"/>
              <a:gd name="connsiteX2562" fmla="*/ 2389740 w 11625583"/>
              <a:gd name="connsiteY2562" fmla="*/ 2422922 h 6380470"/>
              <a:gd name="connsiteX2563" fmla="*/ 2454426 w 11625583"/>
              <a:gd name="connsiteY2563" fmla="*/ 2487589 h 6380470"/>
              <a:gd name="connsiteX2564" fmla="*/ 2389740 w 11625583"/>
              <a:gd name="connsiteY2564" fmla="*/ 2552255 h 6380470"/>
              <a:gd name="connsiteX2565" fmla="*/ 2325089 w 11625583"/>
              <a:gd name="connsiteY2565" fmla="*/ 2487589 h 6380470"/>
              <a:gd name="connsiteX2566" fmla="*/ 2389740 w 11625583"/>
              <a:gd name="connsiteY2566" fmla="*/ 2422922 h 6380470"/>
              <a:gd name="connsiteX2567" fmla="*/ 2237079 w 11625583"/>
              <a:gd name="connsiteY2567" fmla="*/ 2422922 h 6380470"/>
              <a:gd name="connsiteX2568" fmla="*/ 2301758 w 11625583"/>
              <a:gd name="connsiteY2568" fmla="*/ 2487589 h 6380470"/>
              <a:gd name="connsiteX2569" fmla="*/ 2237079 w 11625583"/>
              <a:gd name="connsiteY2569" fmla="*/ 2552255 h 6380470"/>
              <a:gd name="connsiteX2570" fmla="*/ 2172401 w 11625583"/>
              <a:gd name="connsiteY2570" fmla="*/ 2487589 h 6380470"/>
              <a:gd name="connsiteX2571" fmla="*/ 2237079 w 11625583"/>
              <a:gd name="connsiteY2571" fmla="*/ 2422922 h 6380470"/>
              <a:gd name="connsiteX2572" fmla="*/ 2084402 w 11625583"/>
              <a:gd name="connsiteY2572" fmla="*/ 2422922 h 6380470"/>
              <a:gd name="connsiteX2573" fmla="*/ 2149069 w 11625583"/>
              <a:gd name="connsiteY2573" fmla="*/ 2487589 h 6380470"/>
              <a:gd name="connsiteX2574" fmla="*/ 2084402 w 11625583"/>
              <a:gd name="connsiteY2574" fmla="*/ 2552255 h 6380470"/>
              <a:gd name="connsiteX2575" fmla="*/ 2019753 w 11625583"/>
              <a:gd name="connsiteY2575" fmla="*/ 2487589 h 6380470"/>
              <a:gd name="connsiteX2576" fmla="*/ 2084402 w 11625583"/>
              <a:gd name="connsiteY2576" fmla="*/ 2422922 h 6380470"/>
              <a:gd name="connsiteX2577" fmla="*/ 1927830 w 11625583"/>
              <a:gd name="connsiteY2577" fmla="*/ 2422922 h 6380470"/>
              <a:gd name="connsiteX2578" fmla="*/ 1992505 w 11625583"/>
              <a:gd name="connsiteY2578" fmla="*/ 2487589 h 6380470"/>
              <a:gd name="connsiteX2579" fmla="*/ 1927830 w 11625583"/>
              <a:gd name="connsiteY2579" fmla="*/ 2552255 h 6380470"/>
              <a:gd name="connsiteX2580" fmla="*/ 1863179 w 11625583"/>
              <a:gd name="connsiteY2580" fmla="*/ 2487589 h 6380470"/>
              <a:gd name="connsiteX2581" fmla="*/ 1927830 w 11625583"/>
              <a:gd name="connsiteY2581" fmla="*/ 2422922 h 6380470"/>
              <a:gd name="connsiteX2582" fmla="*/ 1775172 w 11625583"/>
              <a:gd name="connsiteY2582" fmla="*/ 2422922 h 6380470"/>
              <a:gd name="connsiteX2583" fmla="*/ 1839851 w 11625583"/>
              <a:gd name="connsiteY2583" fmla="*/ 2487589 h 6380470"/>
              <a:gd name="connsiteX2584" fmla="*/ 1775172 w 11625583"/>
              <a:gd name="connsiteY2584" fmla="*/ 2552255 h 6380470"/>
              <a:gd name="connsiteX2585" fmla="*/ 1710504 w 11625583"/>
              <a:gd name="connsiteY2585" fmla="*/ 2487589 h 6380470"/>
              <a:gd name="connsiteX2586" fmla="*/ 1775172 w 11625583"/>
              <a:gd name="connsiteY2586" fmla="*/ 2422922 h 6380470"/>
              <a:gd name="connsiteX2587" fmla="*/ 1618593 w 11625583"/>
              <a:gd name="connsiteY2587" fmla="*/ 2422922 h 6380470"/>
              <a:gd name="connsiteX2588" fmla="*/ 1683262 w 11625583"/>
              <a:gd name="connsiteY2588" fmla="*/ 2487589 h 6380470"/>
              <a:gd name="connsiteX2589" fmla="*/ 1618593 w 11625583"/>
              <a:gd name="connsiteY2589" fmla="*/ 2552255 h 6380470"/>
              <a:gd name="connsiteX2590" fmla="*/ 1553929 w 11625583"/>
              <a:gd name="connsiteY2590" fmla="*/ 2487589 h 6380470"/>
              <a:gd name="connsiteX2591" fmla="*/ 1618593 w 11625583"/>
              <a:gd name="connsiteY2591" fmla="*/ 2422922 h 6380470"/>
              <a:gd name="connsiteX2592" fmla="*/ 1465935 w 11625583"/>
              <a:gd name="connsiteY2592" fmla="*/ 2422922 h 6380470"/>
              <a:gd name="connsiteX2593" fmla="*/ 1530601 w 11625583"/>
              <a:gd name="connsiteY2593" fmla="*/ 2487589 h 6380470"/>
              <a:gd name="connsiteX2594" fmla="*/ 1465935 w 11625583"/>
              <a:gd name="connsiteY2594" fmla="*/ 2552255 h 6380470"/>
              <a:gd name="connsiteX2595" fmla="*/ 1401271 w 11625583"/>
              <a:gd name="connsiteY2595" fmla="*/ 2487589 h 6380470"/>
              <a:gd name="connsiteX2596" fmla="*/ 1465935 w 11625583"/>
              <a:gd name="connsiteY2596" fmla="*/ 2422922 h 6380470"/>
              <a:gd name="connsiteX2597" fmla="*/ 1465941 w 11625583"/>
              <a:gd name="connsiteY2597" fmla="*/ 2278094 h 6380470"/>
              <a:gd name="connsiteX2598" fmla="*/ 1530607 w 11625583"/>
              <a:gd name="connsiteY2598" fmla="*/ 2342760 h 6380470"/>
              <a:gd name="connsiteX2599" fmla="*/ 1465941 w 11625583"/>
              <a:gd name="connsiteY2599" fmla="*/ 2407426 h 6380470"/>
              <a:gd name="connsiteX2600" fmla="*/ 1401277 w 11625583"/>
              <a:gd name="connsiteY2600" fmla="*/ 2342760 h 6380470"/>
              <a:gd name="connsiteX2601" fmla="*/ 1465941 w 11625583"/>
              <a:gd name="connsiteY2601" fmla="*/ 2278094 h 6380470"/>
              <a:gd name="connsiteX2602" fmla="*/ 2084411 w 11625583"/>
              <a:gd name="connsiteY2602" fmla="*/ 2278092 h 6380470"/>
              <a:gd name="connsiteX2603" fmla="*/ 2149075 w 11625583"/>
              <a:gd name="connsiteY2603" fmla="*/ 2342758 h 6380470"/>
              <a:gd name="connsiteX2604" fmla="*/ 2084411 w 11625583"/>
              <a:gd name="connsiteY2604" fmla="*/ 2407425 h 6380470"/>
              <a:gd name="connsiteX2605" fmla="*/ 2019760 w 11625583"/>
              <a:gd name="connsiteY2605" fmla="*/ 2342758 h 6380470"/>
              <a:gd name="connsiteX2606" fmla="*/ 2084411 w 11625583"/>
              <a:gd name="connsiteY2606" fmla="*/ 2278092 h 6380470"/>
              <a:gd name="connsiteX2607" fmla="*/ 1927830 w 11625583"/>
              <a:gd name="connsiteY2607" fmla="*/ 2278092 h 6380470"/>
              <a:gd name="connsiteX2608" fmla="*/ 1992511 w 11625583"/>
              <a:gd name="connsiteY2608" fmla="*/ 2342758 h 6380470"/>
              <a:gd name="connsiteX2609" fmla="*/ 1927830 w 11625583"/>
              <a:gd name="connsiteY2609" fmla="*/ 2407425 h 6380470"/>
              <a:gd name="connsiteX2610" fmla="*/ 1863187 w 11625583"/>
              <a:gd name="connsiteY2610" fmla="*/ 2342758 h 6380470"/>
              <a:gd name="connsiteX2611" fmla="*/ 1927830 w 11625583"/>
              <a:gd name="connsiteY2611" fmla="*/ 2278092 h 6380470"/>
              <a:gd name="connsiteX2612" fmla="*/ 1775179 w 11625583"/>
              <a:gd name="connsiteY2612" fmla="*/ 2278092 h 6380470"/>
              <a:gd name="connsiteX2613" fmla="*/ 1839858 w 11625583"/>
              <a:gd name="connsiteY2613" fmla="*/ 2342758 h 6380470"/>
              <a:gd name="connsiteX2614" fmla="*/ 1775179 w 11625583"/>
              <a:gd name="connsiteY2614" fmla="*/ 2407425 h 6380470"/>
              <a:gd name="connsiteX2615" fmla="*/ 1710510 w 11625583"/>
              <a:gd name="connsiteY2615" fmla="*/ 2342758 h 6380470"/>
              <a:gd name="connsiteX2616" fmla="*/ 1775179 w 11625583"/>
              <a:gd name="connsiteY2616" fmla="*/ 2278092 h 6380470"/>
              <a:gd name="connsiteX2617" fmla="*/ 1618599 w 11625583"/>
              <a:gd name="connsiteY2617" fmla="*/ 2278092 h 6380470"/>
              <a:gd name="connsiteX2618" fmla="*/ 1683268 w 11625583"/>
              <a:gd name="connsiteY2618" fmla="*/ 2342758 h 6380470"/>
              <a:gd name="connsiteX2619" fmla="*/ 1618599 w 11625583"/>
              <a:gd name="connsiteY2619" fmla="*/ 2407425 h 6380470"/>
              <a:gd name="connsiteX2620" fmla="*/ 1553936 w 11625583"/>
              <a:gd name="connsiteY2620" fmla="*/ 2342758 h 6380470"/>
              <a:gd name="connsiteX2621" fmla="*/ 1618599 w 11625583"/>
              <a:gd name="connsiteY2621" fmla="*/ 2278092 h 6380470"/>
              <a:gd name="connsiteX2622" fmla="*/ 10003016 w 11625583"/>
              <a:gd name="connsiteY2622" fmla="*/ 2278090 h 6380470"/>
              <a:gd name="connsiteX2623" fmla="*/ 10067682 w 11625583"/>
              <a:gd name="connsiteY2623" fmla="*/ 2342756 h 6380470"/>
              <a:gd name="connsiteX2624" fmla="*/ 10003016 w 11625583"/>
              <a:gd name="connsiteY2624" fmla="*/ 2407423 h 6380470"/>
              <a:gd name="connsiteX2625" fmla="*/ 9938350 w 11625583"/>
              <a:gd name="connsiteY2625" fmla="*/ 2342756 h 6380470"/>
              <a:gd name="connsiteX2626" fmla="*/ 10003016 w 11625583"/>
              <a:gd name="connsiteY2626" fmla="*/ 2278090 h 6380470"/>
              <a:gd name="connsiteX2627" fmla="*/ 9693783 w 11625583"/>
              <a:gd name="connsiteY2627" fmla="*/ 2278090 h 6380470"/>
              <a:gd name="connsiteX2628" fmla="*/ 9758449 w 11625583"/>
              <a:gd name="connsiteY2628" fmla="*/ 2342756 h 6380470"/>
              <a:gd name="connsiteX2629" fmla="*/ 9693783 w 11625583"/>
              <a:gd name="connsiteY2629" fmla="*/ 2407423 h 6380470"/>
              <a:gd name="connsiteX2630" fmla="*/ 9629117 w 11625583"/>
              <a:gd name="connsiteY2630" fmla="*/ 2342756 h 6380470"/>
              <a:gd name="connsiteX2631" fmla="*/ 9693783 w 11625583"/>
              <a:gd name="connsiteY2631" fmla="*/ 2278090 h 6380470"/>
              <a:gd name="connsiteX2632" fmla="*/ 9541123 w 11625583"/>
              <a:gd name="connsiteY2632" fmla="*/ 2278090 h 6380470"/>
              <a:gd name="connsiteX2633" fmla="*/ 9605789 w 11625583"/>
              <a:gd name="connsiteY2633" fmla="*/ 2342756 h 6380470"/>
              <a:gd name="connsiteX2634" fmla="*/ 9541123 w 11625583"/>
              <a:gd name="connsiteY2634" fmla="*/ 2407423 h 6380470"/>
              <a:gd name="connsiteX2635" fmla="*/ 9476457 w 11625583"/>
              <a:gd name="connsiteY2635" fmla="*/ 2342756 h 6380470"/>
              <a:gd name="connsiteX2636" fmla="*/ 9541123 w 11625583"/>
              <a:gd name="connsiteY2636" fmla="*/ 2278090 h 6380470"/>
              <a:gd name="connsiteX2637" fmla="*/ 9384550 w 11625583"/>
              <a:gd name="connsiteY2637" fmla="*/ 2278090 h 6380470"/>
              <a:gd name="connsiteX2638" fmla="*/ 9449216 w 11625583"/>
              <a:gd name="connsiteY2638" fmla="*/ 2342756 h 6380470"/>
              <a:gd name="connsiteX2639" fmla="*/ 9384550 w 11625583"/>
              <a:gd name="connsiteY2639" fmla="*/ 2407423 h 6380470"/>
              <a:gd name="connsiteX2640" fmla="*/ 9319884 w 11625583"/>
              <a:gd name="connsiteY2640" fmla="*/ 2342756 h 6380470"/>
              <a:gd name="connsiteX2641" fmla="*/ 9384550 w 11625583"/>
              <a:gd name="connsiteY2641" fmla="*/ 2278090 h 6380470"/>
              <a:gd name="connsiteX2642" fmla="*/ 9227977 w 11625583"/>
              <a:gd name="connsiteY2642" fmla="*/ 2278090 h 6380470"/>
              <a:gd name="connsiteX2643" fmla="*/ 9292643 w 11625583"/>
              <a:gd name="connsiteY2643" fmla="*/ 2342756 h 6380470"/>
              <a:gd name="connsiteX2644" fmla="*/ 9227977 w 11625583"/>
              <a:gd name="connsiteY2644" fmla="*/ 2407423 h 6380470"/>
              <a:gd name="connsiteX2645" fmla="*/ 9163311 w 11625583"/>
              <a:gd name="connsiteY2645" fmla="*/ 2342756 h 6380470"/>
              <a:gd name="connsiteX2646" fmla="*/ 9227977 w 11625583"/>
              <a:gd name="connsiteY2646" fmla="*/ 2278090 h 6380470"/>
              <a:gd name="connsiteX2647" fmla="*/ 9075319 w 11625583"/>
              <a:gd name="connsiteY2647" fmla="*/ 2278090 h 6380470"/>
              <a:gd name="connsiteX2648" fmla="*/ 9139985 w 11625583"/>
              <a:gd name="connsiteY2648" fmla="*/ 2342756 h 6380470"/>
              <a:gd name="connsiteX2649" fmla="*/ 9075319 w 11625583"/>
              <a:gd name="connsiteY2649" fmla="*/ 2407423 h 6380470"/>
              <a:gd name="connsiteX2650" fmla="*/ 9010653 w 11625583"/>
              <a:gd name="connsiteY2650" fmla="*/ 2342756 h 6380470"/>
              <a:gd name="connsiteX2651" fmla="*/ 9075319 w 11625583"/>
              <a:gd name="connsiteY2651" fmla="*/ 2278090 h 6380470"/>
              <a:gd name="connsiteX2652" fmla="*/ 8914831 w 11625583"/>
              <a:gd name="connsiteY2652" fmla="*/ 2278090 h 6380470"/>
              <a:gd name="connsiteX2653" fmla="*/ 8979497 w 11625583"/>
              <a:gd name="connsiteY2653" fmla="*/ 2342756 h 6380470"/>
              <a:gd name="connsiteX2654" fmla="*/ 8914831 w 11625583"/>
              <a:gd name="connsiteY2654" fmla="*/ 2407423 h 6380470"/>
              <a:gd name="connsiteX2655" fmla="*/ 8850165 w 11625583"/>
              <a:gd name="connsiteY2655" fmla="*/ 2342756 h 6380470"/>
              <a:gd name="connsiteX2656" fmla="*/ 8914831 w 11625583"/>
              <a:gd name="connsiteY2656" fmla="*/ 2278090 h 6380470"/>
              <a:gd name="connsiteX2657" fmla="*/ 8766086 w 11625583"/>
              <a:gd name="connsiteY2657" fmla="*/ 2278090 h 6380470"/>
              <a:gd name="connsiteX2658" fmla="*/ 8830752 w 11625583"/>
              <a:gd name="connsiteY2658" fmla="*/ 2342756 h 6380470"/>
              <a:gd name="connsiteX2659" fmla="*/ 8766086 w 11625583"/>
              <a:gd name="connsiteY2659" fmla="*/ 2407423 h 6380470"/>
              <a:gd name="connsiteX2660" fmla="*/ 8701420 w 11625583"/>
              <a:gd name="connsiteY2660" fmla="*/ 2342756 h 6380470"/>
              <a:gd name="connsiteX2661" fmla="*/ 8766086 w 11625583"/>
              <a:gd name="connsiteY2661" fmla="*/ 2278090 h 6380470"/>
              <a:gd name="connsiteX2662" fmla="*/ 8601685 w 11625583"/>
              <a:gd name="connsiteY2662" fmla="*/ 2278090 h 6380470"/>
              <a:gd name="connsiteX2663" fmla="*/ 8666351 w 11625583"/>
              <a:gd name="connsiteY2663" fmla="*/ 2342756 h 6380470"/>
              <a:gd name="connsiteX2664" fmla="*/ 8601685 w 11625583"/>
              <a:gd name="connsiteY2664" fmla="*/ 2407423 h 6380470"/>
              <a:gd name="connsiteX2665" fmla="*/ 8537019 w 11625583"/>
              <a:gd name="connsiteY2665" fmla="*/ 2342756 h 6380470"/>
              <a:gd name="connsiteX2666" fmla="*/ 8601685 w 11625583"/>
              <a:gd name="connsiteY2666" fmla="*/ 2278090 h 6380470"/>
              <a:gd name="connsiteX2667" fmla="*/ 8449025 w 11625583"/>
              <a:gd name="connsiteY2667" fmla="*/ 2278090 h 6380470"/>
              <a:gd name="connsiteX2668" fmla="*/ 8513691 w 11625583"/>
              <a:gd name="connsiteY2668" fmla="*/ 2342756 h 6380470"/>
              <a:gd name="connsiteX2669" fmla="*/ 8449025 w 11625583"/>
              <a:gd name="connsiteY2669" fmla="*/ 2407423 h 6380470"/>
              <a:gd name="connsiteX2670" fmla="*/ 8384359 w 11625583"/>
              <a:gd name="connsiteY2670" fmla="*/ 2342756 h 6380470"/>
              <a:gd name="connsiteX2671" fmla="*/ 8449025 w 11625583"/>
              <a:gd name="connsiteY2671" fmla="*/ 2278090 h 6380470"/>
              <a:gd name="connsiteX2672" fmla="*/ 8296368 w 11625583"/>
              <a:gd name="connsiteY2672" fmla="*/ 2278090 h 6380470"/>
              <a:gd name="connsiteX2673" fmla="*/ 8361034 w 11625583"/>
              <a:gd name="connsiteY2673" fmla="*/ 2342756 h 6380470"/>
              <a:gd name="connsiteX2674" fmla="*/ 8296368 w 11625583"/>
              <a:gd name="connsiteY2674" fmla="*/ 2407423 h 6380470"/>
              <a:gd name="connsiteX2675" fmla="*/ 8231702 w 11625583"/>
              <a:gd name="connsiteY2675" fmla="*/ 2342756 h 6380470"/>
              <a:gd name="connsiteX2676" fmla="*/ 8296368 w 11625583"/>
              <a:gd name="connsiteY2676" fmla="*/ 2278090 h 6380470"/>
              <a:gd name="connsiteX2677" fmla="*/ 8139793 w 11625583"/>
              <a:gd name="connsiteY2677" fmla="*/ 2278090 h 6380470"/>
              <a:gd name="connsiteX2678" fmla="*/ 8204459 w 11625583"/>
              <a:gd name="connsiteY2678" fmla="*/ 2342756 h 6380470"/>
              <a:gd name="connsiteX2679" fmla="*/ 8139793 w 11625583"/>
              <a:gd name="connsiteY2679" fmla="*/ 2407423 h 6380470"/>
              <a:gd name="connsiteX2680" fmla="*/ 8075127 w 11625583"/>
              <a:gd name="connsiteY2680" fmla="*/ 2342756 h 6380470"/>
              <a:gd name="connsiteX2681" fmla="*/ 8139793 w 11625583"/>
              <a:gd name="connsiteY2681" fmla="*/ 2278090 h 6380470"/>
              <a:gd name="connsiteX2682" fmla="*/ 7987133 w 11625583"/>
              <a:gd name="connsiteY2682" fmla="*/ 2278090 h 6380470"/>
              <a:gd name="connsiteX2683" fmla="*/ 8051799 w 11625583"/>
              <a:gd name="connsiteY2683" fmla="*/ 2342756 h 6380470"/>
              <a:gd name="connsiteX2684" fmla="*/ 7987133 w 11625583"/>
              <a:gd name="connsiteY2684" fmla="*/ 2407423 h 6380470"/>
              <a:gd name="connsiteX2685" fmla="*/ 7922467 w 11625583"/>
              <a:gd name="connsiteY2685" fmla="*/ 2342756 h 6380470"/>
              <a:gd name="connsiteX2686" fmla="*/ 7987133 w 11625583"/>
              <a:gd name="connsiteY2686" fmla="*/ 2278090 h 6380470"/>
              <a:gd name="connsiteX2687" fmla="*/ 7830562 w 11625583"/>
              <a:gd name="connsiteY2687" fmla="*/ 2278090 h 6380470"/>
              <a:gd name="connsiteX2688" fmla="*/ 7895228 w 11625583"/>
              <a:gd name="connsiteY2688" fmla="*/ 2342756 h 6380470"/>
              <a:gd name="connsiteX2689" fmla="*/ 7830562 w 11625583"/>
              <a:gd name="connsiteY2689" fmla="*/ 2407423 h 6380470"/>
              <a:gd name="connsiteX2690" fmla="*/ 7765896 w 11625583"/>
              <a:gd name="connsiteY2690" fmla="*/ 2342756 h 6380470"/>
              <a:gd name="connsiteX2691" fmla="*/ 7830562 w 11625583"/>
              <a:gd name="connsiteY2691" fmla="*/ 2278090 h 6380470"/>
              <a:gd name="connsiteX2692" fmla="*/ 7677904 w 11625583"/>
              <a:gd name="connsiteY2692" fmla="*/ 2278090 h 6380470"/>
              <a:gd name="connsiteX2693" fmla="*/ 7742570 w 11625583"/>
              <a:gd name="connsiteY2693" fmla="*/ 2342756 h 6380470"/>
              <a:gd name="connsiteX2694" fmla="*/ 7677904 w 11625583"/>
              <a:gd name="connsiteY2694" fmla="*/ 2407423 h 6380470"/>
              <a:gd name="connsiteX2695" fmla="*/ 7613238 w 11625583"/>
              <a:gd name="connsiteY2695" fmla="*/ 2342756 h 6380470"/>
              <a:gd name="connsiteX2696" fmla="*/ 7677904 w 11625583"/>
              <a:gd name="connsiteY2696" fmla="*/ 2278090 h 6380470"/>
              <a:gd name="connsiteX2697" fmla="*/ 7521331 w 11625583"/>
              <a:gd name="connsiteY2697" fmla="*/ 2278090 h 6380470"/>
              <a:gd name="connsiteX2698" fmla="*/ 7585997 w 11625583"/>
              <a:gd name="connsiteY2698" fmla="*/ 2342756 h 6380470"/>
              <a:gd name="connsiteX2699" fmla="*/ 7521331 w 11625583"/>
              <a:gd name="connsiteY2699" fmla="*/ 2407423 h 6380470"/>
              <a:gd name="connsiteX2700" fmla="*/ 7456665 w 11625583"/>
              <a:gd name="connsiteY2700" fmla="*/ 2342756 h 6380470"/>
              <a:gd name="connsiteX2701" fmla="*/ 7521331 w 11625583"/>
              <a:gd name="connsiteY2701" fmla="*/ 2278090 h 6380470"/>
              <a:gd name="connsiteX2702" fmla="*/ 7368671 w 11625583"/>
              <a:gd name="connsiteY2702" fmla="*/ 2278090 h 6380470"/>
              <a:gd name="connsiteX2703" fmla="*/ 7433337 w 11625583"/>
              <a:gd name="connsiteY2703" fmla="*/ 2342756 h 6380470"/>
              <a:gd name="connsiteX2704" fmla="*/ 7368671 w 11625583"/>
              <a:gd name="connsiteY2704" fmla="*/ 2407423 h 6380470"/>
              <a:gd name="connsiteX2705" fmla="*/ 7304005 w 11625583"/>
              <a:gd name="connsiteY2705" fmla="*/ 2342756 h 6380470"/>
              <a:gd name="connsiteX2706" fmla="*/ 7368671 w 11625583"/>
              <a:gd name="connsiteY2706" fmla="*/ 2278090 h 6380470"/>
              <a:gd name="connsiteX2707" fmla="*/ 7055523 w 11625583"/>
              <a:gd name="connsiteY2707" fmla="*/ 2278090 h 6380470"/>
              <a:gd name="connsiteX2708" fmla="*/ 7120189 w 11625583"/>
              <a:gd name="connsiteY2708" fmla="*/ 2342756 h 6380470"/>
              <a:gd name="connsiteX2709" fmla="*/ 7055523 w 11625583"/>
              <a:gd name="connsiteY2709" fmla="*/ 2407423 h 6380470"/>
              <a:gd name="connsiteX2710" fmla="*/ 6990857 w 11625583"/>
              <a:gd name="connsiteY2710" fmla="*/ 2342756 h 6380470"/>
              <a:gd name="connsiteX2711" fmla="*/ 7055523 w 11625583"/>
              <a:gd name="connsiteY2711" fmla="*/ 2278090 h 6380470"/>
              <a:gd name="connsiteX2712" fmla="*/ 6895037 w 11625583"/>
              <a:gd name="connsiteY2712" fmla="*/ 2278090 h 6380470"/>
              <a:gd name="connsiteX2713" fmla="*/ 6959703 w 11625583"/>
              <a:gd name="connsiteY2713" fmla="*/ 2342756 h 6380470"/>
              <a:gd name="connsiteX2714" fmla="*/ 6895037 w 11625583"/>
              <a:gd name="connsiteY2714" fmla="*/ 2407423 h 6380470"/>
              <a:gd name="connsiteX2715" fmla="*/ 6830371 w 11625583"/>
              <a:gd name="connsiteY2715" fmla="*/ 2342756 h 6380470"/>
              <a:gd name="connsiteX2716" fmla="*/ 6895037 w 11625583"/>
              <a:gd name="connsiteY2716" fmla="*/ 2278090 h 6380470"/>
              <a:gd name="connsiteX2717" fmla="*/ 6742377 w 11625583"/>
              <a:gd name="connsiteY2717" fmla="*/ 2278090 h 6380470"/>
              <a:gd name="connsiteX2718" fmla="*/ 6807043 w 11625583"/>
              <a:gd name="connsiteY2718" fmla="*/ 2342756 h 6380470"/>
              <a:gd name="connsiteX2719" fmla="*/ 6742377 w 11625583"/>
              <a:gd name="connsiteY2719" fmla="*/ 2407423 h 6380470"/>
              <a:gd name="connsiteX2720" fmla="*/ 6677711 w 11625583"/>
              <a:gd name="connsiteY2720" fmla="*/ 2342756 h 6380470"/>
              <a:gd name="connsiteX2721" fmla="*/ 6742377 w 11625583"/>
              <a:gd name="connsiteY2721" fmla="*/ 2278090 h 6380470"/>
              <a:gd name="connsiteX2722" fmla="*/ 6585804 w 11625583"/>
              <a:gd name="connsiteY2722" fmla="*/ 2278090 h 6380470"/>
              <a:gd name="connsiteX2723" fmla="*/ 6650470 w 11625583"/>
              <a:gd name="connsiteY2723" fmla="*/ 2342756 h 6380470"/>
              <a:gd name="connsiteX2724" fmla="*/ 6585804 w 11625583"/>
              <a:gd name="connsiteY2724" fmla="*/ 2407423 h 6380470"/>
              <a:gd name="connsiteX2725" fmla="*/ 6521138 w 11625583"/>
              <a:gd name="connsiteY2725" fmla="*/ 2342756 h 6380470"/>
              <a:gd name="connsiteX2726" fmla="*/ 6585804 w 11625583"/>
              <a:gd name="connsiteY2726" fmla="*/ 2278090 h 6380470"/>
              <a:gd name="connsiteX2727" fmla="*/ 6429231 w 11625583"/>
              <a:gd name="connsiteY2727" fmla="*/ 2278090 h 6380470"/>
              <a:gd name="connsiteX2728" fmla="*/ 6493897 w 11625583"/>
              <a:gd name="connsiteY2728" fmla="*/ 2342756 h 6380470"/>
              <a:gd name="connsiteX2729" fmla="*/ 6429231 w 11625583"/>
              <a:gd name="connsiteY2729" fmla="*/ 2407423 h 6380470"/>
              <a:gd name="connsiteX2730" fmla="*/ 6364565 w 11625583"/>
              <a:gd name="connsiteY2730" fmla="*/ 2342756 h 6380470"/>
              <a:gd name="connsiteX2731" fmla="*/ 6429231 w 11625583"/>
              <a:gd name="connsiteY2731" fmla="*/ 2278090 h 6380470"/>
              <a:gd name="connsiteX2732" fmla="*/ 6276571 w 11625583"/>
              <a:gd name="connsiteY2732" fmla="*/ 2278090 h 6380470"/>
              <a:gd name="connsiteX2733" fmla="*/ 6341237 w 11625583"/>
              <a:gd name="connsiteY2733" fmla="*/ 2342756 h 6380470"/>
              <a:gd name="connsiteX2734" fmla="*/ 6276571 w 11625583"/>
              <a:gd name="connsiteY2734" fmla="*/ 2407423 h 6380470"/>
              <a:gd name="connsiteX2735" fmla="*/ 6211905 w 11625583"/>
              <a:gd name="connsiteY2735" fmla="*/ 2342756 h 6380470"/>
              <a:gd name="connsiteX2736" fmla="*/ 6276571 w 11625583"/>
              <a:gd name="connsiteY2736" fmla="*/ 2278090 h 6380470"/>
              <a:gd name="connsiteX2737" fmla="*/ 6119999 w 11625583"/>
              <a:gd name="connsiteY2737" fmla="*/ 2278090 h 6380470"/>
              <a:gd name="connsiteX2738" fmla="*/ 6184665 w 11625583"/>
              <a:gd name="connsiteY2738" fmla="*/ 2342756 h 6380470"/>
              <a:gd name="connsiteX2739" fmla="*/ 6119999 w 11625583"/>
              <a:gd name="connsiteY2739" fmla="*/ 2407423 h 6380470"/>
              <a:gd name="connsiteX2740" fmla="*/ 6055333 w 11625583"/>
              <a:gd name="connsiteY2740" fmla="*/ 2342756 h 6380470"/>
              <a:gd name="connsiteX2741" fmla="*/ 6119999 w 11625583"/>
              <a:gd name="connsiteY2741" fmla="*/ 2278090 h 6380470"/>
              <a:gd name="connsiteX2742" fmla="*/ 5967339 w 11625583"/>
              <a:gd name="connsiteY2742" fmla="*/ 2278090 h 6380470"/>
              <a:gd name="connsiteX2743" fmla="*/ 6032005 w 11625583"/>
              <a:gd name="connsiteY2743" fmla="*/ 2342756 h 6380470"/>
              <a:gd name="connsiteX2744" fmla="*/ 5967339 w 11625583"/>
              <a:gd name="connsiteY2744" fmla="*/ 2407423 h 6380470"/>
              <a:gd name="connsiteX2745" fmla="*/ 5902673 w 11625583"/>
              <a:gd name="connsiteY2745" fmla="*/ 2342756 h 6380470"/>
              <a:gd name="connsiteX2746" fmla="*/ 5967339 w 11625583"/>
              <a:gd name="connsiteY2746" fmla="*/ 2278090 h 6380470"/>
              <a:gd name="connsiteX2747" fmla="*/ 5501540 w 11625583"/>
              <a:gd name="connsiteY2747" fmla="*/ 2278090 h 6380470"/>
              <a:gd name="connsiteX2748" fmla="*/ 5566203 w 11625583"/>
              <a:gd name="connsiteY2748" fmla="*/ 2342756 h 6380470"/>
              <a:gd name="connsiteX2749" fmla="*/ 5501540 w 11625583"/>
              <a:gd name="connsiteY2749" fmla="*/ 2407423 h 6380470"/>
              <a:gd name="connsiteX2750" fmla="*/ 5436881 w 11625583"/>
              <a:gd name="connsiteY2750" fmla="*/ 2342756 h 6380470"/>
              <a:gd name="connsiteX2751" fmla="*/ 5501540 w 11625583"/>
              <a:gd name="connsiteY2751" fmla="*/ 2278090 h 6380470"/>
              <a:gd name="connsiteX2752" fmla="*/ 5348888 w 11625583"/>
              <a:gd name="connsiteY2752" fmla="*/ 2278090 h 6380470"/>
              <a:gd name="connsiteX2753" fmla="*/ 5413553 w 11625583"/>
              <a:gd name="connsiteY2753" fmla="*/ 2342756 h 6380470"/>
              <a:gd name="connsiteX2754" fmla="*/ 5348888 w 11625583"/>
              <a:gd name="connsiteY2754" fmla="*/ 2407423 h 6380470"/>
              <a:gd name="connsiteX2755" fmla="*/ 5284227 w 11625583"/>
              <a:gd name="connsiteY2755" fmla="*/ 2342756 h 6380470"/>
              <a:gd name="connsiteX2756" fmla="*/ 5348888 w 11625583"/>
              <a:gd name="connsiteY2756" fmla="*/ 2278090 h 6380470"/>
              <a:gd name="connsiteX2757" fmla="*/ 5192318 w 11625583"/>
              <a:gd name="connsiteY2757" fmla="*/ 2278090 h 6380470"/>
              <a:gd name="connsiteX2758" fmla="*/ 5256980 w 11625583"/>
              <a:gd name="connsiteY2758" fmla="*/ 2342756 h 6380470"/>
              <a:gd name="connsiteX2759" fmla="*/ 5192318 w 11625583"/>
              <a:gd name="connsiteY2759" fmla="*/ 2407423 h 6380470"/>
              <a:gd name="connsiteX2760" fmla="*/ 5127652 w 11625583"/>
              <a:gd name="connsiteY2760" fmla="*/ 2342756 h 6380470"/>
              <a:gd name="connsiteX2761" fmla="*/ 5192318 w 11625583"/>
              <a:gd name="connsiteY2761" fmla="*/ 2278090 h 6380470"/>
              <a:gd name="connsiteX2762" fmla="*/ 3172598 w 11625583"/>
              <a:gd name="connsiteY2762" fmla="*/ 2278090 h 6380470"/>
              <a:gd name="connsiteX2763" fmla="*/ 3237268 w 11625583"/>
              <a:gd name="connsiteY2763" fmla="*/ 2342756 h 6380470"/>
              <a:gd name="connsiteX2764" fmla="*/ 3172598 w 11625583"/>
              <a:gd name="connsiteY2764" fmla="*/ 2407423 h 6380470"/>
              <a:gd name="connsiteX2765" fmla="*/ 3107920 w 11625583"/>
              <a:gd name="connsiteY2765" fmla="*/ 2342756 h 6380470"/>
              <a:gd name="connsiteX2766" fmla="*/ 3172598 w 11625583"/>
              <a:gd name="connsiteY2766" fmla="*/ 2278090 h 6380470"/>
              <a:gd name="connsiteX2767" fmla="*/ 3012091 w 11625583"/>
              <a:gd name="connsiteY2767" fmla="*/ 2278090 h 6380470"/>
              <a:gd name="connsiteX2768" fmla="*/ 3076760 w 11625583"/>
              <a:gd name="connsiteY2768" fmla="*/ 2342756 h 6380470"/>
              <a:gd name="connsiteX2769" fmla="*/ 3012091 w 11625583"/>
              <a:gd name="connsiteY2769" fmla="*/ 2407423 h 6380470"/>
              <a:gd name="connsiteX2770" fmla="*/ 2947431 w 11625583"/>
              <a:gd name="connsiteY2770" fmla="*/ 2342756 h 6380470"/>
              <a:gd name="connsiteX2771" fmla="*/ 3012091 w 11625583"/>
              <a:gd name="connsiteY2771" fmla="*/ 2278090 h 6380470"/>
              <a:gd name="connsiteX2772" fmla="*/ 2855533 w 11625583"/>
              <a:gd name="connsiteY2772" fmla="*/ 2278090 h 6380470"/>
              <a:gd name="connsiteX2773" fmla="*/ 2920192 w 11625583"/>
              <a:gd name="connsiteY2773" fmla="*/ 2342756 h 6380470"/>
              <a:gd name="connsiteX2774" fmla="*/ 2855533 w 11625583"/>
              <a:gd name="connsiteY2774" fmla="*/ 2407423 h 6380470"/>
              <a:gd name="connsiteX2775" fmla="*/ 2790873 w 11625583"/>
              <a:gd name="connsiteY2775" fmla="*/ 2342756 h 6380470"/>
              <a:gd name="connsiteX2776" fmla="*/ 2855533 w 11625583"/>
              <a:gd name="connsiteY2776" fmla="*/ 2278090 h 6380470"/>
              <a:gd name="connsiteX2777" fmla="*/ 2698976 w 11625583"/>
              <a:gd name="connsiteY2777" fmla="*/ 2278090 h 6380470"/>
              <a:gd name="connsiteX2778" fmla="*/ 2763635 w 11625583"/>
              <a:gd name="connsiteY2778" fmla="*/ 2342756 h 6380470"/>
              <a:gd name="connsiteX2779" fmla="*/ 2698976 w 11625583"/>
              <a:gd name="connsiteY2779" fmla="*/ 2407423 h 6380470"/>
              <a:gd name="connsiteX2780" fmla="*/ 2634317 w 11625583"/>
              <a:gd name="connsiteY2780" fmla="*/ 2342756 h 6380470"/>
              <a:gd name="connsiteX2781" fmla="*/ 2698976 w 11625583"/>
              <a:gd name="connsiteY2781" fmla="*/ 2278090 h 6380470"/>
              <a:gd name="connsiteX2782" fmla="*/ 2546333 w 11625583"/>
              <a:gd name="connsiteY2782" fmla="*/ 2278090 h 6380470"/>
              <a:gd name="connsiteX2783" fmla="*/ 2610993 w 11625583"/>
              <a:gd name="connsiteY2783" fmla="*/ 2342756 h 6380470"/>
              <a:gd name="connsiteX2784" fmla="*/ 2546333 w 11625583"/>
              <a:gd name="connsiteY2784" fmla="*/ 2407423 h 6380470"/>
              <a:gd name="connsiteX2785" fmla="*/ 2481673 w 11625583"/>
              <a:gd name="connsiteY2785" fmla="*/ 2342756 h 6380470"/>
              <a:gd name="connsiteX2786" fmla="*/ 2546333 w 11625583"/>
              <a:gd name="connsiteY2786" fmla="*/ 2278090 h 6380470"/>
              <a:gd name="connsiteX2787" fmla="*/ 2389761 w 11625583"/>
              <a:gd name="connsiteY2787" fmla="*/ 2278090 h 6380470"/>
              <a:gd name="connsiteX2788" fmla="*/ 2454433 w 11625583"/>
              <a:gd name="connsiteY2788" fmla="*/ 2342756 h 6380470"/>
              <a:gd name="connsiteX2789" fmla="*/ 2389761 w 11625583"/>
              <a:gd name="connsiteY2789" fmla="*/ 2407423 h 6380470"/>
              <a:gd name="connsiteX2790" fmla="*/ 2325098 w 11625583"/>
              <a:gd name="connsiteY2790" fmla="*/ 2342756 h 6380470"/>
              <a:gd name="connsiteX2791" fmla="*/ 2389761 w 11625583"/>
              <a:gd name="connsiteY2791" fmla="*/ 2278090 h 6380470"/>
              <a:gd name="connsiteX2792" fmla="*/ 2237087 w 11625583"/>
              <a:gd name="connsiteY2792" fmla="*/ 2278090 h 6380470"/>
              <a:gd name="connsiteX2793" fmla="*/ 2301766 w 11625583"/>
              <a:gd name="connsiteY2793" fmla="*/ 2342756 h 6380470"/>
              <a:gd name="connsiteX2794" fmla="*/ 2237087 w 11625583"/>
              <a:gd name="connsiteY2794" fmla="*/ 2407423 h 6380470"/>
              <a:gd name="connsiteX2795" fmla="*/ 2172408 w 11625583"/>
              <a:gd name="connsiteY2795" fmla="*/ 2342756 h 6380470"/>
              <a:gd name="connsiteX2796" fmla="*/ 2237087 w 11625583"/>
              <a:gd name="connsiteY2796" fmla="*/ 2278090 h 6380470"/>
              <a:gd name="connsiteX2797" fmla="*/ 9850358 w 11625583"/>
              <a:gd name="connsiteY2797" fmla="*/ 2137178 h 6380470"/>
              <a:gd name="connsiteX2798" fmla="*/ 9915024 w 11625583"/>
              <a:gd name="connsiteY2798" fmla="*/ 2201844 h 6380470"/>
              <a:gd name="connsiteX2799" fmla="*/ 9850358 w 11625583"/>
              <a:gd name="connsiteY2799" fmla="*/ 2266510 h 6380470"/>
              <a:gd name="connsiteX2800" fmla="*/ 9785692 w 11625583"/>
              <a:gd name="connsiteY2800" fmla="*/ 2201844 h 6380470"/>
              <a:gd name="connsiteX2801" fmla="*/ 9850358 w 11625583"/>
              <a:gd name="connsiteY2801" fmla="*/ 2137178 h 6380470"/>
              <a:gd name="connsiteX2802" fmla="*/ 9693783 w 11625583"/>
              <a:gd name="connsiteY2802" fmla="*/ 2137178 h 6380470"/>
              <a:gd name="connsiteX2803" fmla="*/ 9758449 w 11625583"/>
              <a:gd name="connsiteY2803" fmla="*/ 2201844 h 6380470"/>
              <a:gd name="connsiteX2804" fmla="*/ 9693783 w 11625583"/>
              <a:gd name="connsiteY2804" fmla="*/ 2266510 h 6380470"/>
              <a:gd name="connsiteX2805" fmla="*/ 9629117 w 11625583"/>
              <a:gd name="connsiteY2805" fmla="*/ 2201844 h 6380470"/>
              <a:gd name="connsiteX2806" fmla="*/ 9693783 w 11625583"/>
              <a:gd name="connsiteY2806" fmla="*/ 2137178 h 6380470"/>
              <a:gd name="connsiteX2807" fmla="*/ 9541123 w 11625583"/>
              <a:gd name="connsiteY2807" fmla="*/ 2137178 h 6380470"/>
              <a:gd name="connsiteX2808" fmla="*/ 9605789 w 11625583"/>
              <a:gd name="connsiteY2808" fmla="*/ 2201844 h 6380470"/>
              <a:gd name="connsiteX2809" fmla="*/ 9541123 w 11625583"/>
              <a:gd name="connsiteY2809" fmla="*/ 2266510 h 6380470"/>
              <a:gd name="connsiteX2810" fmla="*/ 9476457 w 11625583"/>
              <a:gd name="connsiteY2810" fmla="*/ 2201844 h 6380470"/>
              <a:gd name="connsiteX2811" fmla="*/ 9541123 w 11625583"/>
              <a:gd name="connsiteY2811" fmla="*/ 2137178 h 6380470"/>
              <a:gd name="connsiteX2812" fmla="*/ 9384550 w 11625583"/>
              <a:gd name="connsiteY2812" fmla="*/ 2137178 h 6380470"/>
              <a:gd name="connsiteX2813" fmla="*/ 9449216 w 11625583"/>
              <a:gd name="connsiteY2813" fmla="*/ 2201844 h 6380470"/>
              <a:gd name="connsiteX2814" fmla="*/ 9384550 w 11625583"/>
              <a:gd name="connsiteY2814" fmla="*/ 2266510 h 6380470"/>
              <a:gd name="connsiteX2815" fmla="*/ 9319884 w 11625583"/>
              <a:gd name="connsiteY2815" fmla="*/ 2201844 h 6380470"/>
              <a:gd name="connsiteX2816" fmla="*/ 9384550 w 11625583"/>
              <a:gd name="connsiteY2816" fmla="*/ 2137178 h 6380470"/>
              <a:gd name="connsiteX2817" fmla="*/ 9227977 w 11625583"/>
              <a:gd name="connsiteY2817" fmla="*/ 2137178 h 6380470"/>
              <a:gd name="connsiteX2818" fmla="*/ 9292643 w 11625583"/>
              <a:gd name="connsiteY2818" fmla="*/ 2201844 h 6380470"/>
              <a:gd name="connsiteX2819" fmla="*/ 9227977 w 11625583"/>
              <a:gd name="connsiteY2819" fmla="*/ 2266510 h 6380470"/>
              <a:gd name="connsiteX2820" fmla="*/ 9163311 w 11625583"/>
              <a:gd name="connsiteY2820" fmla="*/ 2201844 h 6380470"/>
              <a:gd name="connsiteX2821" fmla="*/ 9227977 w 11625583"/>
              <a:gd name="connsiteY2821" fmla="*/ 2137178 h 6380470"/>
              <a:gd name="connsiteX2822" fmla="*/ 9075319 w 11625583"/>
              <a:gd name="connsiteY2822" fmla="*/ 2137178 h 6380470"/>
              <a:gd name="connsiteX2823" fmla="*/ 9139985 w 11625583"/>
              <a:gd name="connsiteY2823" fmla="*/ 2201844 h 6380470"/>
              <a:gd name="connsiteX2824" fmla="*/ 9075319 w 11625583"/>
              <a:gd name="connsiteY2824" fmla="*/ 2266510 h 6380470"/>
              <a:gd name="connsiteX2825" fmla="*/ 9010653 w 11625583"/>
              <a:gd name="connsiteY2825" fmla="*/ 2201844 h 6380470"/>
              <a:gd name="connsiteX2826" fmla="*/ 9075319 w 11625583"/>
              <a:gd name="connsiteY2826" fmla="*/ 2137178 h 6380470"/>
              <a:gd name="connsiteX2827" fmla="*/ 8914831 w 11625583"/>
              <a:gd name="connsiteY2827" fmla="*/ 2137178 h 6380470"/>
              <a:gd name="connsiteX2828" fmla="*/ 8979497 w 11625583"/>
              <a:gd name="connsiteY2828" fmla="*/ 2201844 h 6380470"/>
              <a:gd name="connsiteX2829" fmla="*/ 8914831 w 11625583"/>
              <a:gd name="connsiteY2829" fmla="*/ 2266510 h 6380470"/>
              <a:gd name="connsiteX2830" fmla="*/ 8850165 w 11625583"/>
              <a:gd name="connsiteY2830" fmla="*/ 2201844 h 6380470"/>
              <a:gd name="connsiteX2831" fmla="*/ 8914831 w 11625583"/>
              <a:gd name="connsiteY2831" fmla="*/ 2137178 h 6380470"/>
              <a:gd name="connsiteX2832" fmla="*/ 8766086 w 11625583"/>
              <a:gd name="connsiteY2832" fmla="*/ 2137178 h 6380470"/>
              <a:gd name="connsiteX2833" fmla="*/ 8830752 w 11625583"/>
              <a:gd name="connsiteY2833" fmla="*/ 2201844 h 6380470"/>
              <a:gd name="connsiteX2834" fmla="*/ 8766086 w 11625583"/>
              <a:gd name="connsiteY2834" fmla="*/ 2266510 h 6380470"/>
              <a:gd name="connsiteX2835" fmla="*/ 8701420 w 11625583"/>
              <a:gd name="connsiteY2835" fmla="*/ 2201844 h 6380470"/>
              <a:gd name="connsiteX2836" fmla="*/ 8766086 w 11625583"/>
              <a:gd name="connsiteY2836" fmla="*/ 2137178 h 6380470"/>
              <a:gd name="connsiteX2837" fmla="*/ 8601685 w 11625583"/>
              <a:gd name="connsiteY2837" fmla="*/ 2137178 h 6380470"/>
              <a:gd name="connsiteX2838" fmla="*/ 8666351 w 11625583"/>
              <a:gd name="connsiteY2838" fmla="*/ 2201844 h 6380470"/>
              <a:gd name="connsiteX2839" fmla="*/ 8601685 w 11625583"/>
              <a:gd name="connsiteY2839" fmla="*/ 2266510 h 6380470"/>
              <a:gd name="connsiteX2840" fmla="*/ 8537019 w 11625583"/>
              <a:gd name="connsiteY2840" fmla="*/ 2201844 h 6380470"/>
              <a:gd name="connsiteX2841" fmla="*/ 8601685 w 11625583"/>
              <a:gd name="connsiteY2841" fmla="*/ 2137178 h 6380470"/>
              <a:gd name="connsiteX2842" fmla="*/ 8449025 w 11625583"/>
              <a:gd name="connsiteY2842" fmla="*/ 2137178 h 6380470"/>
              <a:gd name="connsiteX2843" fmla="*/ 8513691 w 11625583"/>
              <a:gd name="connsiteY2843" fmla="*/ 2201844 h 6380470"/>
              <a:gd name="connsiteX2844" fmla="*/ 8449025 w 11625583"/>
              <a:gd name="connsiteY2844" fmla="*/ 2266510 h 6380470"/>
              <a:gd name="connsiteX2845" fmla="*/ 8384359 w 11625583"/>
              <a:gd name="connsiteY2845" fmla="*/ 2201844 h 6380470"/>
              <a:gd name="connsiteX2846" fmla="*/ 8449025 w 11625583"/>
              <a:gd name="connsiteY2846" fmla="*/ 2137178 h 6380470"/>
              <a:gd name="connsiteX2847" fmla="*/ 8296368 w 11625583"/>
              <a:gd name="connsiteY2847" fmla="*/ 2137178 h 6380470"/>
              <a:gd name="connsiteX2848" fmla="*/ 8361034 w 11625583"/>
              <a:gd name="connsiteY2848" fmla="*/ 2201844 h 6380470"/>
              <a:gd name="connsiteX2849" fmla="*/ 8296368 w 11625583"/>
              <a:gd name="connsiteY2849" fmla="*/ 2266510 h 6380470"/>
              <a:gd name="connsiteX2850" fmla="*/ 8231702 w 11625583"/>
              <a:gd name="connsiteY2850" fmla="*/ 2201844 h 6380470"/>
              <a:gd name="connsiteX2851" fmla="*/ 8296368 w 11625583"/>
              <a:gd name="connsiteY2851" fmla="*/ 2137178 h 6380470"/>
              <a:gd name="connsiteX2852" fmla="*/ 8139793 w 11625583"/>
              <a:gd name="connsiteY2852" fmla="*/ 2137178 h 6380470"/>
              <a:gd name="connsiteX2853" fmla="*/ 8204459 w 11625583"/>
              <a:gd name="connsiteY2853" fmla="*/ 2201844 h 6380470"/>
              <a:gd name="connsiteX2854" fmla="*/ 8139793 w 11625583"/>
              <a:gd name="connsiteY2854" fmla="*/ 2266510 h 6380470"/>
              <a:gd name="connsiteX2855" fmla="*/ 8075127 w 11625583"/>
              <a:gd name="connsiteY2855" fmla="*/ 2201844 h 6380470"/>
              <a:gd name="connsiteX2856" fmla="*/ 8139793 w 11625583"/>
              <a:gd name="connsiteY2856" fmla="*/ 2137178 h 6380470"/>
              <a:gd name="connsiteX2857" fmla="*/ 7987133 w 11625583"/>
              <a:gd name="connsiteY2857" fmla="*/ 2137178 h 6380470"/>
              <a:gd name="connsiteX2858" fmla="*/ 8051799 w 11625583"/>
              <a:gd name="connsiteY2858" fmla="*/ 2201844 h 6380470"/>
              <a:gd name="connsiteX2859" fmla="*/ 7987133 w 11625583"/>
              <a:gd name="connsiteY2859" fmla="*/ 2266510 h 6380470"/>
              <a:gd name="connsiteX2860" fmla="*/ 7922467 w 11625583"/>
              <a:gd name="connsiteY2860" fmla="*/ 2201844 h 6380470"/>
              <a:gd name="connsiteX2861" fmla="*/ 7987133 w 11625583"/>
              <a:gd name="connsiteY2861" fmla="*/ 2137178 h 6380470"/>
              <a:gd name="connsiteX2862" fmla="*/ 7830562 w 11625583"/>
              <a:gd name="connsiteY2862" fmla="*/ 2137178 h 6380470"/>
              <a:gd name="connsiteX2863" fmla="*/ 7895228 w 11625583"/>
              <a:gd name="connsiteY2863" fmla="*/ 2201844 h 6380470"/>
              <a:gd name="connsiteX2864" fmla="*/ 7830562 w 11625583"/>
              <a:gd name="connsiteY2864" fmla="*/ 2266510 h 6380470"/>
              <a:gd name="connsiteX2865" fmla="*/ 7765896 w 11625583"/>
              <a:gd name="connsiteY2865" fmla="*/ 2201844 h 6380470"/>
              <a:gd name="connsiteX2866" fmla="*/ 7830562 w 11625583"/>
              <a:gd name="connsiteY2866" fmla="*/ 2137178 h 6380470"/>
              <a:gd name="connsiteX2867" fmla="*/ 7677904 w 11625583"/>
              <a:gd name="connsiteY2867" fmla="*/ 2137178 h 6380470"/>
              <a:gd name="connsiteX2868" fmla="*/ 7742570 w 11625583"/>
              <a:gd name="connsiteY2868" fmla="*/ 2201844 h 6380470"/>
              <a:gd name="connsiteX2869" fmla="*/ 7677904 w 11625583"/>
              <a:gd name="connsiteY2869" fmla="*/ 2266510 h 6380470"/>
              <a:gd name="connsiteX2870" fmla="*/ 7613238 w 11625583"/>
              <a:gd name="connsiteY2870" fmla="*/ 2201844 h 6380470"/>
              <a:gd name="connsiteX2871" fmla="*/ 7677904 w 11625583"/>
              <a:gd name="connsiteY2871" fmla="*/ 2137178 h 6380470"/>
              <a:gd name="connsiteX2872" fmla="*/ 7368669 w 11625583"/>
              <a:gd name="connsiteY2872" fmla="*/ 2137178 h 6380470"/>
              <a:gd name="connsiteX2873" fmla="*/ 7433335 w 11625583"/>
              <a:gd name="connsiteY2873" fmla="*/ 2201844 h 6380470"/>
              <a:gd name="connsiteX2874" fmla="*/ 7368669 w 11625583"/>
              <a:gd name="connsiteY2874" fmla="*/ 2266510 h 6380470"/>
              <a:gd name="connsiteX2875" fmla="*/ 7304003 w 11625583"/>
              <a:gd name="connsiteY2875" fmla="*/ 2201844 h 6380470"/>
              <a:gd name="connsiteX2876" fmla="*/ 7368669 w 11625583"/>
              <a:gd name="connsiteY2876" fmla="*/ 2137178 h 6380470"/>
              <a:gd name="connsiteX2877" fmla="*/ 7212096 w 11625583"/>
              <a:gd name="connsiteY2877" fmla="*/ 2137178 h 6380470"/>
              <a:gd name="connsiteX2878" fmla="*/ 7276762 w 11625583"/>
              <a:gd name="connsiteY2878" fmla="*/ 2201844 h 6380470"/>
              <a:gd name="connsiteX2879" fmla="*/ 7212096 w 11625583"/>
              <a:gd name="connsiteY2879" fmla="*/ 2266510 h 6380470"/>
              <a:gd name="connsiteX2880" fmla="*/ 7147430 w 11625583"/>
              <a:gd name="connsiteY2880" fmla="*/ 2201844 h 6380470"/>
              <a:gd name="connsiteX2881" fmla="*/ 7212096 w 11625583"/>
              <a:gd name="connsiteY2881" fmla="*/ 2137178 h 6380470"/>
              <a:gd name="connsiteX2882" fmla="*/ 7055523 w 11625583"/>
              <a:gd name="connsiteY2882" fmla="*/ 2137178 h 6380470"/>
              <a:gd name="connsiteX2883" fmla="*/ 7120189 w 11625583"/>
              <a:gd name="connsiteY2883" fmla="*/ 2201844 h 6380470"/>
              <a:gd name="connsiteX2884" fmla="*/ 7055523 w 11625583"/>
              <a:gd name="connsiteY2884" fmla="*/ 2266510 h 6380470"/>
              <a:gd name="connsiteX2885" fmla="*/ 6990857 w 11625583"/>
              <a:gd name="connsiteY2885" fmla="*/ 2201844 h 6380470"/>
              <a:gd name="connsiteX2886" fmla="*/ 7055523 w 11625583"/>
              <a:gd name="connsiteY2886" fmla="*/ 2137178 h 6380470"/>
              <a:gd name="connsiteX2887" fmla="*/ 6895037 w 11625583"/>
              <a:gd name="connsiteY2887" fmla="*/ 2137178 h 6380470"/>
              <a:gd name="connsiteX2888" fmla="*/ 6959703 w 11625583"/>
              <a:gd name="connsiteY2888" fmla="*/ 2201844 h 6380470"/>
              <a:gd name="connsiteX2889" fmla="*/ 6895037 w 11625583"/>
              <a:gd name="connsiteY2889" fmla="*/ 2266510 h 6380470"/>
              <a:gd name="connsiteX2890" fmla="*/ 6830371 w 11625583"/>
              <a:gd name="connsiteY2890" fmla="*/ 2201844 h 6380470"/>
              <a:gd name="connsiteX2891" fmla="*/ 6895037 w 11625583"/>
              <a:gd name="connsiteY2891" fmla="*/ 2137178 h 6380470"/>
              <a:gd name="connsiteX2892" fmla="*/ 6742377 w 11625583"/>
              <a:gd name="connsiteY2892" fmla="*/ 2137178 h 6380470"/>
              <a:gd name="connsiteX2893" fmla="*/ 6807043 w 11625583"/>
              <a:gd name="connsiteY2893" fmla="*/ 2201844 h 6380470"/>
              <a:gd name="connsiteX2894" fmla="*/ 6742377 w 11625583"/>
              <a:gd name="connsiteY2894" fmla="*/ 2266510 h 6380470"/>
              <a:gd name="connsiteX2895" fmla="*/ 6677711 w 11625583"/>
              <a:gd name="connsiteY2895" fmla="*/ 2201844 h 6380470"/>
              <a:gd name="connsiteX2896" fmla="*/ 6742377 w 11625583"/>
              <a:gd name="connsiteY2896" fmla="*/ 2137178 h 6380470"/>
              <a:gd name="connsiteX2897" fmla="*/ 6429231 w 11625583"/>
              <a:gd name="connsiteY2897" fmla="*/ 2137178 h 6380470"/>
              <a:gd name="connsiteX2898" fmla="*/ 6493897 w 11625583"/>
              <a:gd name="connsiteY2898" fmla="*/ 2201844 h 6380470"/>
              <a:gd name="connsiteX2899" fmla="*/ 6429231 w 11625583"/>
              <a:gd name="connsiteY2899" fmla="*/ 2266510 h 6380470"/>
              <a:gd name="connsiteX2900" fmla="*/ 6364565 w 11625583"/>
              <a:gd name="connsiteY2900" fmla="*/ 2201844 h 6380470"/>
              <a:gd name="connsiteX2901" fmla="*/ 6429231 w 11625583"/>
              <a:gd name="connsiteY2901" fmla="*/ 2137178 h 6380470"/>
              <a:gd name="connsiteX2902" fmla="*/ 6276571 w 11625583"/>
              <a:gd name="connsiteY2902" fmla="*/ 2137178 h 6380470"/>
              <a:gd name="connsiteX2903" fmla="*/ 6341237 w 11625583"/>
              <a:gd name="connsiteY2903" fmla="*/ 2201844 h 6380470"/>
              <a:gd name="connsiteX2904" fmla="*/ 6276571 w 11625583"/>
              <a:gd name="connsiteY2904" fmla="*/ 2266510 h 6380470"/>
              <a:gd name="connsiteX2905" fmla="*/ 6211905 w 11625583"/>
              <a:gd name="connsiteY2905" fmla="*/ 2201844 h 6380470"/>
              <a:gd name="connsiteX2906" fmla="*/ 6276571 w 11625583"/>
              <a:gd name="connsiteY2906" fmla="*/ 2137178 h 6380470"/>
              <a:gd name="connsiteX2907" fmla="*/ 6119999 w 11625583"/>
              <a:gd name="connsiteY2907" fmla="*/ 2137178 h 6380470"/>
              <a:gd name="connsiteX2908" fmla="*/ 6184665 w 11625583"/>
              <a:gd name="connsiteY2908" fmla="*/ 2201844 h 6380470"/>
              <a:gd name="connsiteX2909" fmla="*/ 6119999 w 11625583"/>
              <a:gd name="connsiteY2909" fmla="*/ 2266510 h 6380470"/>
              <a:gd name="connsiteX2910" fmla="*/ 6055333 w 11625583"/>
              <a:gd name="connsiteY2910" fmla="*/ 2201844 h 6380470"/>
              <a:gd name="connsiteX2911" fmla="*/ 6119999 w 11625583"/>
              <a:gd name="connsiteY2911" fmla="*/ 2137178 h 6380470"/>
              <a:gd name="connsiteX2912" fmla="*/ 5967339 w 11625583"/>
              <a:gd name="connsiteY2912" fmla="*/ 2137178 h 6380470"/>
              <a:gd name="connsiteX2913" fmla="*/ 6032005 w 11625583"/>
              <a:gd name="connsiteY2913" fmla="*/ 2201844 h 6380470"/>
              <a:gd name="connsiteX2914" fmla="*/ 5967339 w 11625583"/>
              <a:gd name="connsiteY2914" fmla="*/ 2266510 h 6380470"/>
              <a:gd name="connsiteX2915" fmla="*/ 5902673 w 11625583"/>
              <a:gd name="connsiteY2915" fmla="*/ 2201844 h 6380470"/>
              <a:gd name="connsiteX2916" fmla="*/ 5967339 w 11625583"/>
              <a:gd name="connsiteY2916" fmla="*/ 2137178 h 6380470"/>
              <a:gd name="connsiteX2917" fmla="*/ 5810794 w 11625583"/>
              <a:gd name="connsiteY2917" fmla="*/ 2137178 h 6380470"/>
              <a:gd name="connsiteX2918" fmla="*/ 5875432 w 11625583"/>
              <a:gd name="connsiteY2918" fmla="*/ 2201844 h 6380470"/>
              <a:gd name="connsiteX2919" fmla="*/ 5810794 w 11625583"/>
              <a:gd name="connsiteY2919" fmla="*/ 2266510 h 6380470"/>
              <a:gd name="connsiteX2920" fmla="*/ 5746114 w 11625583"/>
              <a:gd name="connsiteY2920" fmla="*/ 2201844 h 6380470"/>
              <a:gd name="connsiteX2921" fmla="*/ 5810794 w 11625583"/>
              <a:gd name="connsiteY2921" fmla="*/ 2137178 h 6380470"/>
              <a:gd name="connsiteX2922" fmla="*/ 5658108 w 11625583"/>
              <a:gd name="connsiteY2922" fmla="*/ 2137178 h 6380470"/>
              <a:gd name="connsiteX2923" fmla="*/ 5722781 w 11625583"/>
              <a:gd name="connsiteY2923" fmla="*/ 2201844 h 6380470"/>
              <a:gd name="connsiteX2924" fmla="*/ 5658108 w 11625583"/>
              <a:gd name="connsiteY2924" fmla="*/ 2266510 h 6380470"/>
              <a:gd name="connsiteX2925" fmla="*/ 5593441 w 11625583"/>
              <a:gd name="connsiteY2925" fmla="*/ 2201844 h 6380470"/>
              <a:gd name="connsiteX2926" fmla="*/ 5658108 w 11625583"/>
              <a:gd name="connsiteY2926" fmla="*/ 2137178 h 6380470"/>
              <a:gd name="connsiteX2927" fmla="*/ 5501540 w 11625583"/>
              <a:gd name="connsiteY2927" fmla="*/ 2137178 h 6380470"/>
              <a:gd name="connsiteX2928" fmla="*/ 5566204 w 11625583"/>
              <a:gd name="connsiteY2928" fmla="*/ 2201844 h 6380470"/>
              <a:gd name="connsiteX2929" fmla="*/ 5501540 w 11625583"/>
              <a:gd name="connsiteY2929" fmla="*/ 2266510 h 6380470"/>
              <a:gd name="connsiteX2930" fmla="*/ 5436883 w 11625583"/>
              <a:gd name="connsiteY2930" fmla="*/ 2201844 h 6380470"/>
              <a:gd name="connsiteX2931" fmla="*/ 5501540 w 11625583"/>
              <a:gd name="connsiteY2931" fmla="*/ 2137178 h 6380470"/>
              <a:gd name="connsiteX2932" fmla="*/ 3321359 w 11625583"/>
              <a:gd name="connsiteY2932" fmla="*/ 2137178 h 6380470"/>
              <a:gd name="connsiteX2933" fmla="*/ 3386011 w 11625583"/>
              <a:gd name="connsiteY2933" fmla="*/ 2201844 h 6380470"/>
              <a:gd name="connsiteX2934" fmla="*/ 3321359 w 11625583"/>
              <a:gd name="connsiteY2934" fmla="*/ 2266510 h 6380470"/>
              <a:gd name="connsiteX2935" fmla="*/ 3256695 w 11625583"/>
              <a:gd name="connsiteY2935" fmla="*/ 2201844 h 6380470"/>
              <a:gd name="connsiteX2936" fmla="*/ 3321359 w 11625583"/>
              <a:gd name="connsiteY2936" fmla="*/ 2137178 h 6380470"/>
              <a:gd name="connsiteX2937" fmla="*/ 3172606 w 11625583"/>
              <a:gd name="connsiteY2937" fmla="*/ 2137178 h 6380470"/>
              <a:gd name="connsiteX2938" fmla="*/ 3237278 w 11625583"/>
              <a:gd name="connsiteY2938" fmla="*/ 2201844 h 6380470"/>
              <a:gd name="connsiteX2939" fmla="*/ 3172606 w 11625583"/>
              <a:gd name="connsiteY2939" fmla="*/ 2266510 h 6380470"/>
              <a:gd name="connsiteX2940" fmla="*/ 3107925 w 11625583"/>
              <a:gd name="connsiteY2940" fmla="*/ 2201844 h 6380470"/>
              <a:gd name="connsiteX2941" fmla="*/ 3172606 w 11625583"/>
              <a:gd name="connsiteY2941" fmla="*/ 2137178 h 6380470"/>
              <a:gd name="connsiteX2942" fmla="*/ 3012096 w 11625583"/>
              <a:gd name="connsiteY2942" fmla="*/ 2137178 h 6380470"/>
              <a:gd name="connsiteX2943" fmla="*/ 3076765 w 11625583"/>
              <a:gd name="connsiteY2943" fmla="*/ 2201844 h 6380470"/>
              <a:gd name="connsiteX2944" fmla="*/ 3012096 w 11625583"/>
              <a:gd name="connsiteY2944" fmla="*/ 2266510 h 6380470"/>
              <a:gd name="connsiteX2945" fmla="*/ 2947438 w 11625583"/>
              <a:gd name="connsiteY2945" fmla="*/ 2201844 h 6380470"/>
              <a:gd name="connsiteX2946" fmla="*/ 3012096 w 11625583"/>
              <a:gd name="connsiteY2946" fmla="*/ 2137178 h 6380470"/>
              <a:gd name="connsiteX2947" fmla="*/ 2855539 w 11625583"/>
              <a:gd name="connsiteY2947" fmla="*/ 2137178 h 6380470"/>
              <a:gd name="connsiteX2948" fmla="*/ 2920198 w 11625583"/>
              <a:gd name="connsiteY2948" fmla="*/ 2201844 h 6380470"/>
              <a:gd name="connsiteX2949" fmla="*/ 2855539 w 11625583"/>
              <a:gd name="connsiteY2949" fmla="*/ 2266510 h 6380470"/>
              <a:gd name="connsiteX2950" fmla="*/ 2790880 w 11625583"/>
              <a:gd name="connsiteY2950" fmla="*/ 2201844 h 6380470"/>
              <a:gd name="connsiteX2951" fmla="*/ 2855539 w 11625583"/>
              <a:gd name="connsiteY2951" fmla="*/ 2137178 h 6380470"/>
              <a:gd name="connsiteX2952" fmla="*/ 2698983 w 11625583"/>
              <a:gd name="connsiteY2952" fmla="*/ 2137178 h 6380470"/>
              <a:gd name="connsiteX2953" fmla="*/ 2763642 w 11625583"/>
              <a:gd name="connsiteY2953" fmla="*/ 2201844 h 6380470"/>
              <a:gd name="connsiteX2954" fmla="*/ 2698983 w 11625583"/>
              <a:gd name="connsiteY2954" fmla="*/ 2266510 h 6380470"/>
              <a:gd name="connsiteX2955" fmla="*/ 2634325 w 11625583"/>
              <a:gd name="connsiteY2955" fmla="*/ 2201844 h 6380470"/>
              <a:gd name="connsiteX2956" fmla="*/ 2698983 w 11625583"/>
              <a:gd name="connsiteY2956" fmla="*/ 2137178 h 6380470"/>
              <a:gd name="connsiteX2957" fmla="*/ 2546341 w 11625583"/>
              <a:gd name="connsiteY2957" fmla="*/ 2137178 h 6380470"/>
              <a:gd name="connsiteX2958" fmla="*/ 2611002 w 11625583"/>
              <a:gd name="connsiteY2958" fmla="*/ 2201844 h 6380470"/>
              <a:gd name="connsiteX2959" fmla="*/ 2546341 w 11625583"/>
              <a:gd name="connsiteY2959" fmla="*/ 2266510 h 6380470"/>
              <a:gd name="connsiteX2960" fmla="*/ 2481681 w 11625583"/>
              <a:gd name="connsiteY2960" fmla="*/ 2201844 h 6380470"/>
              <a:gd name="connsiteX2961" fmla="*/ 2546341 w 11625583"/>
              <a:gd name="connsiteY2961" fmla="*/ 2137178 h 6380470"/>
              <a:gd name="connsiteX2962" fmla="*/ 2389761 w 11625583"/>
              <a:gd name="connsiteY2962" fmla="*/ 2137178 h 6380470"/>
              <a:gd name="connsiteX2963" fmla="*/ 2454444 w 11625583"/>
              <a:gd name="connsiteY2963" fmla="*/ 2201844 h 6380470"/>
              <a:gd name="connsiteX2964" fmla="*/ 2389761 w 11625583"/>
              <a:gd name="connsiteY2964" fmla="*/ 2266510 h 6380470"/>
              <a:gd name="connsiteX2965" fmla="*/ 2325107 w 11625583"/>
              <a:gd name="connsiteY2965" fmla="*/ 2201844 h 6380470"/>
              <a:gd name="connsiteX2966" fmla="*/ 2389761 w 11625583"/>
              <a:gd name="connsiteY2966" fmla="*/ 2137178 h 6380470"/>
              <a:gd name="connsiteX2967" fmla="*/ 2237094 w 11625583"/>
              <a:gd name="connsiteY2967" fmla="*/ 2137178 h 6380470"/>
              <a:gd name="connsiteX2968" fmla="*/ 2301774 w 11625583"/>
              <a:gd name="connsiteY2968" fmla="*/ 2201844 h 6380470"/>
              <a:gd name="connsiteX2969" fmla="*/ 2237094 w 11625583"/>
              <a:gd name="connsiteY2969" fmla="*/ 2266510 h 6380470"/>
              <a:gd name="connsiteX2970" fmla="*/ 2172414 w 11625583"/>
              <a:gd name="connsiteY2970" fmla="*/ 2201844 h 6380470"/>
              <a:gd name="connsiteX2971" fmla="*/ 2237094 w 11625583"/>
              <a:gd name="connsiteY2971" fmla="*/ 2137178 h 6380470"/>
              <a:gd name="connsiteX2972" fmla="*/ 2084416 w 11625583"/>
              <a:gd name="connsiteY2972" fmla="*/ 2137178 h 6380470"/>
              <a:gd name="connsiteX2973" fmla="*/ 2149082 w 11625583"/>
              <a:gd name="connsiteY2973" fmla="*/ 2201844 h 6380470"/>
              <a:gd name="connsiteX2974" fmla="*/ 2084416 w 11625583"/>
              <a:gd name="connsiteY2974" fmla="*/ 2266510 h 6380470"/>
              <a:gd name="connsiteX2975" fmla="*/ 2019767 w 11625583"/>
              <a:gd name="connsiteY2975" fmla="*/ 2201844 h 6380470"/>
              <a:gd name="connsiteX2976" fmla="*/ 2084416 w 11625583"/>
              <a:gd name="connsiteY2976" fmla="*/ 2137178 h 6380470"/>
              <a:gd name="connsiteX2977" fmla="*/ 1927830 w 11625583"/>
              <a:gd name="connsiteY2977" fmla="*/ 2137178 h 6380470"/>
              <a:gd name="connsiteX2978" fmla="*/ 1992519 w 11625583"/>
              <a:gd name="connsiteY2978" fmla="*/ 2201844 h 6380470"/>
              <a:gd name="connsiteX2979" fmla="*/ 1927830 w 11625583"/>
              <a:gd name="connsiteY2979" fmla="*/ 2266510 h 6380470"/>
              <a:gd name="connsiteX2980" fmla="*/ 1863193 w 11625583"/>
              <a:gd name="connsiteY2980" fmla="*/ 2201844 h 6380470"/>
              <a:gd name="connsiteX2981" fmla="*/ 1927830 w 11625583"/>
              <a:gd name="connsiteY2981" fmla="*/ 2137178 h 6380470"/>
              <a:gd name="connsiteX2982" fmla="*/ 1775186 w 11625583"/>
              <a:gd name="connsiteY2982" fmla="*/ 2137178 h 6380470"/>
              <a:gd name="connsiteX2983" fmla="*/ 1839865 w 11625583"/>
              <a:gd name="connsiteY2983" fmla="*/ 2201844 h 6380470"/>
              <a:gd name="connsiteX2984" fmla="*/ 1775186 w 11625583"/>
              <a:gd name="connsiteY2984" fmla="*/ 2266510 h 6380470"/>
              <a:gd name="connsiteX2985" fmla="*/ 1710516 w 11625583"/>
              <a:gd name="connsiteY2985" fmla="*/ 2201844 h 6380470"/>
              <a:gd name="connsiteX2986" fmla="*/ 1775186 w 11625583"/>
              <a:gd name="connsiteY2986" fmla="*/ 2137178 h 6380470"/>
              <a:gd name="connsiteX2987" fmla="*/ 1618605 w 11625583"/>
              <a:gd name="connsiteY2987" fmla="*/ 2137178 h 6380470"/>
              <a:gd name="connsiteX2988" fmla="*/ 1683274 w 11625583"/>
              <a:gd name="connsiteY2988" fmla="*/ 2201844 h 6380470"/>
              <a:gd name="connsiteX2989" fmla="*/ 1618605 w 11625583"/>
              <a:gd name="connsiteY2989" fmla="*/ 2266510 h 6380470"/>
              <a:gd name="connsiteX2990" fmla="*/ 1553941 w 11625583"/>
              <a:gd name="connsiteY2990" fmla="*/ 2201844 h 6380470"/>
              <a:gd name="connsiteX2991" fmla="*/ 1618605 w 11625583"/>
              <a:gd name="connsiteY2991" fmla="*/ 2137178 h 6380470"/>
              <a:gd name="connsiteX2992" fmla="*/ 1465947 w 11625583"/>
              <a:gd name="connsiteY2992" fmla="*/ 2137178 h 6380470"/>
              <a:gd name="connsiteX2993" fmla="*/ 1530613 w 11625583"/>
              <a:gd name="connsiteY2993" fmla="*/ 2201844 h 6380470"/>
              <a:gd name="connsiteX2994" fmla="*/ 1465947 w 11625583"/>
              <a:gd name="connsiteY2994" fmla="*/ 2266510 h 6380470"/>
              <a:gd name="connsiteX2995" fmla="*/ 1401283 w 11625583"/>
              <a:gd name="connsiteY2995" fmla="*/ 2201844 h 6380470"/>
              <a:gd name="connsiteX2996" fmla="*/ 1465947 w 11625583"/>
              <a:gd name="connsiteY2996" fmla="*/ 2137178 h 6380470"/>
              <a:gd name="connsiteX2997" fmla="*/ 5348894 w 11625583"/>
              <a:gd name="connsiteY2997" fmla="*/ 2137174 h 6380470"/>
              <a:gd name="connsiteX2998" fmla="*/ 5413562 w 11625583"/>
              <a:gd name="connsiteY2998" fmla="*/ 2201840 h 6380470"/>
              <a:gd name="connsiteX2999" fmla="*/ 5348894 w 11625583"/>
              <a:gd name="connsiteY2999" fmla="*/ 2266507 h 6380470"/>
              <a:gd name="connsiteX3000" fmla="*/ 5284237 w 11625583"/>
              <a:gd name="connsiteY3000" fmla="*/ 2201840 h 6380470"/>
              <a:gd name="connsiteX3001" fmla="*/ 5348894 w 11625583"/>
              <a:gd name="connsiteY3001" fmla="*/ 2137174 h 6380470"/>
              <a:gd name="connsiteX3002" fmla="*/ 5192302 w 11625583"/>
              <a:gd name="connsiteY3002" fmla="*/ 2137174 h 6380470"/>
              <a:gd name="connsiteX3003" fmla="*/ 5256968 w 11625583"/>
              <a:gd name="connsiteY3003" fmla="*/ 2201840 h 6380470"/>
              <a:gd name="connsiteX3004" fmla="*/ 5192302 w 11625583"/>
              <a:gd name="connsiteY3004" fmla="*/ 2266506 h 6380470"/>
              <a:gd name="connsiteX3005" fmla="*/ 5127636 w 11625583"/>
              <a:gd name="connsiteY3005" fmla="*/ 2201840 h 6380470"/>
              <a:gd name="connsiteX3006" fmla="*/ 5192302 w 11625583"/>
              <a:gd name="connsiteY3006" fmla="*/ 2137174 h 6380470"/>
              <a:gd name="connsiteX3007" fmla="*/ 10312248 w 11625583"/>
              <a:gd name="connsiteY3007" fmla="*/ 2000175 h 6380470"/>
              <a:gd name="connsiteX3008" fmla="*/ 10376914 w 11625583"/>
              <a:gd name="connsiteY3008" fmla="*/ 2064841 h 6380470"/>
              <a:gd name="connsiteX3009" fmla="*/ 10312248 w 11625583"/>
              <a:gd name="connsiteY3009" fmla="*/ 2129508 h 6380470"/>
              <a:gd name="connsiteX3010" fmla="*/ 10247582 w 11625583"/>
              <a:gd name="connsiteY3010" fmla="*/ 2064841 h 6380470"/>
              <a:gd name="connsiteX3011" fmla="*/ 10312248 w 11625583"/>
              <a:gd name="connsiteY3011" fmla="*/ 2000175 h 6380470"/>
              <a:gd name="connsiteX3012" fmla="*/ 10159588 w 11625583"/>
              <a:gd name="connsiteY3012" fmla="*/ 2000175 h 6380470"/>
              <a:gd name="connsiteX3013" fmla="*/ 10224254 w 11625583"/>
              <a:gd name="connsiteY3013" fmla="*/ 2064841 h 6380470"/>
              <a:gd name="connsiteX3014" fmla="*/ 10159588 w 11625583"/>
              <a:gd name="connsiteY3014" fmla="*/ 2129508 h 6380470"/>
              <a:gd name="connsiteX3015" fmla="*/ 10094922 w 11625583"/>
              <a:gd name="connsiteY3015" fmla="*/ 2064841 h 6380470"/>
              <a:gd name="connsiteX3016" fmla="*/ 10159588 w 11625583"/>
              <a:gd name="connsiteY3016" fmla="*/ 2000175 h 6380470"/>
              <a:gd name="connsiteX3017" fmla="*/ 10003016 w 11625583"/>
              <a:gd name="connsiteY3017" fmla="*/ 2000175 h 6380470"/>
              <a:gd name="connsiteX3018" fmla="*/ 10067682 w 11625583"/>
              <a:gd name="connsiteY3018" fmla="*/ 2064841 h 6380470"/>
              <a:gd name="connsiteX3019" fmla="*/ 10003016 w 11625583"/>
              <a:gd name="connsiteY3019" fmla="*/ 2129508 h 6380470"/>
              <a:gd name="connsiteX3020" fmla="*/ 9938350 w 11625583"/>
              <a:gd name="connsiteY3020" fmla="*/ 2064841 h 6380470"/>
              <a:gd name="connsiteX3021" fmla="*/ 10003016 w 11625583"/>
              <a:gd name="connsiteY3021" fmla="*/ 2000175 h 6380470"/>
              <a:gd name="connsiteX3022" fmla="*/ 9850358 w 11625583"/>
              <a:gd name="connsiteY3022" fmla="*/ 2000175 h 6380470"/>
              <a:gd name="connsiteX3023" fmla="*/ 9915024 w 11625583"/>
              <a:gd name="connsiteY3023" fmla="*/ 2064841 h 6380470"/>
              <a:gd name="connsiteX3024" fmla="*/ 9850358 w 11625583"/>
              <a:gd name="connsiteY3024" fmla="*/ 2129508 h 6380470"/>
              <a:gd name="connsiteX3025" fmla="*/ 9785692 w 11625583"/>
              <a:gd name="connsiteY3025" fmla="*/ 2064841 h 6380470"/>
              <a:gd name="connsiteX3026" fmla="*/ 9850358 w 11625583"/>
              <a:gd name="connsiteY3026" fmla="*/ 2000175 h 6380470"/>
              <a:gd name="connsiteX3027" fmla="*/ 9693783 w 11625583"/>
              <a:gd name="connsiteY3027" fmla="*/ 2000175 h 6380470"/>
              <a:gd name="connsiteX3028" fmla="*/ 9758449 w 11625583"/>
              <a:gd name="connsiteY3028" fmla="*/ 2064841 h 6380470"/>
              <a:gd name="connsiteX3029" fmla="*/ 9693783 w 11625583"/>
              <a:gd name="connsiteY3029" fmla="*/ 2129508 h 6380470"/>
              <a:gd name="connsiteX3030" fmla="*/ 9629117 w 11625583"/>
              <a:gd name="connsiteY3030" fmla="*/ 2064841 h 6380470"/>
              <a:gd name="connsiteX3031" fmla="*/ 9693783 w 11625583"/>
              <a:gd name="connsiteY3031" fmla="*/ 2000175 h 6380470"/>
              <a:gd name="connsiteX3032" fmla="*/ 9541123 w 11625583"/>
              <a:gd name="connsiteY3032" fmla="*/ 2000175 h 6380470"/>
              <a:gd name="connsiteX3033" fmla="*/ 9605789 w 11625583"/>
              <a:gd name="connsiteY3033" fmla="*/ 2064841 h 6380470"/>
              <a:gd name="connsiteX3034" fmla="*/ 9541123 w 11625583"/>
              <a:gd name="connsiteY3034" fmla="*/ 2129508 h 6380470"/>
              <a:gd name="connsiteX3035" fmla="*/ 9476457 w 11625583"/>
              <a:gd name="connsiteY3035" fmla="*/ 2064841 h 6380470"/>
              <a:gd name="connsiteX3036" fmla="*/ 9541123 w 11625583"/>
              <a:gd name="connsiteY3036" fmla="*/ 2000175 h 6380470"/>
              <a:gd name="connsiteX3037" fmla="*/ 9384550 w 11625583"/>
              <a:gd name="connsiteY3037" fmla="*/ 2000175 h 6380470"/>
              <a:gd name="connsiteX3038" fmla="*/ 9449216 w 11625583"/>
              <a:gd name="connsiteY3038" fmla="*/ 2064841 h 6380470"/>
              <a:gd name="connsiteX3039" fmla="*/ 9384550 w 11625583"/>
              <a:gd name="connsiteY3039" fmla="*/ 2129508 h 6380470"/>
              <a:gd name="connsiteX3040" fmla="*/ 9319884 w 11625583"/>
              <a:gd name="connsiteY3040" fmla="*/ 2064841 h 6380470"/>
              <a:gd name="connsiteX3041" fmla="*/ 9384550 w 11625583"/>
              <a:gd name="connsiteY3041" fmla="*/ 2000175 h 6380470"/>
              <a:gd name="connsiteX3042" fmla="*/ 9227977 w 11625583"/>
              <a:gd name="connsiteY3042" fmla="*/ 2000175 h 6380470"/>
              <a:gd name="connsiteX3043" fmla="*/ 9292643 w 11625583"/>
              <a:gd name="connsiteY3043" fmla="*/ 2064841 h 6380470"/>
              <a:gd name="connsiteX3044" fmla="*/ 9227977 w 11625583"/>
              <a:gd name="connsiteY3044" fmla="*/ 2129508 h 6380470"/>
              <a:gd name="connsiteX3045" fmla="*/ 9163311 w 11625583"/>
              <a:gd name="connsiteY3045" fmla="*/ 2064841 h 6380470"/>
              <a:gd name="connsiteX3046" fmla="*/ 9227977 w 11625583"/>
              <a:gd name="connsiteY3046" fmla="*/ 2000175 h 6380470"/>
              <a:gd name="connsiteX3047" fmla="*/ 9075319 w 11625583"/>
              <a:gd name="connsiteY3047" fmla="*/ 2000175 h 6380470"/>
              <a:gd name="connsiteX3048" fmla="*/ 9139985 w 11625583"/>
              <a:gd name="connsiteY3048" fmla="*/ 2064841 h 6380470"/>
              <a:gd name="connsiteX3049" fmla="*/ 9075319 w 11625583"/>
              <a:gd name="connsiteY3049" fmla="*/ 2129508 h 6380470"/>
              <a:gd name="connsiteX3050" fmla="*/ 9010653 w 11625583"/>
              <a:gd name="connsiteY3050" fmla="*/ 2064841 h 6380470"/>
              <a:gd name="connsiteX3051" fmla="*/ 9075319 w 11625583"/>
              <a:gd name="connsiteY3051" fmla="*/ 2000175 h 6380470"/>
              <a:gd name="connsiteX3052" fmla="*/ 8914831 w 11625583"/>
              <a:gd name="connsiteY3052" fmla="*/ 2000175 h 6380470"/>
              <a:gd name="connsiteX3053" fmla="*/ 8979497 w 11625583"/>
              <a:gd name="connsiteY3053" fmla="*/ 2064841 h 6380470"/>
              <a:gd name="connsiteX3054" fmla="*/ 8914831 w 11625583"/>
              <a:gd name="connsiteY3054" fmla="*/ 2129508 h 6380470"/>
              <a:gd name="connsiteX3055" fmla="*/ 8850165 w 11625583"/>
              <a:gd name="connsiteY3055" fmla="*/ 2064841 h 6380470"/>
              <a:gd name="connsiteX3056" fmla="*/ 8914831 w 11625583"/>
              <a:gd name="connsiteY3056" fmla="*/ 2000175 h 6380470"/>
              <a:gd name="connsiteX3057" fmla="*/ 8766086 w 11625583"/>
              <a:gd name="connsiteY3057" fmla="*/ 2000175 h 6380470"/>
              <a:gd name="connsiteX3058" fmla="*/ 8830752 w 11625583"/>
              <a:gd name="connsiteY3058" fmla="*/ 2064841 h 6380470"/>
              <a:gd name="connsiteX3059" fmla="*/ 8766086 w 11625583"/>
              <a:gd name="connsiteY3059" fmla="*/ 2129508 h 6380470"/>
              <a:gd name="connsiteX3060" fmla="*/ 8701420 w 11625583"/>
              <a:gd name="connsiteY3060" fmla="*/ 2064841 h 6380470"/>
              <a:gd name="connsiteX3061" fmla="*/ 8766086 w 11625583"/>
              <a:gd name="connsiteY3061" fmla="*/ 2000175 h 6380470"/>
              <a:gd name="connsiteX3062" fmla="*/ 8601685 w 11625583"/>
              <a:gd name="connsiteY3062" fmla="*/ 2000175 h 6380470"/>
              <a:gd name="connsiteX3063" fmla="*/ 8666351 w 11625583"/>
              <a:gd name="connsiteY3063" fmla="*/ 2064841 h 6380470"/>
              <a:gd name="connsiteX3064" fmla="*/ 8601685 w 11625583"/>
              <a:gd name="connsiteY3064" fmla="*/ 2129508 h 6380470"/>
              <a:gd name="connsiteX3065" fmla="*/ 8537019 w 11625583"/>
              <a:gd name="connsiteY3065" fmla="*/ 2064841 h 6380470"/>
              <a:gd name="connsiteX3066" fmla="*/ 8601685 w 11625583"/>
              <a:gd name="connsiteY3066" fmla="*/ 2000175 h 6380470"/>
              <a:gd name="connsiteX3067" fmla="*/ 8449025 w 11625583"/>
              <a:gd name="connsiteY3067" fmla="*/ 2000175 h 6380470"/>
              <a:gd name="connsiteX3068" fmla="*/ 8513691 w 11625583"/>
              <a:gd name="connsiteY3068" fmla="*/ 2064841 h 6380470"/>
              <a:gd name="connsiteX3069" fmla="*/ 8449025 w 11625583"/>
              <a:gd name="connsiteY3069" fmla="*/ 2129508 h 6380470"/>
              <a:gd name="connsiteX3070" fmla="*/ 8384359 w 11625583"/>
              <a:gd name="connsiteY3070" fmla="*/ 2064841 h 6380470"/>
              <a:gd name="connsiteX3071" fmla="*/ 8449025 w 11625583"/>
              <a:gd name="connsiteY3071" fmla="*/ 2000175 h 6380470"/>
              <a:gd name="connsiteX3072" fmla="*/ 8296368 w 11625583"/>
              <a:gd name="connsiteY3072" fmla="*/ 2000175 h 6380470"/>
              <a:gd name="connsiteX3073" fmla="*/ 8361034 w 11625583"/>
              <a:gd name="connsiteY3073" fmla="*/ 2064841 h 6380470"/>
              <a:gd name="connsiteX3074" fmla="*/ 8296368 w 11625583"/>
              <a:gd name="connsiteY3074" fmla="*/ 2129508 h 6380470"/>
              <a:gd name="connsiteX3075" fmla="*/ 8231702 w 11625583"/>
              <a:gd name="connsiteY3075" fmla="*/ 2064841 h 6380470"/>
              <a:gd name="connsiteX3076" fmla="*/ 8296368 w 11625583"/>
              <a:gd name="connsiteY3076" fmla="*/ 2000175 h 6380470"/>
              <a:gd name="connsiteX3077" fmla="*/ 8139793 w 11625583"/>
              <a:gd name="connsiteY3077" fmla="*/ 2000175 h 6380470"/>
              <a:gd name="connsiteX3078" fmla="*/ 8204459 w 11625583"/>
              <a:gd name="connsiteY3078" fmla="*/ 2064841 h 6380470"/>
              <a:gd name="connsiteX3079" fmla="*/ 8139793 w 11625583"/>
              <a:gd name="connsiteY3079" fmla="*/ 2129508 h 6380470"/>
              <a:gd name="connsiteX3080" fmla="*/ 8075127 w 11625583"/>
              <a:gd name="connsiteY3080" fmla="*/ 2064841 h 6380470"/>
              <a:gd name="connsiteX3081" fmla="*/ 8139793 w 11625583"/>
              <a:gd name="connsiteY3081" fmla="*/ 2000175 h 6380470"/>
              <a:gd name="connsiteX3082" fmla="*/ 7987133 w 11625583"/>
              <a:gd name="connsiteY3082" fmla="*/ 2000175 h 6380470"/>
              <a:gd name="connsiteX3083" fmla="*/ 8051799 w 11625583"/>
              <a:gd name="connsiteY3083" fmla="*/ 2064841 h 6380470"/>
              <a:gd name="connsiteX3084" fmla="*/ 7987133 w 11625583"/>
              <a:gd name="connsiteY3084" fmla="*/ 2129508 h 6380470"/>
              <a:gd name="connsiteX3085" fmla="*/ 7922467 w 11625583"/>
              <a:gd name="connsiteY3085" fmla="*/ 2064841 h 6380470"/>
              <a:gd name="connsiteX3086" fmla="*/ 7987133 w 11625583"/>
              <a:gd name="connsiteY3086" fmla="*/ 2000175 h 6380470"/>
              <a:gd name="connsiteX3087" fmla="*/ 7830562 w 11625583"/>
              <a:gd name="connsiteY3087" fmla="*/ 2000175 h 6380470"/>
              <a:gd name="connsiteX3088" fmla="*/ 7895228 w 11625583"/>
              <a:gd name="connsiteY3088" fmla="*/ 2064841 h 6380470"/>
              <a:gd name="connsiteX3089" fmla="*/ 7830562 w 11625583"/>
              <a:gd name="connsiteY3089" fmla="*/ 2129508 h 6380470"/>
              <a:gd name="connsiteX3090" fmla="*/ 7765896 w 11625583"/>
              <a:gd name="connsiteY3090" fmla="*/ 2064841 h 6380470"/>
              <a:gd name="connsiteX3091" fmla="*/ 7830562 w 11625583"/>
              <a:gd name="connsiteY3091" fmla="*/ 2000175 h 6380470"/>
              <a:gd name="connsiteX3092" fmla="*/ 7677904 w 11625583"/>
              <a:gd name="connsiteY3092" fmla="*/ 2000175 h 6380470"/>
              <a:gd name="connsiteX3093" fmla="*/ 7742570 w 11625583"/>
              <a:gd name="connsiteY3093" fmla="*/ 2064841 h 6380470"/>
              <a:gd name="connsiteX3094" fmla="*/ 7677904 w 11625583"/>
              <a:gd name="connsiteY3094" fmla="*/ 2129508 h 6380470"/>
              <a:gd name="connsiteX3095" fmla="*/ 7613238 w 11625583"/>
              <a:gd name="connsiteY3095" fmla="*/ 2064841 h 6380470"/>
              <a:gd name="connsiteX3096" fmla="*/ 7677904 w 11625583"/>
              <a:gd name="connsiteY3096" fmla="*/ 2000175 h 6380470"/>
              <a:gd name="connsiteX3097" fmla="*/ 7521331 w 11625583"/>
              <a:gd name="connsiteY3097" fmla="*/ 2000175 h 6380470"/>
              <a:gd name="connsiteX3098" fmla="*/ 7585997 w 11625583"/>
              <a:gd name="connsiteY3098" fmla="*/ 2064841 h 6380470"/>
              <a:gd name="connsiteX3099" fmla="*/ 7521331 w 11625583"/>
              <a:gd name="connsiteY3099" fmla="*/ 2129508 h 6380470"/>
              <a:gd name="connsiteX3100" fmla="*/ 7456665 w 11625583"/>
              <a:gd name="connsiteY3100" fmla="*/ 2064841 h 6380470"/>
              <a:gd name="connsiteX3101" fmla="*/ 7521331 w 11625583"/>
              <a:gd name="connsiteY3101" fmla="*/ 2000175 h 6380470"/>
              <a:gd name="connsiteX3102" fmla="*/ 7368669 w 11625583"/>
              <a:gd name="connsiteY3102" fmla="*/ 2000175 h 6380470"/>
              <a:gd name="connsiteX3103" fmla="*/ 7433335 w 11625583"/>
              <a:gd name="connsiteY3103" fmla="*/ 2064841 h 6380470"/>
              <a:gd name="connsiteX3104" fmla="*/ 7368669 w 11625583"/>
              <a:gd name="connsiteY3104" fmla="*/ 2129508 h 6380470"/>
              <a:gd name="connsiteX3105" fmla="*/ 7304003 w 11625583"/>
              <a:gd name="connsiteY3105" fmla="*/ 2064841 h 6380470"/>
              <a:gd name="connsiteX3106" fmla="*/ 7368669 w 11625583"/>
              <a:gd name="connsiteY3106" fmla="*/ 2000175 h 6380470"/>
              <a:gd name="connsiteX3107" fmla="*/ 7212096 w 11625583"/>
              <a:gd name="connsiteY3107" fmla="*/ 2000175 h 6380470"/>
              <a:gd name="connsiteX3108" fmla="*/ 7276762 w 11625583"/>
              <a:gd name="connsiteY3108" fmla="*/ 2064841 h 6380470"/>
              <a:gd name="connsiteX3109" fmla="*/ 7212096 w 11625583"/>
              <a:gd name="connsiteY3109" fmla="*/ 2129508 h 6380470"/>
              <a:gd name="connsiteX3110" fmla="*/ 7147430 w 11625583"/>
              <a:gd name="connsiteY3110" fmla="*/ 2064841 h 6380470"/>
              <a:gd name="connsiteX3111" fmla="*/ 7212096 w 11625583"/>
              <a:gd name="connsiteY3111" fmla="*/ 2000175 h 6380470"/>
              <a:gd name="connsiteX3112" fmla="*/ 7055523 w 11625583"/>
              <a:gd name="connsiteY3112" fmla="*/ 2000175 h 6380470"/>
              <a:gd name="connsiteX3113" fmla="*/ 7120189 w 11625583"/>
              <a:gd name="connsiteY3113" fmla="*/ 2064841 h 6380470"/>
              <a:gd name="connsiteX3114" fmla="*/ 7055523 w 11625583"/>
              <a:gd name="connsiteY3114" fmla="*/ 2129508 h 6380470"/>
              <a:gd name="connsiteX3115" fmla="*/ 6990857 w 11625583"/>
              <a:gd name="connsiteY3115" fmla="*/ 2064841 h 6380470"/>
              <a:gd name="connsiteX3116" fmla="*/ 7055523 w 11625583"/>
              <a:gd name="connsiteY3116" fmla="*/ 2000175 h 6380470"/>
              <a:gd name="connsiteX3117" fmla="*/ 6895037 w 11625583"/>
              <a:gd name="connsiteY3117" fmla="*/ 2000175 h 6380470"/>
              <a:gd name="connsiteX3118" fmla="*/ 6959703 w 11625583"/>
              <a:gd name="connsiteY3118" fmla="*/ 2064841 h 6380470"/>
              <a:gd name="connsiteX3119" fmla="*/ 6895037 w 11625583"/>
              <a:gd name="connsiteY3119" fmla="*/ 2129508 h 6380470"/>
              <a:gd name="connsiteX3120" fmla="*/ 6830371 w 11625583"/>
              <a:gd name="connsiteY3120" fmla="*/ 2064841 h 6380470"/>
              <a:gd name="connsiteX3121" fmla="*/ 6895037 w 11625583"/>
              <a:gd name="connsiteY3121" fmla="*/ 2000175 h 6380470"/>
              <a:gd name="connsiteX3122" fmla="*/ 6742377 w 11625583"/>
              <a:gd name="connsiteY3122" fmla="*/ 2000175 h 6380470"/>
              <a:gd name="connsiteX3123" fmla="*/ 6807043 w 11625583"/>
              <a:gd name="connsiteY3123" fmla="*/ 2064841 h 6380470"/>
              <a:gd name="connsiteX3124" fmla="*/ 6742377 w 11625583"/>
              <a:gd name="connsiteY3124" fmla="*/ 2129508 h 6380470"/>
              <a:gd name="connsiteX3125" fmla="*/ 6677711 w 11625583"/>
              <a:gd name="connsiteY3125" fmla="*/ 2064841 h 6380470"/>
              <a:gd name="connsiteX3126" fmla="*/ 6742377 w 11625583"/>
              <a:gd name="connsiteY3126" fmla="*/ 2000175 h 6380470"/>
              <a:gd name="connsiteX3127" fmla="*/ 6585804 w 11625583"/>
              <a:gd name="connsiteY3127" fmla="*/ 2000175 h 6380470"/>
              <a:gd name="connsiteX3128" fmla="*/ 6650470 w 11625583"/>
              <a:gd name="connsiteY3128" fmla="*/ 2064841 h 6380470"/>
              <a:gd name="connsiteX3129" fmla="*/ 6585804 w 11625583"/>
              <a:gd name="connsiteY3129" fmla="*/ 2129508 h 6380470"/>
              <a:gd name="connsiteX3130" fmla="*/ 6521138 w 11625583"/>
              <a:gd name="connsiteY3130" fmla="*/ 2064841 h 6380470"/>
              <a:gd name="connsiteX3131" fmla="*/ 6585804 w 11625583"/>
              <a:gd name="connsiteY3131" fmla="*/ 2000175 h 6380470"/>
              <a:gd name="connsiteX3132" fmla="*/ 6429231 w 11625583"/>
              <a:gd name="connsiteY3132" fmla="*/ 2000175 h 6380470"/>
              <a:gd name="connsiteX3133" fmla="*/ 6493897 w 11625583"/>
              <a:gd name="connsiteY3133" fmla="*/ 2064841 h 6380470"/>
              <a:gd name="connsiteX3134" fmla="*/ 6429231 w 11625583"/>
              <a:gd name="connsiteY3134" fmla="*/ 2129508 h 6380470"/>
              <a:gd name="connsiteX3135" fmla="*/ 6364565 w 11625583"/>
              <a:gd name="connsiteY3135" fmla="*/ 2064841 h 6380470"/>
              <a:gd name="connsiteX3136" fmla="*/ 6429231 w 11625583"/>
              <a:gd name="connsiteY3136" fmla="*/ 2000175 h 6380470"/>
              <a:gd name="connsiteX3137" fmla="*/ 6276571 w 11625583"/>
              <a:gd name="connsiteY3137" fmla="*/ 2000175 h 6380470"/>
              <a:gd name="connsiteX3138" fmla="*/ 6341237 w 11625583"/>
              <a:gd name="connsiteY3138" fmla="*/ 2064841 h 6380470"/>
              <a:gd name="connsiteX3139" fmla="*/ 6276571 w 11625583"/>
              <a:gd name="connsiteY3139" fmla="*/ 2129508 h 6380470"/>
              <a:gd name="connsiteX3140" fmla="*/ 6211905 w 11625583"/>
              <a:gd name="connsiteY3140" fmla="*/ 2064841 h 6380470"/>
              <a:gd name="connsiteX3141" fmla="*/ 6276571 w 11625583"/>
              <a:gd name="connsiteY3141" fmla="*/ 2000175 h 6380470"/>
              <a:gd name="connsiteX3142" fmla="*/ 6119999 w 11625583"/>
              <a:gd name="connsiteY3142" fmla="*/ 2000175 h 6380470"/>
              <a:gd name="connsiteX3143" fmla="*/ 6184665 w 11625583"/>
              <a:gd name="connsiteY3143" fmla="*/ 2064841 h 6380470"/>
              <a:gd name="connsiteX3144" fmla="*/ 6119999 w 11625583"/>
              <a:gd name="connsiteY3144" fmla="*/ 2129508 h 6380470"/>
              <a:gd name="connsiteX3145" fmla="*/ 6055333 w 11625583"/>
              <a:gd name="connsiteY3145" fmla="*/ 2064841 h 6380470"/>
              <a:gd name="connsiteX3146" fmla="*/ 6119999 w 11625583"/>
              <a:gd name="connsiteY3146" fmla="*/ 2000175 h 6380470"/>
              <a:gd name="connsiteX3147" fmla="*/ 5967339 w 11625583"/>
              <a:gd name="connsiteY3147" fmla="*/ 2000175 h 6380470"/>
              <a:gd name="connsiteX3148" fmla="*/ 6032005 w 11625583"/>
              <a:gd name="connsiteY3148" fmla="*/ 2064841 h 6380470"/>
              <a:gd name="connsiteX3149" fmla="*/ 5967339 w 11625583"/>
              <a:gd name="connsiteY3149" fmla="*/ 2129508 h 6380470"/>
              <a:gd name="connsiteX3150" fmla="*/ 5902673 w 11625583"/>
              <a:gd name="connsiteY3150" fmla="*/ 2064841 h 6380470"/>
              <a:gd name="connsiteX3151" fmla="*/ 5967339 w 11625583"/>
              <a:gd name="connsiteY3151" fmla="*/ 2000175 h 6380470"/>
              <a:gd name="connsiteX3152" fmla="*/ 5810796 w 11625583"/>
              <a:gd name="connsiteY3152" fmla="*/ 2000175 h 6380470"/>
              <a:gd name="connsiteX3153" fmla="*/ 5875432 w 11625583"/>
              <a:gd name="connsiteY3153" fmla="*/ 2064841 h 6380470"/>
              <a:gd name="connsiteX3154" fmla="*/ 5810796 w 11625583"/>
              <a:gd name="connsiteY3154" fmla="*/ 2129508 h 6380470"/>
              <a:gd name="connsiteX3155" fmla="*/ 5746114 w 11625583"/>
              <a:gd name="connsiteY3155" fmla="*/ 2064841 h 6380470"/>
              <a:gd name="connsiteX3156" fmla="*/ 5810796 w 11625583"/>
              <a:gd name="connsiteY3156" fmla="*/ 2000175 h 6380470"/>
              <a:gd name="connsiteX3157" fmla="*/ 5658111 w 11625583"/>
              <a:gd name="connsiteY3157" fmla="*/ 2000175 h 6380470"/>
              <a:gd name="connsiteX3158" fmla="*/ 5722783 w 11625583"/>
              <a:gd name="connsiteY3158" fmla="*/ 2064841 h 6380470"/>
              <a:gd name="connsiteX3159" fmla="*/ 5658111 w 11625583"/>
              <a:gd name="connsiteY3159" fmla="*/ 2129508 h 6380470"/>
              <a:gd name="connsiteX3160" fmla="*/ 5593443 w 11625583"/>
              <a:gd name="connsiteY3160" fmla="*/ 2064841 h 6380470"/>
              <a:gd name="connsiteX3161" fmla="*/ 5658111 w 11625583"/>
              <a:gd name="connsiteY3161" fmla="*/ 2000175 h 6380470"/>
              <a:gd name="connsiteX3162" fmla="*/ 5501543 w 11625583"/>
              <a:gd name="connsiteY3162" fmla="*/ 2000175 h 6380470"/>
              <a:gd name="connsiteX3163" fmla="*/ 5566204 w 11625583"/>
              <a:gd name="connsiteY3163" fmla="*/ 2064841 h 6380470"/>
              <a:gd name="connsiteX3164" fmla="*/ 5501543 w 11625583"/>
              <a:gd name="connsiteY3164" fmla="*/ 2129508 h 6380470"/>
              <a:gd name="connsiteX3165" fmla="*/ 5436884 w 11625583"/>
              <a:gd name="connsiteY3165" fmla="*/ 2064841 h 6380470"/>
              <a:gd name="connsiteX3166" fmla="*/ 5501543 w 11625583"/>
              <a:gd name="connsiteY3166" fmla="*/ 2000175 h 6380470"/>
              <a:gd name="connsiteX3167" fmla="*/ 3630587 w 11625583"/>
              <a:gd name="connsiteY3167" fmla="*/ 2000175 h 6380470"/>
              <a:gd name="connsiteX3168" fmla="*/ 3695253 w 11625583"/>
              <a:gd name="connsiteY3168" fmla="*/ 2064841 h 6380470"/>
              <a:gd name="connsiteX3169" fmla="*/ 3630587 w 11625583"/>
              <a:gd name="connsiteY3169" fmla="*/ 2129508 h 6380470"/>
              <a:gd name="connsiteX3170" fmla="*/ 3565911 w 11625583"/>
              <a:gd name="connsiteY3170" fmla="*/ 2064841 h 6380470"/>
              <a:gd name="connsiteX3171" fmla="*/ 3630587 w 11625583"/>
              <a:gd name="connsiteY3171" fmla="*/ 2000175 h 6380470"/>
              <a:gd name="connsiteX3172" fmla="*/ 3481836 w 11625583"/>
              <a:gd name="connsiteY3172" fmla="*/ 2000175 h 6380470"/>
              <a:gd name="connsiteX3173" fmla="*/ 3546503 w 11625583"/>
              <a:gd name="connsiteY3173" fmla="*/ 2064841 h 6380470"/>
              <a:gd name="connsiteX3174" fmla="*/ 3481836 w 11625583"/>
              <a:gd name="connsiteY3174" fmla="*/ 2129508 h 6380470"/>
              <a:gd name="connsiteX3175" fmla="*/ 3417179 w 11625583"/>
              <a:gd name="connsiteY3175" fmla="*/ 2064841 h 6380470"/>
              <a:gd name="connsiteX3176" fmla="*/ 3481836 w 11625583"/>
              <a:gd name="connsiteY3176" fmla="*/ 2000175 h 6380470"/>
              <a:gd name="connsiteX3177" fmla="*/ 3321368 w 11625583"/>
              <a:gd name="connsiteY3177" fmla="*/ 2000175 h 6380470"/>
              <a:gd name="connsiteX3178" fmla="*/ 3386016 w 11625583"/>
              <a:gd name="connsiteY3178" fmla="*/ 2064841 h 6380470"/>
              <a:gd name="connsiteX3179" fmla="*/ 3321368 w 11625583"/>
              <a:gd name="connsiteY3179" fmla="*/ 2129508 h 6380470"/>
              <a:gd name="connsiteX3180" fmla="*/ 3256702 w 11625583"/>
              <a:gd name="connsiteY3180" fmla="*/ 2064841 h 6380470"/>
              <a:gd name="connsiteX3181" fmla="*/ 3321368 w 11625583"/>
              <a:gd name="connsiteY3181" fmla="*/ 2000175 h 6380470"/>
              <a:gd name="connsiteX3182" fmla="*/ 3172613 w 11625583"/>
              <a:gd name="connsiteY3182" fmla="*/ 2000175 h 6380470"/>
              <a:gd name="connsiteX3183" fmla="*/ 3237285 w 11625583"/>
              <a:gd name="connsiteY3183" fmla="*/ 2064841 h 6380470"/>
              <a:gd name="connsiteX3184" fmla="*/ 3172613 w 11625583"/>
              <a:gd name="connsiteY3184" fmla="*/ 2129508 h 6380470"/>
              <a:gd name="connsiteX3185" fmla="*/ 3107933 w 11625583"/>
              <a:gd name="connsiteY3185" fmla="*/ 2064841 h 6380470"/>
              <a:gd name="connsiteX3186" fmla="*/ 3172613 w 11625583"/>
              <a:gd name="connsiteY3186" fmla="*/ 2000175 h 6380470"/>
              <a:gd name="connsiteX3187" fmla="*/ 3012103 w 11625583"/>
              <a:gd name="connsiteY3187" fmla="*/ 2000175 h 6380470"/>
              <a:gd name="connsiteX3188" fmla="*/ 3076772 w 11625583"/>
              <a:gd name="connsiteY3188" fmla="*/ 2064841 h 6380470"/>
              <a:gd name="connsiteX3189" fmla="*/ 3012103 w 11625583"/>
              <a:gd name="connsiteY3189" fmla="*/ 2129508 h 6380470"/>
              <a:gd name="connsiteX3190" fmla="*/ 2947444 w 11625583"/>
              <a:gd name="connsiteY3190" fmla="*/ 2064841 h 6380470"/>
              <a:gd name="connsiteX3191" fmla="*/ 3012103 w 11625583"/>
              <a:gd name="connsiteY3191" fmla="*/ 2000175 h 6380470"/>
              <a:gd name="connsiteX3192" fmla="*/ 2855546 w 11625583"/>
              <a:gd name="connsiteY3192" fmla="*/ 2000175 h 6380470"/>
              <a:gd name="connsiteX3193" fmla="*/ 2920205 w 11625583"/>
              <a:gd name="connsiteY3193" fmla="*/ 2064841 h 6380470"/>
              <a:gd name="connsiteX3194" fmla="*/ 2855546 w 11625583"/>
              <a:gd name="connsiteY3194" fmla="*/ 2129508 h 6380470"/>
              <a:gd name="connsiteX3195" fmla="*/ 2790888 w 11625583"/>
              <a:gd name="connsiteY3195" fmla="*/ 2064841 h 6380470"/>
              <a:gd name="connsiteX3196" fmla="*/ 2855546 w 11625583"/>
              <a:gd name="connsiteY3196" fmla="*/ 2000175 h 6380470"/>
              <a:gd name="connsiteX3197" fmla="*/ 2698992 w 11625583"/>
              <a:gd name="connsiteY3197" fmla="*/ 2000175 h 6380470"/>
              <a:gd name="connsiteX3198" fmla="*/ 2763651 w 11625583"/>
              <a:gd name="connsiteY3198" fmla="*/ 2064841 h 6380470"/>
              <a:gd name="connsiteX3199" fmla="*/ 2698992 w 11625583"/>
              <a:gd name="connsiteY3199" fmla="*/ 2129508 h 6380470"/>
              <a:gd name="connsiteX3200" fmla="*/ 2634334 w 11625583"/>
              <a:gd name="connsiteY3200" fmla="*/ 2064841 h 6380470"/>
              <a:gd name="connsiteX3201" fmla="*/ 2698992 w 11625583"/>
              <a:gd name="connsiteY3201" fmla="*/ 2000175 h 6380470"/>
              <a:gd name="connsiteX3202" fmla="*/ 2546352 w 11625583"/>
              <a:gd name="connsiteY3202" fmla="*/ 2000175 h 6380470"/>
              <a:gd name="connsiteX3203" fmla="*/ 2611012 w 11625583"/>
              <a:gd name="connsiteY3203" fmla="*/ 2064841 h 6380470"/>
              <a:gd name="connsiteX3204" fmla="*/ 2546352 w 11625583"/>
              <a:gd name="connsiteY3204" fmla="*/ 2129508 h 6380470"/>
              <a:gd name="connsiteX3205" fmla="*/ 2481692 w 11625583"/>
              <a:gd name="connsiteY3205" fmla="*/ 2064841 h 6380470"/>
              <a:gd name="connsiteX3206" fmla="*/ 2546352 w 11625583"/>
              <a:gd name="connsiteY3206" fmla="*/ 2000175 h 6380470"/>
              <a:gd name="connsiteX3207" fmla="*/ 2389761 w 11625583"/>
              <a:gd name="connsiteY3207" fmla="*/ 2000175 h 6380470"/>
              <a:gd name="connsiteX3208" fmla="*/ 2454456 w 11625583"/>
              <a:gd name="connsiteY3208" fmla="*/ 2064841 h 6380470"/>
              <a:gd name="connsiteX3209" fmla="*/ 2389761 w 11625583"/>
              <a:gd name="connsiteY3209" fmla="*/ 2129508 h 6380470"/>
              <a:gd name="connsiteX3210" fmla="*/ 2325118 w 11625583"/>
              <a:gd name="connsiteY3210" fmla="*/ 2064841 h 6380470"/>
              <a:gd name="connsiteX3211" fmla="*/ 2389761 w 11625583"/>
              <a:gd name="connsiteY3211" fmla="*/ 2000175 h 6380470"/>
              <a:gd name="connsiteX3212" fmla="*/ 2237104 w 11625583"/>
              <a:gd name="connsiteY3212" fmla="*/ 2000175 h 6380470"/>
              <a:gd name="connsiteX3213" fmla="*/ 2301785 w 11625583"/>
              <a:gd name="connsiteY3213" fmla="*/ 2064841 h 6380470"/>
              <a:gd name="connsiteX3214" fmla="*/ 2237104 w 11625583"/>
              <a:gd name="connsiteY3214" fmla="*/ 2129508 h 6380470"/>
              <a:gd name="connsiteX3215" fmla="*/ 2172423 w 11625583"/>
              <a:gd name="connsiteY3215" fmla="*/ 2064841 h 6380470"/>
              <a:gd name="connsiteX3216" fmla="*/ 2237104 w 11625583"/>
              <a:gd name="connsiteY3216" fmla="*/ 2000175 h 6380470"/>
              <a:gd name="connsiteX3217" fmla="*/ 2084427 w 11625583"/>
              <a:gd name="connsiteY3217" fmla="*/ 2000175 h 6380470"/>
              <a:gd name="connsiteX3218" fmla="*/ 2149089 w 11625583"/>
              <a:gd name="connsiteY3218" fmla="*/ 2064841 h 6380470"/>
              <a:gd name="connsiteX3219" fmla="*/ 2084427 w 11625583"/>
              <a:gd name="connsiteY3219" fmla="*/ 2129508 h 6380470"/>
              <a:gd name="connsiteX3220" fmla="*/ 2019780 w 11625583"/>
              <a:gd name="connsiteY3220" fmla="*/ 2064841 h 6380470"/>
              <a:gd name="connsiteX3221" fmla="*/ 2084427 w 11625583"/>
              <a:gd name="connsiteY3221" fmla="*/ 2000175 h 6380470"/>
              <a:gd name="connsiteX3222" fmla="*/ 1927843 w 11625583"/>
              <a:gd name="connsiteY3222" fmla="*/ 2000175 h 6380470"/>
              <a:gd name="connsiteX3223" fmla="*/ 1992527 w 11625583"/>
              <a:gd name="connsiteY3223" fmla="*/ 2064841 h 6380470"/>
              <a:gd name="connsiteX3224" fmla="*/ 1927843 w 11625583"/>
              <a:gd name="connsiteY3224" fmla="*/ 2129508 h 6380470"/>
              <a:gd name="connsiteX3225" fmla="*/ 1863202 w 11625583"/>
              <a:gd name="connsiteY3225" fmla="*/ 2064841 h 6380470"/>
              <a:gd name="connsiteX3226" fmla="*/ 1927843 w 11625583"/>
              <a:gd name="connsiteY3226" fmla="*/ 2000175 h 6380470"/>
              <a:gd name="connsiteX3227" fmla="*/ 1775193 w 11625583"/>
              <a:gd name="connsiteY3227" fmla="*/ 2000175 h 6380470"/>
              <a:gd name="connsiteX3228" fmla="*/ 1839873 w 11625583"/>
              <a:gd name="connsiteY3228" fmla="*/ 2064841 h 6380470"/>
              <a:gd name="connsiteX3229" fmla="*/ 1775193 w 11625583"/>
              <a:gd name="connsiteY3229" fmla="*/ 2129508 h 6380470"/>
              <a:gd name="connsiteX3230" fmla="*/ 1710523 w 11625583"/>
              <a:gd name="connsiteY3230" fmla="*/ 2064841 h 6380470"/>
              <a:gd name="connsiteX3231" fmla="*/ 1775193 w 11625583"/>
              <a:gd name="connsiteY3231" fmla="*/ 2000175 h 6380470"/>
              <a:gd name="connsiteX3232" fmla="*/ 1618612 w 11625583"/>
              <a:gd name="connsiteY3232" fmla="*/ 2000175 h 6380470"/>
              <a:gd name="connsiteX3233" fmla="*/ 1683281 w 11625583"/>
              <a:gd name="connsiteY3233" fmla="*/ 2064841 h 6380470"/>
              <a:gd name="connsiteX3234" fmla="*/ 1618612 w 11625583"/>
              <a:gd name="connsiteY3234" fmla="*/ 2129508 h 6380470"/>
              <a:gd name="connsiteX3235" fmla="*/ 1553949 w 11625583"/>
              <a:gd name="connsiteY3235" fmla="*/ 2064841 h 6380470"/>
              <a:gd name="connsiteX3236" fmla="*/ 1618612 w 11625583"/>
              <a:gd name="connsiteY3236" fmla="*/ 2000175 h 6380470"/>
              <a:gd name="connsiteX3237" fmla="*/ 1465954 w 11625583"/>
              <a:gd name="connsiteY3237" fmla="*/ 2000175 h 6380470"/>
              <a:gd name="connsiteX3238" fmla="*/ 1530620 w 11625583"/>
              <a:gd name="connsiteY3238" fmla="*/ 2064841 h 6380470"/>
              <a:gd name="connsiteX3239" fmla="*/ 1465954 w 11625583"/>
              <a:gd name="connsiteY3239" fmla="*/ 2129508 h 6380470"/>
              <a:gd name="connsiteX3240" fmla="*/ 1401290 w 11625583"/>
              <a:gd name="connsiteY3240" fmla="*/ 2064841 h 6380470"/>
              <a:gd name="connsiteX3241" fmla="*/ 1465954 w 11625583"/>
              <a:gd name="connsiteY3241" fmla="*/ 2000175 h 6380470"/>
              <a:gd name="connsiteX3242" fmla="*/ 2237112 w 11625583"/>
              <a:gd name="connsiteY3242" fmla="*/ 1851452 h 6380470"/>
              <a:gd name="connsiteX3243" fmla="*/ 2301794 w 11625583"/>
              <a:gd name="connsiteY3243" fmla="*/ 1916117 h 6380470"/>
              <a:gd name="connsiteX3244" fmla="*/ 2237112 w 11625583"/>
              <a:gd name="connsiteY3244" fmla="*/ 1980764 h 6380470"/>
              <a:gd name="connsiteX3245" fmla="*/ 2172429 w 11625583"/>
              <a:gd name="connsiteY3245" fmla="*/ 1916117 h 6380470"/>
              <a:gd name="connsiteX3246" fmla="*/ 2237112 w 11625583"/>
              <a:gd name="connsiteY3246" fmla="*/ 1851452 h 6380470"/>
              <a:gd name="connsiteX3247" fmla="*/ 2084431 w 11625583"/>
              <a:gd name="connsiteY3247" fmla="*/ 1851452 h 6380470"/>
              <a:gd name="connsiteX3248" fmla="*/ 2149096 w 11625583"/>
              <a:gd name="connsiteY3248" fmla="*/ 1916117 h 6380470"/>
              <a:gd name="connsiteX3249" fmla="*/ 2084431 w 11625583"/>
              <a:gd name="connsiteY3249" fmla="*/ 1980764 h 6380470"/>
              <a:gd name="connsiteX3250" fmla="*/ 2019789 w 11625583"/>
              <a:gd name="connsiteY3250" fmla="*/ 1916117 h 6380470"/>
              <a:gd name="connsiteX3251" fmla="*/ 2084431 w 11625583"/>
              <a:gd name="connsiteY3251" fmla="*/ 1851452 h 6380470"/>
              <a:gd name="connsiteX3252" fmla="*/ 1927843 w 11625583"/>
              <a:gd name="connsiteY3252" fmla="*/ 1851452 h 6380470"/>
              <a:gd name="connsiteX3253" fmla="*/ 1992535 w 11625583"/>
              <a:gd name="connsiteY3253" fmla="*/ 1916117 h 6380470"/>
              <a:gd name="connsiteX3254" fmla="*/ 1927843 w 11625583"/>
              <a:gd name="connsiteY3254" fmla="*/ 1980764 h 6380470"/>
              <a:gd name="connsiteX3255" fmla="*/ 1863210 w 11625583"/>
              <a:gd name="connsiteY3255" fmla="*/ 1916117 h 6380470"/>
              <a:gd name="connsiteX3256" fmla="*/ 1927843 w 11625583"/>
              <a:gd name="connsiteY3256" fmla="*/ 1851452 h 6380470"/>
              <a:gd name="connsiteX3257" fmla="*/ 1775198 w 11625583"/>
              <a:gd name="connsiteY3257" fmla="*/ 1851452 h 6380470"/>
              <a:gd name="connsiteX3258" fmla="*/ 1839879 w 11625583"/>
              <a:gd name="connsiteY3258" fmla="*/ 1916117 h 6380470"/>
              <a:gd name="connsiteX3259" fmla="*/ 1775198 w 11625583"/>
              <a:gd name="connsiteY3259" fmla="*/ 1980764 h 6380470"/>
              <a:gd name="connsiteX3260" fmla="*/ 1710529 w 11625583"/>
              <a:gd name="connsiteY3260" fmla="*/ 1916117 h 6380470"/>
              <a:gd name="connsiteX3261" fmla="*/ 1775198 w 11625583"/>
              <a:gd name="connsiteY3261" fmla="*/ 1851452 h 6380470"/>
              <a:gd name="connsiteX3262" fmla="*/ 1618616 w 11625583"/>
              <a:gd name="connsiteY3262" fmla="*/ 1851452 h 6380470"/>
              <a:gd name="connsiteX3263" fmla="*/ 1683287 w 11625583"/>
              <a:gd name="connsiteY3263" fmla="*/ 1916117 h 6380470"/>
              <a:gd name="connsiteX3264" fmla="*/ 1618616 w 11625583"/>
              <a:gd name="connsiteY3264" fmla="*/ 1980764 h 6380470"/>
              <a:gd name="connsiteX3265" fmla="*/ 1553953 w 11625583"/>
              <a:gd name="connsiteY3265" fmla="*/ 1916117 h 6380470"/>
              <a:gd name="connsiteX3266" fmla="*/ 1618616 w 11625583"/>
              <a:gd name="connsiteY3266" fmla="*/ 1851452 h 6380470"/>
              <a:gd name="connsiteX3267" fmla="*/ 1465960 w 11625583"/>
              <a:gd name="connsiteY3267" fmla="*/ 1851450 h 6380470"/>
              <a:gd name="connsiteX3268" fmla="*/ 1530626 w 11625583"/>
              <a:gd name="connsiteY3268" fmla="*/ 1916115 h 6380470"/>
              <a:gd name="connsiteX3269" fmla="*/ 1465960 w 11625583"/>
              <a:gd name="connsiteY3269" fmla="*/ 1980761 h 6380470"/>
              <a:gd name="connsiteX3270" fmla="*/ 1401296 w 11625583"/>
              <a:gd name="connsiteY3270" fmla="*/ 1916115 h 6380470"/>
              <a:gd name="connsiteX3271" fmla="*/ 1465960 w 11625583"/>
              <a:gd name="connsiteY3271" fmla="*/ 1851450 h 6380470"/>
              <a:gd name="connsiteX3272" fmla="*/ 10625394 w 11625583"/>
              <a:gd name="connsiteY3272" fmla="*/ 1851450 h 6380470"/>
              <a:gd name="connsiteX3273" fmla="*/ 10690060 w 11625583"/>
              <a:gd name="connsiteY3273" fmla="*/ 1916114 h 6380470"/>
              <a:gd name="connsiteX3274" fmla="*/ 10625394 w 11625583"/>
              <a:gd name="connsiteY3274" fmla="*/ 1980760 h 6380470"/>
              <a:gd name="connsiteX3275" fmla="*/ 10560728 w 11625583"/>
              <a:gd name="connsiteY3275" fmla="*/ 1916114 h 6380470"/>
              <a:gd name="connsiteX3276" fmla="*/ 10625394 w 11625583"/>
              <a:gd name="connsiteY3276" fmla="*/ 1851450 h 6380470"/>
              <a:gd name="connsiteX3277" fmla="*/ 10159588 w 11625583"/>
              <a:gd name="connsiteY3277" fmla="*/ 1851450 h 6380470"/>
              <a:gd name="connsiteX3278" fmla="*/ 10224254 w 11625583"/>
              <a:gd name="connsiteY3278" fmla="*/ 1916114 h 6380470"/>
              <a:gd name="connsiteX3279" fmla="*/ 10159588 w 11625583"/>
              <a:gd name="connsiteY3279" fmla="*/ 1980760 h 6380470"/>
              <a:gd name="connsiteX3280" fmla="*/ 10094922 w 11625583"/>
              <a:gd name="connsiteY3280" fmla="*/ 1916114 h 6380470"/>
              <a:gd name="connsiteX3281" fmla="*/ 10159588 w 11625583"/>
              <a:gd name="connsiteY3281" fmla="*/ 1851450 h 6380470"/>
              <a:gd name="connsiteX3282" fmla="*/ 10003016 w 11625583"/>
              <a:gd name="connsiteY3282" fmla="*/ 1851450 h 6380470"/>
              <a:gd name="connsiteX3283" fmla="*/ 10067682 w 11625583"/>
              <a:gd name="connsiteY3283" fmla="*/ 1916114 h 6380470"/>
              <a:gd name="connsiteX3284" fmla="*/ 10003016 w 11625583"/>
              <a:gd name="connsiteY3284" fmla="*/ 1980760 h 6380470"/>
              <a:gd name="connsiteX3285" fmla="*/ 9938350 w 11625583"/>
              <a:gd name="connsiteY3285" fmla="*/ 1916114 h 6380470"/>
              <a:gd name="connsiteX3286" fmla="*/ 10003016 w 11625583"/>
              <a:gd name="connsiteY3286" fmla="*/ 1851450 h 6380470"/>
              <a:gd name="connsiteX3287" fmla="*/ 9850358 w 11625583"/>
              <a:gd name="connsiteY3287" fmla="*/ 1851450 h 6380470"/>
              <a:gd name="connsiteX3288" fmla="*/ 9915024 w 11625583"/>
              <a:gd name="connsiteY3288" fmla="*/ 1916114 h 6380470"/>
              <a:gd name="connsiteX3289" fmla="*/ 9850358 w 11625583"/>
              <a:gd name="connsiteY3289" fmla="*/ 1980760 h 6380470"/>
              <a:gd name="connsiteX3290" fmla="*/ 9785692 w 11625583"/>
              <a:gd name="connsiteY3290" fmla="*/ 1916114 h 6380470"/>
              <a:gd name="connsiteX3291" fmla="*/ 9850358 w 11625583"/>
              <a:gd name="connsiteY3291" fmla="*/ 1851450 h 6380470"/>
              <a:gd name="connsiteX3292" fmla="*/ 9693783 w 11625583"/>
              <a:gd name="connsiteY3292" fmla="*/ 1851450 h 6380470"/>
              <a:gd name="connsiteX3293" fmla="*/ 9758449 w 11625583"/>
              <a:gd name="connsiteY3293" fmla="*/ 1916114 h 6380470"/>
              <a:gd name="connsiteX3294" fmla="*/ 9693783 w 11625583"/>
              <a:gd name="connsiteY3294" fmla="*/ 1980760 h 6380470"/>
              <a:gd name="connsiteX3295" fmla="*/ 9629117 w 11625583"/>
              <a:gd name="connsiteY3295" fmla="*/ 1916114 h 6380470"/>
              <a:gd name="connsiteX3296" fmla="*/ 9693783 w 11625583"/>
              <a:gd name="connsiteY3296" fmla="*/ 1851450 h 6380470"/>
              <a:gd name="connsiteX3297" fmla="*/ 9541123 w 11625583"/>
              <a:gd name="connsiteY3297" fmla="*/ 1851450 h 6380470"/>
              <a:gd name="connsiteX3298" fmla="*/ 9605789 w 11625583"/>
              <a:gd name="connsiteY3298" fmla="*/ 1916114 h 6380470"/>
              <a:gd name="connsiteX3299" fmla="*/ 9541123 w 11625583"/>
              <a:gd name="connsiteY3299" fmla="*/ 1980760 h 6380470"/>
              <a:gd name="connsiteX3300" fmla="*/ 9476457 w 11625583"/>
              <a:gd name="connsiteY3300" fmla="*/ 1916114 h 6380470"/>
              <a:gd name="connsiteX3301" fmla="*/ 9541123 w 11625583"/>
              <a:gd name="connsiteY3301" fmla="*/ 1851450 h 6380470"/>
              <a:gd name="connsiteX3302" fmla="*/ 9384550 w 11625583"/>
              <a:gd name="connsiteY3302" fmla="*/ 1851450 h 6380470"/>
              <a:gd name="connsiteX3303" fmla="*/ 9449216 w 11625583"/>
              <a:gd name="connsiteY3303" fmla="*/ 1916114 h 6380470"/>
              <a:gd name="connsiteX3304" fmla="*/ 9384550 w 11625583"/>
              <a:gd name="connsiteY3304" fmla="*/ 1980760 h 6380470"/>
              <a:gd name="connsiteX3305" fmla="*/ 9319884 w 11625583"/>
              <a:gd name="connsiteY3305" fmla="*/ 1916114 h 6380470"/>
              <a:gd name="connsiteX3306" fmla="*/ 9384550 w 11625583"/>
              <a:gd name="connsiteY3306" fmla="*/ 1851450 h 6380470"/>
              <a:gd name="connsiteX3307" fmla="*/ 9227977 w 11625583"/>
              <a:gd name="connsiteY3307" fmla="*/ 1851450 h 6380470"/>
              <a:gd name="connsiteX3308" fmla="*/ 9292643 w 11625583"/>
              <a:gd name="connsiteY3308" fmla="*/ 1916114 h 6380470"/>
              <a:gd name="connsiteX3309" fmla="*/ 9227977 w 11625583"/>
              <a:gd name="connsiteY3309" fmla="*/ 1980760 h 6380470"/>
              <a:gd name="connsiteX3310" fmla="*/ 9163311 w 11625583"/>
              <a:gd name="connsiteY3310" fmla="*/ 1916114 h 6380470"/>
              <a:gd name="connsiteX3311" fmla="*/ 9227977 w 11625583"/>
              <a:gd name="connsiteY3311" fmla="*/ 1851450 h 6380470"/>
              <a:gd name="connsiteX3312" fmla="*/ 9075319 w 11625583"/>
              <a:gd name="connsiteY3312" fmla="*/ 1851450 h 6380470"/>
              <a:gd name="connsiteX3313" fmla="*/ 9139985 w 11625583"/>
              <a:gd name="connsiteY3313" fmla="*/ 1916114 h 6380470"/>
              <a:gd name="connsiteX3314" fmla="*/ 9075319 w 11625583"/>
              <a:gd name="connsiteY3314" fmla="*/ 1980760 h 6380470"/>
              <a:gd name="connsiteX3315" fmla="*/ 9010653 w 11625583"/>
              <a:gd name="connsiteY3315" fmla="*/ 1916114 h 6380470"/>
              <a:gd name="connsiteX3316" fmla="*/ 9075319 w 11625583"/>
              <a:gd name="connsiteY3316" fmla="*/ 1851450 h 6380470"/>
              <a:gd name="connsiteX3317" fmla="*/ 8914831 w 11625583"/>
              <a:gd name="connsiteY3317" fmla="*/ 1851450 h 6380470"/>
              <a:gd name="connsiteX3318" fmla="*/ 8979497 w 11625583"/>
              <a:gd name="connsiteY3318" fmla="*/ 1916114 h 6380470"/>
              <a:gd name="connsiteX3319" fmla="*/ 8914831 w 11625583"/>
              <a:gd name="connsiteY3319" fmla="*/ 1980760 h 6380470"/>
              <a:gd name="connsiteX3320" fmla="*/ 8850165 w 11625583"/>
              <a:gd name="connsiteY3320" fmla="*/ 1916114 h 6380470"/>
              <a:gd name="connsiteX3321" fmla="*/ 8914831 w 11625583"/>
              <a:gd name="connsiteY3321" fmla="*/ 1851450 h 6380470"/>
              <a:gd name="connsiteX3322" fmla="*/ 8766086 w 11625583"/>
              <a:gd name="connsiteY3322" fmla="*/ 1851450 h 6380470"/>
              <a:gd name="connsiteX3323" fmla="*/ 8830752 w 11625583"/>
              <a:gd name="connsiteY3323" fmla="*/ 1916114 h 6380470"/>
              <a:gd name="connsiteX3324" fmla="*/ 8766086 w 11625583"/>
              <a:gd name="connsiteY3324" fmla="*/ 1980760 h 6380470"/>
              <a:gd name="connsiteX3325" fmla="*/ 8701420 w 11625583"/>
              <a:gd name="connsiteY3325" fmla="*/ 1916114 h 6380470"/>
              <a:gd name="connsiteX3326" fmla="*/ 8766086 w 11625583"/>
              <a:gd name="connsiteY3326" fmla="*/ 1851450 h 6380470"/>
              <a:gd name="connsiteX3327" fmla="*/ 8601685 w 11625583"/>
              <a:gd name="connsiteY3327" fmla="*/ 1851450 h 6380470"/>
              <a:gd name="connsiteX3328" fmla="*/ 8666351 w 11625583"/>
              <a:gd name="connsiteY3328" fmla="*/ 1916114 h 6380470"/>
              <a:gd name="connsiteX3329" fmla="*/ 8601685 w 11625583"/>
              <a:gd name="connsiteY3329" fmla="*/ 1980760 h 6380470"/>
              <a:gd name="connsiteX3330" fmla="*/ 8537019 w 11625583"/>
              <a:gd name="connsiteY3330" fmla="*/ 1916114 h 6380470"/>
              <a:gd name="connsiteX3331" fmla="*/ 8601685 w 11625583"/>
              <a:gd name="connsiteY3331" fmla="*/ 1851450 h 6380470"/>
              <a:gd name="connsiteX3332" fmla="*/ 8449025 w 11625583"/>
              <a:gd name="connsiteY3332" fmla="*/ 1851450 h 6380470"/>
              <a:gd name="connsiteX3333" fmla="*/ 8513691 w 11625583"/>
              <a:gd name="connsiteY3333" fmla="*/ 1916114 h 6380470"/>
              <a:gd name="connsiteX3334" fmla="*/ 8449025 w 11625583"/>
              <a:gd name="connsiteY3334" fmla="*/ 1980760 h 6380470"/>
              <a:gd name="connsiteX3335" fmla="*/ 8384359 w 11625583"/>
              <a:gd name="connsiteY3335" fmla="*/ 1916114 h 6380470"/>
              <a:gd name="connsiteX3336" fmla="*/ 8449025 w 11625583"/>
              <a:gd name="connsiteY3336" fmla="*/ 1851450 h 6380470"/>
              <a:gd name="connsiteX3337" fmla="*/ 8296368 w 11625583"/>
              <a:gd name="connsiteY3337" fmla="*/ 1851450 h 6380470"/>
              <a:gd name="connsiteX3338" fmla="*/ 8361034 w 11625583"/>
              <a:gd name="connsiteY3338" fmla="*/ 1916114 h 6380470"/>
              <a:gd name="connsiteX3339" fmla="*/ 8296368 w 11625583"/>
              <a:gd name="connsiteY3339" fmla="*/ 1980760 h 6380470"/>
              <a:gd name="connsiteX3340" fmla="*/ 8231702 w 11625583"/>
              <a:gd name="connsiteY3340" fmla="*/ 1916114 h 6380470"/>
              <a:gd name="connsiteX3341" fmla="*/ 8296368 w 11625583"/>
              <a:gd name="connsiteY3341" fmla="*/ 1851450 h 6380470"/>
              <a:gd name="connsiteX3342" fmla="*/ 8139793 w 11625583"/>
              <a:gd name="connsiteY3342" fmla="*/ 1851450 h 6380470"/>
              <a:gd name="connsiteX3343" fmla="*/ 8204459 w 11625583"/>
              <a:gd name="connsiteY3343" fmla="*/ 1916114 h 6380470"/>
              <a:gd name="connsiteX3344" fmla="*/ 8139793 w 11625583"/>
              <a:gd name="connsiteY3344" fmla="*/ 1980760 h 6380470"/>
              <a:gd name="connsiteX3345" fmla="*/ 8075127 w 11625583"/>
              <a:gd name="connsiteY3345" fmla="*/ 1916114 h 6380470"/>
              <a:gd name="connsiteX3346" fmla="*/ 8139793 w 11625583"/>
              <a:gd name="connsiteY3346" fmla="*/ 1851450 h 6380470"/>
              <a:gd name="connsiteX3347" fmla="*/ 7987133 w 11625583"/>
              <a:gd name="connsiteY3347" fmla="*/ 1851450 h 6380470"/>
              <a:gd name="connsiteX3348" fmla="*/ 8051799 w 11625583"/>
              <a:gd name="connsiteY3348" fmla="*/ 1916114 h 6380470"/>
              <a:gd name="connsiteX3349" fmla="*/ 7987133 w 11625583"/>
              <a:gd name="connsiteY3349" fmla="*/ 1980760 h 6380470"/>
              <a:gd name="connsiteX3350" fmla="*/ 7922467 w 11625583"/>
              <a:gd name="connsiteY3350" fmla="*/ 1916114 h 6380470"/>
              <a:gd name="connsiteX3351" fmla="*/ 7987133 w 11625583"/>
              <a:gd name="connsiteY3351" fmla="*/ 1851450 h 6380470"/>
              <a:gd name="connsiteX3352" fmla="*/ 7830562 w 11625583"/>
              <a:gd name="connsiteY3352" fmla="*/ 1851450 h 6380470"/>
              <a:gd name="connsiteX3353" fmla="*/ 7895228 w 11625583"/>
              <a:gd name="connsiteY3353" fmla="*/ 1916114 h 6380470"/>
              <a:gd name="connsiteX3354" fmla="*/ 7830562 w 11625583"/>
              <a:gd name="connsiteY3354" fmla="*/ 1980760 h 6380470"/>
              <a:gd name="connsiteX3355" fmla="*/ 7765896 w 11625583"/>
              <a:gd name="connsiteY3355" fmla="*/ 1916114 h 6380470"/>
              <a:gd name="connsiteX3356" fmla="*/ 7830562 w 11625583"/>
              <a:gd name="connsiteY3356" fmla="*/ 1851450 h 6380470"/>
              <a:gd name="connsiteX3357" fmla="*/ 7677904 w 11625583"/>
              <a:gd name="connsiteY3357" fmla="*/ 1851450 h 6380470"/>
              <a:gd name="connsiteX3358" fmla="*/ 7742570 w 11625583"/>
              <a:gd name="connsiteY3358" fmla="*/ 1916114 h 6380470"/>
              <a:gd name="connsiteX3359" fmla="*/ 7677904 w 11625583"/>
              <a:gd name="connsiteY3359" fmla="*/ 1980760 h 6380470"/>
              <a:gd name="connsiteX3360" fmla="*/ 7613238 w 11625583"/>
              <a:gd name="connsiteY3360" fmla="*/ 1916114 h 6380470"/>
              <a:gd name="connsiteX3361" fmla="*/ 7677904 w 11625583"/>
              <a:gd name="connsiteY3361" fmla="*/ 1851450 h 6380470"/>
              <a:gd name="connsiteX3362" fmla="*/ 7521331 w 11625583"/>
              <a:gd name="connsiteY3362" fmla="*/ 1851450 h 6380470"/>
              <a:gd name="connsiteX3363" fmla="*/ 7585997 w 11625583"/>
              <a:gd name="connsiteY3363" fmla="*/ 1916114 h 6380470"/>
              <a:gd name="connsiteX3364" fmla="*/ 7521331 w 11625583"/>
              <a:gd name="connsiteY3364" fmla="*/ 1980760 h 6380470"/>
              <a:gd name="connsiteX3365" fmla="*/ 7456665 w 11625583"/>
              <a:gd name="connsiteY3365" fmla="*/ 1916114 h 6380470"/>
              <a:gd name="connsiteX3366" fmla="*/ 7521331 w 11625583"/>
              <a:gd name="connsiteY3366" fmla="*/ 1851450 h 6380470"/>
              <a:gd name="connsiteX3367" fmla="*/ 7368671 w 11625583"/>
              <a:gd name="connsiteY3367" fmla="*/ 1851450 h 6380470"/>
              <a:gd name="connsiteX3368" fmla="*/ 7433337 w 11625583"/>
              <a:gd name="connsiteY3368" fmla="*/ 1916114 h 6380470"/>
              <a:gd name="connsiteX3369" fmla="*/ 7368671 w 11625583"/>
              <a:gd name="connsiteY3369" fmla="*/ 1980760 h 6380470"/>
              <a:gd name="connsiteX3370" fmla="*/ 7304005 w 11625583"/>
              <a:gd name="connsiteY3370" fmla="*/ 1916114 h 6380470"/>
              <a:gd name="connsiteX3371" fmla="*/ 7368671 w 11625583"/>
              <a:gd name="connsiteY3371" fmla="*/ 1851450 h 6380470"/>
              <a:gd name="connsiteX3372" fmla="*/ 7212096 w 11625583"/>
              <a:gd name="connsiteY3372" fmla="*/ 1851450 h 6380470"/>
              <a:gd name="connsiteX3373" fmla="*/ 7276762 w 11625583"/>
              <a:gd name="connsiteY3373" fmla="*/ 1916114 h 6380470"/>
              <a:gd name="connsiteX3374" fmla="*/ 7212096 w 11625583"/>
              <a:gd name="connsiteY3374" fmla="*/ 1980760 h 6380470"/>
              <a:gd name="connsiteX3375" fmla="*/ 7147430 w 11625583"/>
              <a:gd name="connsiteY3375" fmla="*/ 1916114 h 6380470"/>
              <a:gd name="connsiteX3376" fmla="*/ 7212096 w 11625583"/>
              <a:gd name="connsiteY3376" fmla="*/ 1851450 h 6380470"/>
              <a:gd name="connsiteX3377" fmla="*/ 7055523 w 11625583"/>
              <a:gd name="connsiteY3377" fmla="*/ 1851450 h 6380470"/>
              <a:gd name="connsiteX3378" fmla="*/ 7120189 w 11625583"/>
              <a:gd name="connsiteY3378" fmla="*/ 1916114 h 6380470"/>
              <a:gd name="connsiteX3379" fmla="*/ 7055523 w 11625583"/>
              <a:gd name="connsiteY3379" fmla="*/ 1980760 h 6380470"/>
              <a:gd name="connsiteX3380" fmla="*/ 6990857 w 11625583"/>
              <a:gd name="connsiteY3380" fmla="*/ 1916114 h 6380470"/>
              <a:gd name="connsiteX3381" fmla="*/ 7055523 w 11625583"/>
              <a:gd name="connsiteY3381" fmla="*/ 1851450 h 6380470"/>
              <a:gd name="connsiteX3382" fmla="*/ 6895037 w 11625583"/>
              <a:gd name="connsiteY3382" fmla="*/ 1851450 h 6380470"/>
              <a:gd name="connsiteX3383" fmla="*/ 6959703 w 11625583"/>
              <a:gd name="connsiteY3383" fmla="*/ 1916114 h 6380470"/>
              <a:gd name="connsiteX3384" fmla="*/ 6895037 w 11625583"/>
              <a:gd name="connsiteY3384" fmla="*/ 1980760 h 6380470"/>
              <a:gd name="connsiteX3385" fmla="*/ 6830371 w 11625583"/>
              <a:gd name="connsiteY3385" fmla="*/ 1916114 h 6380470"/>
              <a:gd name="connsiteX3386" fmla="*/ 6895037 w 11625583"/>
              <a:gd name="connsiteY3386" fmla="*/ 1851450 h 6380470"/>
              <a:gd name="connsiteX3387" fmla="*/ 6742377 w 11625583"/>
              <a:gd name="connsiteY3387" fmla="*/ 1851450 h 6380470"/>
              <a:gd name="connsiteX3388" fmla="*/ 6807043 w 11625583"/>
              <a:gd name="connsiteY3388" fmla="*/ 1916114 h 6380470"/>
              <a:gd name="connsiteX3389" fmla="*/ 6742377 w 11625583"/>
              <a:gd name="connsiteY3389" fmla="*/ 1980760 h 6380470"/>
              <a:gd name="connsiteX3390" fmla="*/ 6677711 w 11625583"/>
              <a:gd name="connsiteY3390" fmla="*/ 1916114 h 6380470"/>
              <a:gd name="connsiteX3391" fmla="*/ 6742377 w 11625583"/>
              <a:gd name="connsiteY3391" fmla="*/ 1851450 h 6380470"/>
              <a:gd name="connsiteX3392" fmla="*/ 6585804 w 11625583"/>
              <a:gd name="connsiteY3392" fmla="*/ 1851450 h 6380470"/>
              <a:gd name="connsiteX3393" fmla="*/ 6650470 w 11625583"/>
              <a:gd name="connsiteY3393" fmla="*/ 1916114 h 6380470"/>
              <a:gd name="connsiteX3394" fmla="*/ 6585804 w 11625583"/>
              <a:gd name="connsiteY3394" fmla="*/ 1980760 h 6380470"/>
              <a:gd name="connsiteX3395" fmla="*/ 6521138 w 11625583"/>
              <a:gd name="connsiteY3395" fmla="*/ 1916114 h 6380470"/>
              <a:gd name="connsiteX3396" fmla="*/ 6585804 w 11625583"/>
              <a:gd name="connsiteY3396" fmla="*/ 1851450 h 6380470"/>
              <a:gd name="connsiteX3397" fmla="*/ 6276571 w 11625583"/>
              <a:gd name="connsiteY3397" fmla="*/ 1851450 h 6380470"/>
              <a:gd name="connsiteX3398" fmla="*/ 6341237 w 11625583"/>
              <a:gd name="connsiteY3398" fmla="*/ 1916114 h 6380470"/>
              <a:gd name="connsiteX3399" fmla="*/ 6276571 w 11625583"/>
              <a:gd name="connsiteY3399" fmla="*/ 1980760 h 6380470"/>
              <a:gd name="connsiteX3400" fmla="*/ 6211905 w 11625583"/>
              <a:gd name="connsiteY3400" fmla="*/ 1916114 h 6380470"/>
              <a:gd name="connsiteX3401" fmla="*/ 6276571 w 11625583"/>
              <a:gd name="connsiteY3401" fmla="*/ 1851450 h 6380470"/>
              <a:gd name="connsiteX3402" fmla="*/ 6119999 w 11625583"/>
              <a:gd name="connsiteY3402" fmla="*/ 1851450 h 6380470"/>
              <a:gd name="connsiteX3403" fmla="*/ 6184665 w 11625583"/>
              <a:gd name="connsiteY3403" fmla="*/ 1916114 h 6380470"/>
              <a:gd name="connsiteX3404" fmla="*/ 6119999 w 11625583"/>
              <a:gd name="connsiteY3404" fmla="*/ 1980760 h 6380470"/>
              <a:gd name="connsiteX3405" fmla="*/ 6055333 w 11625583"/>
              <a:gd name="connsiteY3405" fmla="*/ 1916114 h 6380470"/>
              <a:gd name="connsiteX3406" fmla="*/ 6119999 w 11625583"/>
              <a:gd name="connsiteY3406" fmla="*/ 1851450 h 6380470"/>
              <a:gd name="connsiteX3407" fmla="*/ 5967339 w 11625583"/>
              <a:gd name="connsiteY3407" fmla="*/ 1851450 h 6380470"/>
              <a:gd name="connsiteX3408" fmla="*/ 6032005 w 11625583"/>
              <a:gd name="connsiteY3408" fmla="*/ 1916114 h 6380470"/>
              <a:gd name="connsiteX3409" fmla="*/ 5967339 w 11625583"/>
              <a:gd name="connsiteY3409" fmla="*/ 1980760 h 6380470"/>
              <a:gd name="connsiteX3410" fmla="*/ 5902673 w 11625583"/>
              <a:gd name="connsiteY3410" fmla="*/ 1916114 h 6380470"/>
              <a:gd name="connsiteX3411" fmla="*/ 5967339 w 11625583"/>
              <a:gd name="connsiteY3411" fmla="*/ 1851450 h 6380470"/>
              <a:gd name="connsiteX3412" fmla="*/ 5810798 w 11625583"/>
              <a:gd name="connsiteY3412" fmla="*/ 1851450 h 6380470"/>
              <a:gd name="connsiteX3413" fmla="*/ 5875432 w 11625583"/>
              <a:gd name="connsiteY3413" fmla="*/ 1916114 h 6380470"/>
              <a:gd name="connsiteX3414" fmla="*/ 5810798 w 11625583"/>
              <a:gd name="connsiteY3414" fmla="*/ 1980760 h 6380470"/>
              <a:gd name="connsiteX3415" fmla="*/ 5746117 w 11625583"/>
              <a:gd name="connsiteY3415" fmla="*/ 1916114 h 6380470"/>
              <a:gd name="connsiteX3416" fmla="*/ 5810798 w 11625583"/>
              <a:gd name="connsiteY3416" fmla="*/ 1851450 h 6380470"/>
              <a:gd name="connsiteX3417" fmla="*/ 5658111 w 11625583"/>
              <a:gd name="connsiteY3417" fmla="*/ 1851450 h 6380470"/>
              <a:gd name="connsiteX3418" fmla="*/ 5722783 w 11625583"/>
              <a:gd name="connsiteY3418" fmla="*/ 1916114 h 6380470"/>
              <a:gd name="connsiteX3419" fmla="*/ 5658111 w 11625583"/>
              <a:gd name="connsiteY3419" fmla="*/ 1980760 h 6380470"/>
              <a:gd name="connsiteX3420" fmla="*/ 5593443 w 11625583"/>
              <a:gd name="connsiteY3420" fmla="*/ 1916114 h 6380470"/>
              <a:gd name="connsiteX3421" fmla="*/ 5658111 w 11625583"/>
              <a:gd name="connsiteY3421" fmla="*/ 1851450 h 6380470"/>
              <a:gd name="connsiteX3422" fmla="*/ 5501543 w 11625583"/>
              <a:gd name="connsiteY3422" fmla="*/ 1851450 h 6380470"/>
              <a:gd name="connsiteX3423" fmla="*/ 5566204 w 11625583"/>
              <a:gd name="connsiteY3423" fmla="*/ 1916114 h 6380470"/>
              <a:gd name="connsiteX3424" fmla="*/ 5501543 w 11625583"/>
              <a:gd name="connsiteY3424" fmla="*/ 1980760 h 6380470"/>
              <a:gd name="connsiteX3425" fmla="*/ 5436885 w 11625583"/>
              <a:gd name="connsiteY3425" fmla="*/ 1916114 h 6380470"/>
              <a:gd name="connsiteX3426" fmla="*/ 5501543 w 11625583"/>
              <a:gd name="connsiteY3426" fmla="*/ 1851450 h 6380470"/>
              <a:gd name="connsiteX3427" fmla="*/ 5348888 w 11625583"/>
              <a:gd name="connsiteY3427" fmla="*/ 1851450 h 6380470"/>
              <a:gd name="connsiteX3428" fmla="*/ 5413554 w 11625583"/>
              <a:gd name="connsiteY3428" fmla="*/ 1916114 h 6380470"/>
              <a:gd name="connsiteX3429" fmla="*/ 5348888 w 11625583"/>
              <a:gd name="connsiteY3429" fmla="*/ 1980760 h 6380470"/>
              <a:gd name="connsiteX3430" fmla="*/ 5284230 w 11625583"/>
              <a:gd name="connsiteY3430" fmla="*/ 1916114 h 6380470"/>
              <a:gd name="connsiteX3431" fmla="*/ 5348888 w 11625583"/>
              <a:gd name="connsiteY3431" fmla="*/ 1851450 h 6380470"/>
              <a:gd name="connsiteX3432" fmla="*/ 3630594 w 11625583"/>
              <a:gd name="connsiteY3432" fmla="*/ 1851450 h 6380470"/>
              <a:gd name="connsiteX3433" fmla="*/ 3695260 w 11625583"/>
              <a:gd name="connsiteY3433" fmla="*/ 1916114 h 6380470"/>
              <a:gd name="connsiteX3434" fmla="*/ 3630594 w 11625583"/>
              <a:gd name="connsiteY3434" fmla="*/ 1980760 h 6380470"/>
              <a:gd name="connsiteX3435" fmla="*/ 3565917 w 11625583"/>
              <a:gd name="connsiteY3435" fmla="*/ 1916114 h 6380470"/>
              <a:gd name="connsiteX3436" fmla="*/ 3630594 w 11625583"/>
              <a:gd name="connsiteY3436" fmla="*/ 1851450 h 6380470"/>
              <a:gd name="connsiteX3437" fmla="*/ 3481843 w 11625583"/>
              <a:gd name="connsiteY3437" fmla="*/ 1851450 h 6380470"/>
              <a:gd name="connsiteX3438" fmla="*/ 3546512 w 11625583"/>
              <a:gd name="connsiteY3438" fmla="*/ 1916114 h 6380470"/>
              <a:gd name="connsiteX3439" fmla="*/ 3481843 w 11625583"/>
              <a:gd name="connsiteY3439" fmla="*/ 1980760 h 6380470"/>
              <a:gd name="connsiteX3440" fmla="*/ 3417186 w 11625583"/>
              <a:gd name="connsiteY3440" fmla="*/ 1916114 h 6380470"/>
              <a:gd name="connsiteX3441" fmla="*/ 3481843 w 11625583"/>
              <a:gd name="connsiteY3441" fmla="*/ 1851450 h 6380470"/>
              <a:gd name="connsiteX3442" fmla="*/ 3321374 w 11625583"/>
              <a:gd name="connsiteY3442" fmla="*/ 1851450 h 6380470"/>
              <a:gd name="connsiteX3443" fmla="*/ 3386019 w 11625583"/>
              <a:gd name="connsiteY3443" fmla="*/ 1916114 h 6380470"/>
              <a:gd name="connsiteX3444" fmla="*/ 3321374 w 11625583"/>
              <a:gd name="connsiteY3444" fmla="*/ 1980760 h 6380470"/>
              <a:gd name="connsiteX3445" fmla="*/ 3256709 w 11625583"/>
              <a:gd name="connsiteY3445" fmla="*/ 1916114 h 6380470"/>
              <a:gd name="connsiteX3446" fmla="*/ 3321374 w 11625583"/>
              <a:gd name="connsiteY3446" fmla="*/ 1851450 h 6380470"/>
              <a:gd name="connsiteX3447" fmla="*/ 3172621 w 11625583"/>
              <a:gd name="connsiteY3447" fmla="*/ 1851450 h 6380470"/>
              <a:gd name="connsiteX3448" fmla="*/ 3237294 w 11625583"/>
              <a:gd name="connsiteY3448" fmla="*/ 1916114 h 6380470"/>
              <a:gd name="connsiteX3449" fmla="*/ 3172621 w 11625583"/>
              <a:gd name="connsiteY3449" fmla="*/ 1980760 h 6380470"/>
              <a:gd name="connsiteX3450" fmla="*/ 3107940 w 11625583"/>
              <a:gd name="connsiteY3450" fmla="*/ 1916114 h 6380470"/>
              <a:gd name="connsiteX3451" fmla="*/ 3172621 w 11625583"/>
              <a:gd name="connsiteY3451" fmla="*/ 1851450 h 6380470"/>
              <a:gd name="connsiteX3452" fmla="*/ 3012108 w 11625583"/>
              <a:gd name="connsiteY3452" fmla="*/ 1851450 h 6380470"/>
              <a:gd name="connsiteX3453" fmla="*/ 3076778 w 11625583"/>
              <a:gd name="connsiteY3453" fmla="*/ 1916114 h 6380470"/>
              <a:gd name="connsiteX3454" fmla="*/ 3012108 w 11625583"/>
              <a:gd name="connsiteY3454" fmla="*/ 1980760 h 6380470"/>
              <a:gd name="connsiteX3455" fmla="*/ 2947451 w 11625583"/>
              <a:gd name="connsiteY3455" fmla="*/ 1916114 h 6380470"/>
              <a:gd name="connsiteX3456" fmla="*/ 3012108 w 11625583"/>
              <a:gd name="connsiteY3456" fmla="*/ 1851450 h 6380470"/>
              <a:gd name="connsiteX3457" fmla="*/ 2855554 w 11625583"/>
              <a:gd name="connsiteY3457" fmla="*/ 1851450 h 6380470"/>
              <a:gd name="connsiteX3458" fmla="*/ 2920212 w 11625583"/>
              <a:gd name="connsiteY3458" fmla="*/ 1916114 h 6380470"/>
              <a:gd name="connsiteX3459" fmla="*/ 2855554 w 11625583"/>
              <a:gd name="connsiteY3459" fmla="*/ 1980760 h 6380470"/>
              <a:gd name="connsiteX3460" fmla="*/ 2790897 w 11625583"/>
              <a:gd name="connsiteY3460" fmla="*/ 1916114 h 6380470"/>
              <a:gd name="connsiteX3461" fmla="*/ 2855554 w 11625583"/>
              <a:gd name="connsiteY3461" fmla="*/ 1851450 h 6380470"/>
              <a:gd name="connsiteX3462" fmla="*/ 2699002 w 11625583"/>
              <a:gd name="connsiteY3462" fmla="*/ 1851450 h 6380470"/>
              <a:gd name="connsiteX3463" fmla="*/ 2763659 w 11625583"/>
              <a:gd name="connsiteY3463" fmla="*/ 1916114 h 6380470"/>
              <a:gd name="connsiteX3464" fmla="*/ 2699002 w 11625583"/>
              <a:gd name="connsiteY3464" fmla="*/ 1980760 h 6380470"/>
              <a:gd name="connsiteX3465" fmla="*/ 2634344 w 11625583"/>
              <a:gd name="connsiteY3465" fmla="*/ 1916114 h 6380470"/>
              <a:gd name="connsiteX3466" fmla="*/ 2699002 w 11625583"/>
              <a:gd name="connsiteY3466" fmla="*/ 1851450 h 6380470"/>
              <a:gd name="connsiteX3467" fmla="*/ 2546361 w 11625583"/>
              <a:gd name="connsiteY3467" fmla="*/ 1851450 h 6380470"/>
              <a:gd name="connsiteX3468" fmla="*/ 2611021 w 11625583"/>
              <a:gd name="connsiteY3468" fmla="*/ 1916114 h 6380470"/>
              <a:gd name="connsiteX3469" fmla="*/ 2546361 w 11625583"/>
              <a:gd name="connsiteY3469" fmla="*/ 1980760 h 6380470"/>
              <a:gd name="connsiteX3470" fmla="*/ 2481704 w 11625583"/>
              <a:gd name="connsiteY3470" fmla="*/ 1916114 h 6380470"/>
              <a:gd name="connsiteX3471" fmla="*/ 2546361 w 11625583"/>
              <a:gd name="connsiteY3471" fmla="*/ 1851450 h 6380470"/>
              <a:gd name="connsiteX3472" fmla="*/ 2389782 w 11625583"/>
              <a:gd name="connsiteY3472" fmla="*/ 1851450 h 6380470"/>
              <a:gd name="connsiteX3473" fmla="*/ 2454467 w 11625583"/>
              <a:gd name="connsiteY3473" fmla="*/ 1916114 h 6380470"/>
              <a:gd name="connsiteX3474" fmla="*/ 2389782 w 11625583"/>
              <a:gd name="connsiteY3474" fmla="*/ 1980760 h 6380470"/>
              <a:gd name="connsiteX3475" fmla="*/ 2325128 w 11625583"/>
              <a:gd name="connsiteY3475" fmla="*/ 1916114 h 6380470"/>
              <a:gd name="connsiteX3476" fmla="*/ 2389782 w 11625583"/>
              <a:gd name="connsiteY3476" fmla="*/ 1851450 h 6380470"/>
              <a:gd name="connsiteX3477" fmla="*/ 10625394 w 11625583"/>
              <a:gd name="connsiteY3477" fmla="*/ 1710535 h 6380470"/>
              <a:gd name="connsiteX3478" fmla="*/ 10690060 w 11625583"/>
              <a:gd name="connsiteY3478" fmla="*/ 1775201 h 6380470"/>
              <a:gd name="connsiteX3479" fmla="*/ 10625394 w 11625583"/>
              <a:gd name="connsiteY3479" fmla="*/ 1839865 h 6380470"/>
              <a:gd name="connsiteX3480" fmla="*/ 10560728 w 11625583"/>
              <a:gd name="connsiteY3480" fmla="*/ 1775201 h 6380470"/>
              <a:gd name="connsiteX3481" fmla="*/ 10625394 w 11625583"/>
              <a:gd name="connsiteY3481" fmla="*/ 1710535 h 6380470"/>
              <a:gd name="connsiteX3482" fmla="*/ 10159588 w 11625583"/>
              <a:gd name="connsiteY3482" fmla="*/ 1710535 h 6380470"/>
              <a:gd name="connsiteX3483" fmla="*/ 10224254 w 11625583"/>
              <a:gd name="connsiteY3483" fmla="*/ 1775201 h 6380470"/>
              <a:gd name="connsiteX3484" fmla="*/ 10159588 w 11625583"/>
              <a:gd name="connsiteY3484" fmla="*/ 1839865 h 6380470"/>
              <a:gd name="connsiteX3485" fmla="*/ 10094922 w 11625583"/>
              <a:gd name="connsiteY3485" fmla="*/ 1775201 h 6380470"/>
              <a:gd name="connsiteX3486" fmla="*/ 10159588 w 11625583"/>
              <a:gd name="connsiteY3486" fmla="*/ 1710535 h 6380470"/>
              <a:gd name="connsiteX3487" fmla="*/ 10003016 w 11625583"/>
              <a:gd name="connsiteY3487" fmla="*/ 1710535 h 6380470"/>
              <a:gd name="connsiteX3488" fmla="*/ 10067682 w 11625583"/>
              <a:gd name="connsiteY3488" fmla="*/ 1775201 h 6380470"/>
              <a:gd name="connsiteX3489" fmla="*/ 10003016 w 11625583"/>
              <a:gd name="connsiteY3489" fmla="*/ 1839865 h 6380470"/>
              <a:gd name="connsiteX3490" fmla="*/ 9938350 w 11625583"/>
              <a:gd name="connsiteY3490" fmla="*/ 1775201 h 6380470"/>
              <a:gd name="connsiteX3491" fmla="*/ 10003016 w 11625583"/>
              <a:gd name="connsiteY3491" fmla="*/ 1710535 h 6380470"/>
              <a:gd name="connsiteX3492" fmla="*/ 9850356 w 11625583"/>
              <a:gd name="connsiteY3492" fmla="*/ 1710535 h 6380470"/>
              <a:gd name="connsiteX3493" fmla="*/ 9915022 w 11625583"/>
              <a:gd name="connsiteY3493" fmla="*/ 1775201 h 6380470"/>
              <a:gd name="connsiteX3494" fmla="*/ 9850356 w 11625583"/>
              <a:gd name="connsiteY3494" fmla="*/ 1839865 h 6380470"/>
              <a:gd name="connsiteX3495" fmla="*/ 9785690 w 11625583"/>
              <a:gd name="connsiteY3495" fmla="*/ 1775201 h 6380470"/>
              <a:gd name="connsiteX3496" fmla="*/ 9850356 w 11625583"/>
              <a:gd name="connsiteY3496" fmla="*/ 1710535 h 6380470"/>
              <a:gd name="connsiteX3497" fmla="*/ 9693782 w 11625583"/>
              <a:gd name="connsiteY3497" fmla="*/ 1710535 h 6380470"/>
              <a:gd name="connsiteX3498" fmla="*/ 9758448 w 11625583"/>
              <a:gd name="connsiteY3498" fmla="*/ 1775201 h 6380470"/>
              <a:gd name="connsiteX3499" fmla="*/ 9693782 w 11625583"/>
              <a:gd name="connsiteY3499" fmla="*/ 1839865 h 6380470"/>
              <a:gd name="connsiteX3500" fmla="*/ 9629116 w 11625583"/>
              <a:gd name="connsiteY3500" fmla="*/ 1775201 h 6380470"/>
              <a:gd name="connsiteX3501" fmla="*/ 9693782 w 11625583"/>
              <a:gd name="connsiteY3501" fmla="*/ 1710535 h 6380470"/>
              <a:gd name="connsiteX3502" fmla="*/ 9541123 w 11625583"/>
              <a:gd name="connsiteY3502" fmla="*/ 1710535 h 6380470"/>
              <a:gd name="connsiteX3503" fmla="*/ 9605789 w 11625583"/>
              <a:gd name="connsiteY3503" fmla="*/ 1775201 h 6380470"/>
              <a:gd name="connsiteX3504" fmla="*/ 9541123 w 11625583"/>
              <a:gd name="connsiteY3504" fmla="*/ 1839865 h 6380470"/>
              <a:gd name="connsiteX3505" fmla="*/ 9476457 w 11625583"/>
              <a:gd name="connsiteY3505" fmla="*/ 1775201 h 6380470"/>
              <a:gd name="connsiteX3506" fmla="*/ 9541123 w 11625583"/>
              <a:gd name="connsiteY3506" fmla="*/ 1710535 h 6380470"/>
              <a:gd name="connsiteX3507" fmla="*/ 9384550 w 11625583"/>
              <a:gd name="connsiteY3507" fmla="*/ 1710535 h 6380470"/>
              <a:gd name="connsiteX3508" fmla="*/ 9449216 w 11625583"/>
              <a:gd name="connsiteY3508" fmla="*/ 1775201 h 6380470"/>
              <a:gd name="connsiteX3509" fmla="*/ 9384550 w 11625583"/>
              <a:gd name="connsiteY3509" fmla="*/ 1839865 h 6380470"/>
              <a:gd name="connsiteX3510" fmla="*/ 9319884 w 11625583"/>
              <a:gd name="connsiteY3510" fmla="*/ 1775201 h 6380470"/>
              <a:gd name="connsiteX3511" fmla="*/ 9384550 w 11625583"/>
              <a:gd name="connsiteY3511" fmla="*/ 1710535 h 6380470"/>
              <a:gd name="connsiteX3512" fmla="*/ 9227977 w 11625583"/>
              <a:gd name="connsiteY3512" fmla="*/ 1710535 h 6380470"/>
              <a:gd name="connsiteX3513" fmla="*/ 9292643 w 11625583"/>
              <a:gd name="connsiteY3513" fmla="*/ 1775201 h 6380470"/>
              <a:gd name="connsiteX3514" fmla="*/ 9227977 w 11625583"/>
              <a:gd name="connsiteY3514" fmla="*/ 1839865 h 6380470"/>
              <a:gd name="connsiteX3515" fmla="*/ 9163311 w 11625583"/>
              <a:gd name="connsiteY3515" fmla="*/ 1775201 h 6380470"/>
              <a:gd name="connsiteX3516" fmla="*/ 9227977 w 11625583"/>
              <a:gd name="connsiteY3516" fmla="*/ 1710535 h 6380470"/>
              <a:gd name="connsiteX3517" fmla="*/ 9075317 w 11625583"/>
              <a:gd name="connsiteY3517" fmla="*/ 1710535 h 6380470"/>
              <a:gd name="connsiteX3518" fmla="*/ 9139983 w 11625583"/>
              <a:gd name="connsiteY3518" fmla="*/ 1775201 h 6380470"/>
              <a:gd name="connsiteX3519" fmla="*/ 9075317 w 11625583"/>
              <a:gd name="connsiteY3519" fmla="*/ 1839865 h 6380470"/>
              <a:gd name="connsiteX3520" fmla="*/ 9010651 w 11625583"/>
              <a:gd name="connsiteY3520" fmla="*/ 1775201 h 6380470"/>
              <a:gd name="connsiteX3521" fmla="*/ 9075317 w 11625583"/>
              <a:gd name="connsiteY3521" fmla="*/ 1710535 h 6380470"/>
              <a:gd name="connsiteX3522" fmla="*/ 8914829 w 11625583"/>
              <a:gd name="connsiteY3522" fmla="*/ 1710535 h 6380470"/>
              <a:gd name="connsiteX3523" fmla="*/ 8979495 w 11625583"/>
              <a:gd name="connsiteY3523" fmla="*/ 1775201 h 6380470"/>
              <a:gd name="connsiteX3524" fmla="*/ 8914829 w 11625583"/>
              <a:gd name="connsiteY3524" fmla="*/ 1839865 h 6380470"/>
              <a:gd name="connsiteX3525" fmla="*/ 8850163 w 11625583"/>
              <a:gd name="connsiteY3525" fmla="*/ 1775201 h 6380470"/>
              <a:gd name="connsiteX3526" fmla="*/ 8914829 w 11625583"/>
              <a:gd name="connsiteY3526" fmla="*/ 1710535 h 6380470"/>
              <a:gd name="connsiteX3527" fmla="*/ 8766086 w 11625583"/>
              <a:gd name="connsiteY3527" fmla="*/ 1710535 h 6380470"/>
              <a:gd name="connsiteX3528" fmla="*/ 8830752 w 11625583"/>
              <a:gd name="connsiteY3528" fmla="*/ 1775201 h 6380470"/>
              <a:gd name="connsiteX3529" fmla="*/ 8766086 w 11625583"/>
              <a:gd name="connsiteY3529" fmla="*/ 1839865 h 6380470"/>
              <a:gd name="connsiteX3530" fmla="*/ 8701420 w 11625583"/>
              <a:gd name="connsiteY3530" fmla="*/ 1775201 h 6380470"/>
              <a:gd name="connsiteX3531" fmla="*/ 8766086 w 11625583"/>
              <a:gd name="connsiteY3531" fmla="*/ 1710535 h 6380470"/>
              <a:gd name="connsiteX3532" fmla="*/ 8601683 w 11625583"/>
              <a:gd name="connsiteY3532" fmla="*/ 1710535 h 6380470"/>
              <a:gd name="connsiteX3533" fmla="*/ 8666349 w 11625583"/>
              <a:gd name="connsiteY3533" fmla="*/ 1775201 h 6380470"/>
              <a:gd name="connsiteX3534" fmla="*/ 8601683 w 11625583"/>
              <a:gd name="connsiteY3534" fmla="*/ 1839865 h 6380470"/>
              <a:gd name="connsiteX3535" fmla="*/ 8537017 w 11625583"/>
              <a:gd name="connsiteY3535" fmla="*/ 1775201 h 6380470"/>
              <a:gd name="connsiteX3536" fmla="*/ 8601683 w 11625583"/>
              <a:gd name="connsiteY3536" fmla="*/ 1710535 h 6380470"/>
              <a:gd name="connsiteX3537" fmla="*/ 8449025 w 11625583"/>
              <a:gd name="connsiteY3537" fmla="*/ 1710535 h 6380470"/>
              <a:gd name="connsiteX3538" fmla="*/ 8513691 w 11625583"/>
              <a:gd name="connsiteY3538" fmla="*/ 1775201 h 6380470"/>
              <a:gd name="connsiteX3539" fmla="*/ 8449025 w 11625583"/>
              <a:gd name="connsiteY3539" fmla="*/ 1839865 h 6380470"/>
              <a:gd name="connsiteX3540" fmla="*/ 8384359 w 11625583"/>
              <a:gd name="connsiteY3540" fmla="*/ 1775201 h 6380470"/>
              <a:gd name="connsiteX3541" fmla="*/ 8449025 w 11625583"/>
              <a:gd name="connsiteY3541" fmla="*/ 1710535 h 6380470"/>
              <a:gd name="connsiteX3542" fmla="*/ 8296367 w 11625583"/>
              <a:gd name="connsiteY3542" fmla="*/ 1710535 h 6380470"/>
              <a:gd name="connsiteX3543" fmla="*/ 8361033 w 11625583"/>
              <a:gd name="connsiteY3543" fmla="*/ 1775201 h 6380470"/>
              <a:gd name="connsiteX3544" fmla="*/ 8296367 w 11625583"/>
              <a:gd name="connsiteY3544" fmla="*/ 1839865 h 6380470"/>
              <a:gd name="connsiteX3545" fmla="*/ 8231701 w 11625583"/>
              <a:gd name="connsiteY3545" fmla="*/ 1775201 h 6380470"/>
              <a:gd name="connsiteX3546" fmla="*/ 8296367 w 11625583"/>
              <a:gd name="connsiteY3546" fmla="*/ 1710535 h 6380470"/>
              <a:gd name="connsiteX3547" fmla="*/ 8139792 w 11625583"/>
              <a:gd name="connsiteY3547" fmla="*/ 1710535 h 6380470"/>
              <a:gd name="connsiteX3548" fmla="*/ 8204458 w 11625583"/>
              <a:gd name="connsiteY3548" fmla="*/ 1775201 h 6380470"/>
              <a:gd name="connsiteX3549" fmla="*/ 8139792 w 11625583"/>
              <a:gd name="connsiteY3549" fmla="*/ 1839865 h 6380470"/>
              <a:gd name="connsiteX3550" fmla="*/ 8075126 w 11625583"/>
              <a:gd name="connsiteY3550" fmla="*/ 1775201 h 6380470"/>
              <a:gd name="connsiteX3551" fmla="*/ 8139792 w 11625583"/>
              <a:gd name="connsiteY3551" fmla="*/ 1710535 h 6380470"/>
              <a:gd name="connsiteX3552" fmla="*/ 7987133 w 11625583"/>
              <a:gd name="connsiteY3552" fmla="*/ 1710535 h 6380470"/>
              <a:gd name="connsiteX3553" fmla="*/ 8051799 w 11625583"/>
              <a:gd name="connsiteY3553" fmla="*/ 1775201 h 6380470"/>
              <a:gd name="connsiteX3554" fmla="*/ 7987133 w 11625583"/>
              <a:gd name="connsiteY3554" fmla="*/ 1839865 h 6380470"/>
              <a:gd name="connsiteX3555" fmla="*/ 7922467 w 11625583"/>
              <a:gd name="connsiteY3555" fmla="*/ 1775201 h 6380470"/>
              <a:gd name="connsiteX3556" fmla="*/ 7987133 w 11625583"/>
              <a:gd name="connsiteY3556" fmla="*/ 1710535 h 6380470"/>
              <a:gd name="connsiteX3557" fmla="*/ 7830562 w 11625583"/>
              <a:gd name="connsiteY3557" fmla="*/ 1710535 h 6380470"/>
              <a:gd name="connsiteX3558" fmla="*/ 7895228 w 11625583"/>
              <a:gd name="connsiteY3558" fmla="*/ 1775201 h 6380470"/>
              <a:gd name="connsiteX3559" fmla="*/ 7830562 w 11625583"/>
              <a:gd name="connsiteY3559" fmla="*/ 1839865 h 6380470"/>
              <a:gd name="connsiteX3560" fmla="*/ 7765896 w 11625583"/>
              <a:gd name="connsiteY3560" fmla="*/ 1775201 h 6380470"/>
              <a:gd name="connsiteX3561" fmla="*/ 7830562 w 11625583"/>
              <a:gd name="connsiteY3561" fmla="*/ 1710535 h 6380470"/>
              <a:gd name="connsiteX3562" fmla="*/ 7677902 w 11625583"/>
              <a:gd name="connsiteY3562" fmla="*/ 1710535 h 6380470"/>
              <a:gd name="connsiteX3563" fmla="*/ 7742568 w 11625583"/>
              <a:gd name="connsiteY3563" fmla="*/ 1775201 h 6380470"/>
              <a:gd name="connsiteX3564" fmla="*/ 7677902 w 11625583"/>
              <a:gd name="connsiteY3564" fmla="*/ 1839865 h 6380470"/>
              <a:gd name="connsiteX3565" fmla="*/ 7613236 w 11625583"/>
              <a:gd name="connsiteY3565" fmla="*/ 1775201 h 6380470"/>
              <a:gd name="connsiteX3566" fmla="*/ 7677902 w 11625583"/>
              <a:gd name="connsiteY3566" fmla="*/ 1710535 h 6380470"/>
              <a:gd name="connsiteX3567" fmla="*/ 7521329 w 11625583"/>
              <a:gd name="connsiteY3567" fmla="*/ 1710535 h 6380470"/>
              <a:gd name="connsiteX3568" fmla="*/ 7585995 w 11625583"/>
              <a:gd name="connsiteY3568" fmla="*/ 1775201 h 6380470"/>
              <a:gd name="connsiteX3569" fmla="*/ 7521329 w 11625583"/>
              <a:gd name="connsiteY3569" fmla="*/ 1839865 h 6380470"/>
              <a:gd name="connsiteX3570" fmla="*/ 7456663 w 11625583"/>
              <a:gd name="connsiteY3570" fmla="*/ 1775201 h 6380470"/>
              <a:gd name="connsiteX3571" fmla="*/ 7521329 w 11625583"/>
              <a:gd name="connsiteY3571" fmla="*/ 1710535 h 6380470"/>
              <a:gd name="connsiteX3572" fmla="*/ 7368669 w 11625583"/>
              <a:gd name="connsiteY3572" fmla="*/ 1710535 h 6380470"/>
              <a:gd name="connsiteX3573" fmla="*/ 7433335 w 11625583"/>
              <a:gd name="connsiteY3573" fmla="*/ 1775201 h 6380470"/>
              <a:gd name="connsiteX3574" fmla="*/ 7368669 w 11625583"/>
              <a:gd name="connsiteY3574" fmla="*/ 1839865 h 6380470"/>
              <a:gd name="connsiteX3575" fmla="*/ 7304003 w 11625583"/>
              <a:gd name="connsiteY3575" fmla="*/ 1775201 h 6380470"/>
              <a:gd name="connsiteX3576" fmla="*/ 7368669 w 11625583"/>
              <a:gd name="connsiteY3576" fmla="*/ 1710535 h 6380470"/>
              <a:gd name="connsiteX3577" fmla="*/ 7212096 w 11625583"/>
              <a:gd name="connsiteY3577" fmla="*/ 1710535 h 6380470"/>
              <a:gd name="connsiteX3578" fmla="*/ 7276762 w 11625583"/>
              <a:gd name="connsiteY3578" fmla="*/ 1775201 h 6380470"/>
              <a:gd name="connsiteX3579" fmla="*/ 7212096 w 11625583"/>
              <a:gd name="connsiteY3579" fmla="*/ 1839865 h 6380470"/>
              <a:gd name="connsiteX3580" fmla="*/ 7147430 w 11625583"/>
              <a:gd name="connsiteY3580" fmla="*/ 1775201 h 6380470"/>
              <a:gd name="connsiteX3581" fmla="*/ 7212096 w 11625583"/>
              <a:gd name="connsiteY3581" fmla="*/ 1710535 h 6380470"/>
              <a:gd name="connsiteX3582" fmla="*/ 7055523 w 11625583"/>
              <a:gd name="connsiteY3582" fmla="*/ 1710535 h 6380470"/>
              <a:gd name="connsiteX3583" fmla="*/ 7120189 w 11625583"/>
              <a:gd name="connsiteY3583" fmla="*/ 1775201 h 6380470"/>
              <a:gd name="connsiteX3584" fmla="*/ 7055523 w 11625583"/>
              <a:gd name="connsiteY3584" fmla="*/ 1839865 h 6380470"/>
              <a:gd name="connsiteX3585" fmla="*/ 6990857 w 11625583"/>
              <a:gd name="connsiteY3585" fmla="*/ 1775201 h 6380470"/>
              <a:gd name="connsiteX3586" fmla="*/ 7055523 w 11625583"/>
              <a:gd name="connsiteY3586" fmla="*/ 1710535 h 6380470"/>
              <a:gd name="connsiteX3587" fmla="*/ 6895037 w 11625583"/>
              <a:gd name="connsiteY3587" fmla="*/ 1710535 h 6380470"/>
              <a:gd name="connsiteX3588" fmla="*/ 6959703 w 11625583"/>
              <a:gd name="connsiteY3588" fmla="*/ 1775201 h 6380470"/>
              <a:gd name="connsiteX3589" fmla="*/ 6895037 w 11625583"/>
              <a:gd name="connsiteY3589" fmla="*/ 1839865 h 6380470"/>
              <a:gd name="connsiteX3590" fmla="*/ 6830371 w 11625583"/>
              <a:gd name="connsiteY3590" fmla="*/ 1775201 h 6380470"/>
              <a:gd name="connsiteX3591" fmla="*/ 6895037 w 11625583"/>
              <a:gd name="connsiteY3591" fmla="*/ 1710535 h 6380470"/>
              <a:gd name="connsiteX3592" fmla="*/ 6742375 w 11625583"/>
              <a:gd name="connsiteY3592" fmla="*/ 1710535 h 6380470"/>
              <a:gd name="connsiteX3593" fmla="*/ 6807041 w 11625583"/>
              <a:gd name="connsiteY3593" fmla="*/ 1775201 h 6380470"/>
              <a:gd name="connsiteX3594" fmla="*/ 6742375 w 11625583"/>
              <a:gd name="connsiteY3594" fmla="*/ 1839865 h 6380470"/>
              <a:gd name="connsiteX3595" fmla="*/ 6677709 w 11625583"/>
              <a:gd name="connsiteY3595" fmla="*/ 1775201 h 6380470"/>
              <a:gd name="connsiteX3596" fmla="*/ 6742375 w 11625583"/>
              <a:gd name="connsiteY3596" fmla="*/ 1710535 h 6380470"/>
              <a:gd name="connsiteX3597" fmla="*/ 6585802 w 11625583"/>
              <a:gd name="connsiteY3597" fmla="*/ 1710535 h 6380470"/>
              <a:gd name="connsiteX3598" fmla="*/ 6650468 w 11625583"/>
              <a:gd name="connsiteY3598" fmla="*/ 1775201 h 6380470"/>
              <a:gd name="connsiteX3599" fmla="*/ 6585802 w 11625583"/>
              <a:gd name="connsiteY3599" fmla="*/ 1839865 h 6380470"/>
              <a:gd name="connsiteX3600" fmla="*/ 6521136 w 11625583"/>
              <a:gd name="connsiteY3600" fmla="*/ 1775201 h 6380470"/>
              <a:gd name="connsiteX3601" fmla="*/ 6585802 w 11625583"/>
              <a:gd name="connsiteY3601" fmla="*/ 1710535 h 6380470"/>
              <a:gd name="connsiteX3602" fmla="*/ 6429229 w 11625583"/>
              <a:gd name="connsiteY3602" fmla="*/ 1710535 h 6380470"/>
              <a:gd name="connsiteX3603" fmla="*/ 6493895 w 11625583"/>
              <a:gd name="connsiteY3603" fmla="*/ 1775201 h 6380470"/>
              <a:gd name="connsiteX3604" fmla="*/ 6429229 w 11625583"/>
              <a:gd name="connsiteY3604" fmla="*/ 1839865 h 6380470"/>
              <a:gd name="connsiteX3605" fmla="*/ 6364563 w 11625583"/>
              <a:gd name="connsiteY3605" fmla="*/ 1775201 h 6380470"/>
              <a:gd name="connsiteX3606" fmla="*/ 6429229 w 11625583"/>
              <a:gd name="connsiteY3606" fmla="*/ 1710535 h 6380470"/>
              <a:gd name="connsiteX3607" fmla="*/ 6276571 w 11625583"/>
              <a:gd name="connsiteY3607" fmla="*/ 1710535 h 6380470"/>
              <a:gd name="connsiteX3608" fmla="*/ 6341237 w 11625583"/>
              <a:gd name="connsiteY3608" fmla="*/ 1775201 h 6380470"/>
              <a:gd name="connsiteX3609" fmla="*/ 6276571 w 11625583"/>
              <a:gd name="connsiteY3609" fmla="*/ 1839865 h 6380470"/>
              <a:gd name="connsiteX3610" fmla="*/ 6211905 w 11625583"/>
              <a:gd name="connsiteY3610" fmla="*/ 1775201 h 6380470"/>
              <a:gd name="connsiteX3611" fmla="*/ 6276571 w 11625583"/>
              <a:gd name="connsiteY3611" fmla="*/ 1710535 h 6380470"/>
              <a:gd name="connsiteX3612" fmla="*/ 6119999 w 11625583"/>
              <a:gd name="connsiteY3612" fmla="*/ 1710535 h 6380470"/>
              <a:gd name="connsiteX3613" fmla="*/ 6184665 w 11625583"/>
              <a:gd name="connsiteY3613" fmla="*/ 1775201 h 6380470"/>
              <a:gd name="connsiteX3614" fmla="*/ 6119999 w 11625583"/>
              <a:gd name="connsiteY3614" fmla="*/ 1839865 h 6380470"/>
              <a:gd name="connsiteX3615" fmla="*/ 6055333 w 11625583"/>
              <a:gd name="connsiteY3615" fmla="*/ 1775201 h 6380470"/>
              <a:gd name="connsiteX3616" fmla="*/ 6119999 w 11625583"/>
              <a:gd name="connsiteY3616" fmla="*/ 1710535 h 6380470"/>
              <a:gd name="connsiteX3617" fmla="*/ 5967338 w 11625583"/>
              <a:gd name="connsiteY3617" fmla="*/ 1710535 h 6380470"/>
              <a:gd name="connsiteX3618" fmla="*/ 6032004 w 11625583"/>
              <a:gd name="connsiteY3618" fmla="*/ 1775201 h 6380470"/>
              <a:gd name="connsiteX3619" fmla="*/ 5967338 w 11625583"/>
              <a:gd name="connsiteY3619" fmla="*/ 1839865 h 6380470"/>
              <a:gd name="connsiteX3620" fmla="*/ 5902672 w 11625583"/>
              <a:gd name="connsiteY3620" fmla="*/ 1775201 h 6380470"/>
              <a:gd name="connsiteX3621" fmla="*/ 5967338 w 11625583"/>
              <a:gd name="connsiteY3621" fmla="*/ 1710535 h 6380470"/>
              <a:gd name="connsiteX3622" fmla="*/ 5810800 w 11625583"/>
              <a:gd name="connsiteY3622" fmla="*/ 1710535 h 6380470"/>
              <a:gd name="connsiteX3623" fmla="*/ 5875431 w 11625583"/>
              <a:gd name="connsiteY3623" fmla="*/ 1775201 h 6380470"/>
              <a:gd name="connsiteX3624" fmla="*/ 5810800 w 11625583"/>
              <a:gd name="connsiteY3624" fmla="*/ 1839865 h 6380470"/>
              <a:gd name="connsiteX3625" fmla="*/ 5746117 w 11625583"/>
              <a:gd name="connsiteY3625" fmla="*/ 1775201 h 6380470"/>
              <a:gd name="connsiteX3626" fmla="*/ 5810800 w 11625583"/>
              <a:gd name="connsiteY3626" fmla="*/ 1710535 h 6380470"/>
              <a:gd name="connsiteX3627" fmla="*/ 5658108 w 11625583"/>
              <a:gd name="connsiteY3627" fmla="*/ 1710535 h 6380470"/>
              <a:gd name="connsiteX3628" fmla="*/ 5722783 w 11625583"/>
              <a:gd name="connsiteY3628" fmla="*/ 1775201 h 6380470"/>
              <a:gd name="connsiteX3629" fmla="*/ 5658108 w 11625583"/>
              <a:gd name="connsiteY3629" fmla="*/ 1839865 h 6380470"/>
              <a:gd name="connsiteX3630" fmla="*/ 5593441 w 11625583"/>
              <a:gd name="connsiteY3630" fmla="*/ 1775201 h 6380470"/>
              <a:gd name="connsiteX3631" fmla="*/ 5658108 w 11625583"/>
              <a:gd name="connsiteY3631" fmla="*/ 1710535 h 6380470"/>
              <a:gd name="connsiteX3632" fmla="*/ 5501543 w 11625583"/>
              <a:gd name="connsiteY3632" fmla="*/ 1710535 h 6380470"/>
              <a:gd name="connsiteX3633" fmla="*/ 5566205 w 11625583"/>
              <a:gd name="connsiteY3633" fmla="*/ 1775201 h 6380470"/>
              <a:gd name="connsiteX3634" fmla="*/ 5501543 w 11625583"/>
              <a:gd name="connsiteY3634" fmla="*/ 1839865 h 6380470"/>
              <a:gd name="connsiteX3635" fmla="*/ 5436886 w 11625583"/>
              <a:gd name="connsiteY3635" fmla="*/ 1775201 h 6380470"/>
              <a:gd name="connsiteX3636" fmla="*/ 5501543 w 11625583"/>
              <a:gd name="connsiteY3636" fmla="*/ 1710535 h 6380470"/>
              <a:gd name="connsiteX3637" fmla="*/ 5348888 w 11625583"/>
              <a:gd name="connsiteY3637" fmla="*/ 1710535 h 6380470"/>
              <a:gd name="connsiteX3638" fmla="*/ 5413554 w 11625583"/>
              <a:gd name="connsiteY3638" fmla="*/ 1775201 h 6380470"/>
              <a:gd name="connsiteX3639" fmla="*/ 5348888 w 11625583"/>
              <a:gd name="connsiteY3639" fmla="*/ 1839865 h 6380470"/>
              <a:gd name="connsiteX3640" fmla="*/ 5284230 w 11625583"/>
              <a:gd name="connsiteY3640" fmla="*/ 1775201 h 6380470"/>
              <a:gd name="connsiteX3641" fmla="*/ 5348888 w 11625583"/>
              <a:gd name="connsiteY3641" fmla="*/ 1710535 h 6380470"/>
              <a:gd name="connsiteX3642" fmla="*/ 5192321 w 11625583"/>
              <a:gd name="connsiteY3642" fmla="*/ 1710535 h 6380470"/>
              <a:gd name="connsiteX3643" fmla="*/ 5256982 w 11625583"/>
              <a:gd name="connsiteY3643" fmla="*/ 1775201 h 6380470"/>
              <a:gd name="connsiteX3644" fmla="*/ 5192321 w 11625583"/>
              <a:gd name="connsiteY3644" fmla="*/ 1839865 h 6380470"/>
              <a:gd name="connsiteX3645" fmla="*/ 5127656 w 11625583"/>
              <a:gd name="connsiteY3645" fmla="*/ 1775201 h 6380470"/>
              <a:gd name="connsiteX3646" fmla="*/ 5192321 w 11625583"/>
              <a:gd name="connsiteY3646" fmla="*/ 1710535 h 6380470"/>
              <a:gd name="connsiteX3647" fmla="*/ 3630603 w 11625583"/>
              <a:gd name="connsiteY3647" fmla="*/ 1710535 h 6380470"/>
              <a:gd name="connsiteX3648" fmla="*/ 3695268 w 11625583"/>
              <a:gd name="connsiteY3648" fmla="*/ 1775201 h 6380470"/>
              <a:gd name="connsiteX3649" fmla="*/ 3630603 w 11625583"/>
              <a:gd name="connsiteY3649" fmla="*/ 1839865 h 6380470"/>
              <a:gd name="connsiteX3650" fmla="*/ 3565924 w 11625583"/>
              <a:gd name="connsiteY3650" fmla="*/ 1775201 h 6380470"/>
              <a:gd name="connsiteX3651" fmla="*/ 3630603 w 11625583"/>
              <a:gd name="connsiteY3651" fmla="*/ 1710535 h 6380470"/>
              <a:gd name="connsiteX3652" fmla="*/ 3481848 w 11625583"/>
              <a:gd name="connsiteY3652" fmla="*/ 1710535 h 6380470"/>
              <a:gd name="connsiteX3653" fmla="*/ 3546518 w 11625583"/>
              <a:gd name="connsiteY3653" fmla="*/ 1775201 h 6380470"/>
              <a:gd name="connsiteX3654" fmla="*/ 3481848 w 11625583"/>
              <a:gd name="connsiteY3654" fmla="*/ 1839865 h 6380470"/>
              <a:gd name="connsiteX3655" fmla="*/ 3417193 w 11625583"/>
              <a:gd name="connsiteY3655" fmla="*/ 1775201 h 6380470"/>
              <a:gd name="connsiteX3656" fmla="*/ 3481848 w 11625583"/>
              <a:gd name="connsiteY3656" fmla="*/ 1710535 h 6380470"/>
              <a:gd name="connsiteX3657" fmla="*/ 3321383 w 11625583"/>
              <a:gd name="connsiteY3657" fmla="*/ 1710535 h 6380470"/>
              <a:gd name="connsiteX3658" fmla="*/ 3386026 w 11625583"/>
              <a:gd name="connsiteY3658" fmla="*/ 1775201 h 6380470"/>
              <a:gd name="connsiteX3659" fmla="*/ 3321383 w 11625583"/>
              <a:gd name="connsiteY3659" fmla="*/ 1839865 h 6380470"/>
              <a:gd name="connsiteX3660" fmla="*/ 3256721 w 11625583"/>
              <a:gd name="connsiteY3660" fmla="*/ 1775201 h 6380470"/>
              <a:gd name="connsiteX3661" fmla="*/ 3321383 w 11625583"/>
              <a:gd name="connsiteY3661" fmla="*/ 1710535 h 6380470"/>
              <a:gd name="connsiteX3662" fmla="*/ 3172630 w 11625583"/>
              <a:gd name="connsiteY3662" fmla="*/ 1710535 h 6380470"/>
              <a:gd name="connsiteX3663" fmla="*/ 3237304 w 11625583"/>
              <a:gd name="connsiteY3663" fmla="*/ 1775201 h 6380470"/>
              <a:gd name="connsiteX3664" fmla="*/ 3172630 w 11625583"/>
              <a:gd name="connsiteY3664" fmla="*/ 1839865 h 6380470"/>
              <a:gd name="connsiteX3665" fmla="*/ 3107947 w 11625583"/>
              <a:gd name="connsiteY3665" fmla="*/ 1775201 h 6380470"/>
              <a:gd name="connsiteX3666" fmla="*/ 3172630 w 11625583"/>
              <a:gd name="connsiteY3666" fmla="*/ 1710535 h 6380470"/>
              <a:gd name="connsiteX3667" fmla="*/ 3012113 w 11625583"/>
              <a:gd name="connsiteY3667" fmla="*/ 1710535 h 6380470"/>
              <a:gd name="connsiteX3668" fmla="*/ 3076783 w 11625583"/>
              <a:gd name="connsiteY3668" fmla="*/ 1775201 h 6380470"/>
              <a:gd name="connsiteX3669" fmla="*/ 3012113 w 11625583"/>
              <a:gd name="connsiteY3669" fmla="*/ 1839865 h 6380470"/>
              <a:gd name="connsiteX3670" fmla="*/ 2947457 w 11625583"/>
              <a:gd name="connsiteY3670" fmla="*/ 1775201 h 6380470"/>
              <a:gd name="connsiteX3671" fmla="*/ 3012113 w 11625583"/>
              <a:gd name="connsiteY3671" fmla="*/ 1710535 h 6380470"/>
              <a:gd name="connsiteX3672" fmla="*/ 2855561 w 11625583"/>
              <a:gd name="connsiteY3672" fmla="*/ 1710535 h 6380470"/>
              <a:gd name="connsiteX3673" fmla="*/ 2920218 w 11625583"/>
              <a:gd name="connsiteY3673" fmla="*/ 1775201 h 6380470"/>
              <a:gd name="connsiteX3674" fmla="*/ 2855561 w 11625583"/>
              <a:gd name="connsiteY3674" fmla="*/ 1839865 h 6380470"/>
              <a:gd name="connsiteX3675" fmla="*/ 2790904 w 11625583"/>
              <a:gd name="connsiteY3675" fmla="*/ 1775201 h 6380470"/>
              <a:gd name="connsiteX3676" fmla="*/ 2855561 w 11625583"/>
              <a:gd name="connsiteY3676" fmla="*/ 1710535 h 6380470"/>
              <a:gd name="connsiteX3677" fmla="*/ 2699010 w 11625583"/>
              <a:gd name="connsiteY3677" fmla="*/ 1710535 h 6380470"/>
              <a:gd name="connsiteX3678" fmla="*/ 2763667 w 11625583"/>
              <a:gd name="connsiteY3678" fmla="*/ 1775201 h 6380470"/>
              <a:gd name="connsiteX3679" fmla="*/ 2699010 w 11625583"/>
              <a:gd name="connsiteY3679" fmla="*/ 1839865 h 6380470"/>
              <a:gd name="connsiteX3680" fmla="*/ 2634353 w 11625583"/>
              <a:gd name="connsiteY3680" fmla="*/ 1775201 h 6380470"/>
              <a:gd name="connsiteX3681" fmla="*/ 2699010 w 11625583"/>
              <a:gd name="connsiteY3681" fmla="*/ 1710535 h 6380470"/>
              <a:gd name="connsiteX3682" fmla="*/ 2546372 w 11625583"/>
              <a:gd name="connsiteY3682" fmla="*/ 1710535 h 6380470"/>
              <a:gd name="connsiteX3683" fmla="*/ 2611030 w 11625583"/>
              <a:gd name="connsiteY3683" fmla="*/ 1775201 h 6380470"/>
              <a:gd name="connsiteX3684" fmla="*/ 2546372 w 11625583"/>
              <a:gd name="connsiteY3684" fmla="*/ 1839865 h 6380470"/>
              <a:gd name="connsiteX3685" fmla="*/ 2481712 w 11625583"/>
              <a:gd name="connsiteY3685" fmla="*/ 1775201 h 6380470"/>
              <a:gd name="connsiteX3686" fmla="*/ 2546372 w 11625583"/>
              <a:gd name="connsiteY3686" fmla="*/ 1710535 h 6380470"/>
              <a:gd name="connsiteX3687" fmla="*/ 2389782 w 11625583"/>
              <a:gd name="connsiteY3687" fmla="*/ 1710535 h 6380470"/>
              <a:gd name="connsiteX3688" fmla="*/ 2454476 w 11625583"/>
              <a:gd name="connsiteY3688" fmla="*/ 1775201 h 6380470"/>
              <a:gd name="connsiteX3689" fmla="*/ 2389782 w 11625583"/>
              <a:gd name="connsiteY3689" fmla="*/ 1839865 h 6380470"/>
              <a:gd name="connsiteX3690" fmla="*/ 2325139 w 11625583"/>
              <a:gd name="connsiteY3690" fmla="*/ 1775201 h 6380470"/>
              <a:gd name="connsiteX3691" fmla="*/ 2389782 w 11625583"/>
              <a:gd name="connsiteY3691" fmla="*/ 1710535 h 6380470"/>
              <a:gd name="connsiteX3692" fmla="*/ 2237121 w 11625583"/>
              <a:gd name="connsiteY3692" fmla="*/ 1710535 h 6380470"/>
              <a:gd name="connsiteX3693" fmla="*/ 2301804 w 11625583"/>
              <a:gd name="connsiteY3693" fmla="*/ 1775201 h 6380470"/>
              <a:gd name="connsiteX3694" fmla="*/ 2237121 w 11625583"/>
              <a:gd name="connsiteY3694" fmla="*/ 1839865 h 6380470"/>
              <a:gd name="connsiteX3695" fmla="*/ 2172438 w 11625583"/>
              <a:gd name="connsiteY3695" fmla="*/ 1775201 h 6380470"/>
              <a:gd name="connsiteX3696" fmla="*/ 2237121 w 11625583"/>
              <a:gd name="connsiteY3696" fmla="*/ 1710535 h 6380470"/>
              <a:gd name="connsiteX3697" fmla="*/ 2084441 w 11625583"/>
              <a:gd name="connsiteY3697" fmla="*/ 1710535 h 6380470"/>
              <a:gd name="connsiteX3698" fmla="*/ 2149104 w 11625583"/>
              <a:gd name="connsiteY3698" fmla="*/ 1775201 h 6380470"/>
              <a:gd name="connsiteX3699" fmla="*/ 2084441 w 11625583"/>
              <a:gd name="connsiteY3699" fmla="*/ 1839865 h 6380470"/>
              <a:gd name="connsiteX3700" fmla="*/ 2019794 w 11625583"/>
              <a:gd name="connsiteY3700" fmla="*/ 1775201 h 6380470"/>
              <a:gd name="connsiteX3701" fmla="*/ 2084441 w 11625583"/>
              <a:gd name="connsiteY3701" fmla="*/ 1710535 h 6380470"/>
              <a:gd name="connsiteX3702" fmla="*/ 1927857 w 11625583"/>
              <a:gd name="connsiteY3702" fmla="*/ 1710535 h 6380470"/>
              <a:gd name="connsiteX3703" fmla="*/ 1992543 w 11625583"/>
              <a:gd name="connsiteY3703" fmla="*/ 1775201 h 6380470"/>
              <a:gd name="connsiteX3704" fmla="*/ 1927857 w 11625583"/>
              <a:gd name="connsiteY3704" fmla="*/ 1839865 h 6380470"/>
              <a:gd name="connsiteX3705" fmla="*/ 1863219 w 11625583"/>
              <a:gd name="connsiteY3705" fmla="*/ 1775201 h 6380470"/>
              <a:gd name="connsiteX3706" fmla="*/ 1927857 w 11625583"/>
              <a:gd name="connsiteY3706" fmla="*/ 1710535 h 6380470"/>
              <a:gd name="connsiteX3707" fmla="*/ 1775206 w 11625583"/>
              <a:gd name="connsiteY3707" fmla="*/ 1710535 h 6380470"/>
              <a:gd name="connsiteX3708" fmla="*/ 1839889 w 11625583"/>
              <a:gd name="connsiteY3708" fmla="*/ 1775201 h 6380470"/>
              <a:gd name="connsiteX3709" fmla="*/ 1775206 w 11625583"/>
              <a:gd name="connsiteY3709" fmla="*/ 1839865 h 6380470"/>
              <a:gd name="connsiteX3710" fmla="*/ 1710535 w 11625583"/>
              <a:gd name="connsiteY3710" fmla="*/ 1775201 h 6380470"/>
              <a:gd name="connsiteX3711" fmla="*/ 1775206 w 11625583"/>
              <a:gd name="connsiteY3711" fmla="*/ 1710535 h 6380470"/>
              <a:gd name="connsiteX3712" fmla="*/ 1618624 w 11625583"/>
              <a:gd name="connsiteY3712" fmla="*/ 1710535 h 6380470"/>
              <a:gd name="connsiteX3713" fmla="*/ 1683293 w 11625583"/>
              <a:gd name="connsiteY3713" fmla="*/ 1775201 h 6380470"/>
              <a:gd name="connsiteX3714" fmla="*/ 1618624 w 11625583"/>
              <a:gd name="connsiteY3714" fmla="*/ 1839865 h 6380470"/>
              <a:gd name="connsiteX3715" fmla="*/ 1553961 w 11625583"/>
              <a:gd name="connsiteY3715" fmla="*/ 1775201 h 6380470"/>
              <a:gd name="connsiteX3716" fmla="*/ 1618624 w 11625583"/>
              <a:gd name="connsiteY3716" fmla="*/ 1710535 h 6380470"/>
              <a:gd name="connsiteX3717" fmla="*/ 1465967 w 11625583"/>
              <a:gd name="connsiteY3717" fmla="*/ 1710535 h 6380470"/>
              <a:gd name="connsiteX3718" fmla="*/ 1530634 w 11625583"/>
              <a:gd name="connsiteY3718" fmla="*/ 1775201 h 6380470"/>
              <a:gd name="connsiteX3719" fmla="*/ 1465967 w 11625583"/>
              <a:gd name="connsiteY3719" fmla="*/ 1839865 h 6380470"/>
              <a:gd name="connsiteX3720" fmla="*/ 1401304 w 11625583"/>
              <a:gd name="connsiteY3720" fmla="*/ 1775201 h 6380470"/>
              <a:gd name="connsiteX3721" fmla="*/ 1465967 w 11625583"/>
              <a:gd name="connsiteY3721" fmla="*/ 1710535 h 6380470"/>
              <a:gd name="connsiteX3722" fmla="*/ 1309394 w 11625583"/>
              <a:gd name="connsiteY3722" fmla="*/ 1710535 h 6380470"/>
              <a:gd name="connsiteX3723" fmla="*/ 1374060 w 11625583"/>
              <a:gd name="connsiteY3723" fmla="*/ 1775201 h 6380470"/>
              <a:gd name="connsiteX3724" fmla="*/ 1309394 w 11625583"/>
              <a:gd name="connsiteY3724" fmla="*/ 1839865 h 6380470"/>
              <a:gd name="connsiteX3725" fmla="*/ 1244728 w 11625583"/>
              <a:gd name="connsiteY3725" fmla="*/ 1775201 h 6380470"/>
              <a:gd name="connsiteX3726" fmla="*/ 1309394 w 11625583"/>
              <a:gd name="connsiteY3726" fmla="*/ 1710535 h 6380470"/>
              <a:gd name="connsiteX3727" fmla="*/ 1148909 w 11625583"/>
              <a:gd name="connsiteY3727" fmla="*/ 1710535 h 6380470"/>
              <a:gd name="connsiteX3728" fmla="*/ 1213575 w 11625583"/>
              <a:gd name="connsiteY3728" fmla="*/ 1775201 h 6380470"/>
              <a:gd name="connsiteX3729" fmla="*/ 1148909 w 11625583"/>
              <a:gd name="connsiteY3729" fmla="*/ 1839865 h 6380470"/>
              <a:gd name="connsiteX3730" fmla="*/ 1084244 w 11625583"/>
              <a:gd name="connsiteY3730" fmla="*/ 1775201 h 6380470"/>
              <a:gd name="connsiteX3731" fmla="*/ 1148909 w 11625583"/>
              <a:gd name="connsiteY3731" fmla="*/ 1710535 h 6380470"/>
              <a:gd name="connsiteX3732" fmla="*/ 8914829 w 11625583"/>
              <a:gd name="connsiteY3732" fmla="*/ 1565709 h 6380470"/>
              <a:gd name="connsiteX3733" fmla="*/ 8979495 w 11625583"/>
              <a:gd name="connsiteY3733" fmla="*/ 1630374 h 6380470"/>
              <a:gd name="connsiteX3734" fmla="*/ 8914829 w 11625583"/>
              <a:gd name="connsiteY3734" fmla="*/ 1695039 h 6380470"/>
              <a:gd name="connsiteX3735" fmla="*/ 8850163 w 11625583"/>
              <a:gd name="connsiteY3735" fmla="*/ 1630374 h 6380470"/>
              <a:gd name="connsiteX3736" fmla="*/ 8914829 w 11625583"/>
              <a:gd name="connsiteY3736" fmla="*/ 1565709 h 6380470"/>
              <a:gd name="connsiteX3737" fmla="*/ 8766086 w 11625583"/>
              <a:gd name="connsiteY3737" fmla="*/ 1565709 h 6380470"/>
              <a:gd name="connsiteX3738" fmla="*/ 8830752 w 11625583"/>
              <a:gd name="connsiteY3738" fmla="*/ 1630374 h 6380470"/>
              <a:gd name="connsiteX3739" fmla="*/ 8766086 w 11625583"/>
              <a:gd name="connsiteY3739" fmla="*/ 1695039 h 6380470"/>
              <a:gd name="connsiteX3740" fmla="*/ 8701420 w 11625583"/>
              <a:gd name="connsiteY3740" fmla="*/ 1630374 h 6380470"/>
              <a:gd name="connsiteX3741" fmla="*/ 8766086 w 11625583"/>
              <a:gd name="connsiteY3741" fmla="*/ 1565709 h 6380470"/>
              <a:gd name="connsiteX3742" fmla="*/ 8601683 w 11625583"/>
              <a:gd name="connsiteY3742" fmla="*/ 1565709 h 6380470"/>
              <a:gd name="connsiteX3743" fmla="*/ 8666349 w 11625583"/>
              <a:gd name="connsiteY3743" fmla="*/ 1630374 h 6380470"/>
              <a:gd name="connsiteX3744" fmla="*/ 8601683 w 11625583"/>
              <a:gd name="connsiteY3744" fmla="*/ 1695039 h 6380470"/>
              <a:gd name="connsiteX3745" fmla="*/ 8537017 w 11625583"/>
              <a:gd name="connsiteY3745" fmla="*/ 1630374 h 6380470"/>
              <a:gd name="connsiteX3746" fmla="*/ 8601683 w 11625583"/>
              <a:gd name="connsiteY3746" fmla="*/ 1565709 h 6380470"/>
              <a:gd name="connsiteX3747" fmla="*/ 8449025 w 11625583"/>
              <a:gd name="connsiteY3747" fmla="*/ 1565709 h 6380470"/>
              <a:gd name="connsiteX3748" fmla="*/ 8513691 w 11625583"/>
              <a:gd name="connsiteY3748" fmla="*/ 1630374 h 6380470"/>
              <a:gd name="connsiteX3749" fmla="*/ 8449025 w 11625583"/>
              <a:gd name="connsiteY3749" fmla="*/ 1695039 h 6380470"/>
              <a:gd name="connsiteX3750" fmla="*/ 8384359 w 11625583"/>
              <a:gd name="connsiteY3750" fmla="*/ 1630374 h 6380470"/>
              <a:gd name="connsiteX3751" fmla="*/ 8449025 w 11625583"/>
              <a:gd name="connsiteY3751" fmla="*/ 1565709 h 6380470"/>
              <a:gd name="connsiteX3752" fmla="*/ 8296367 w 11625583"/>
              <a:gd name="connsiteY3752" fmla="*/ 1565709 h 6380470"/>
              <a:gd name="connsiteX3753" fmla="*/ 8361033 w 11625583"/>
              <a:gd name="connsiteY3753" fmla="*/ 1630374 h 6380470"/>
              <a:gd name="connsiteX3754" fmla="*/ 8296367 w 11625583"/>
              <a:gd name="connsiteY3754" fmla="*/ 1695039 h 6380470"/>
              <a:gd name="connsiteX3755" fmla="*/ 8231701 w 11625583"/>
              <a:gd name="connsiteY3755" fmla="*/ 1630374 h 6380470"/>
              <a:gd name="connsiteX3756" fmla="*/ 8296367 w 11625583"/>
              <a:gd name="connsiteY3756" fmla="*/ 1565709 h 6380470"/>
              <a:gd name="connsiteX3757" fmla="*/ 8139792 w 11625583"/>
              <a:gd name="connsiteY3757" fmla="*/ 1565709 h 6380470"/>
              <a:gd name="connsiteX3758" fmla="*/ 8204458 w 11625583"/>
              <a:gd name="connsiteY3758" fmla="*/ 1630374 h 6380470"/>
              <a:gd name="connsiteX3759" fmla="*/ 8139792 w 11625583"/>
              <a:gd name="connsiteY3759" fmla="*/ 1695039 h 6380470"/>
              <a:gd name="connsiteX3760" fmla="*/ 8075126 w 11625583"/>
              <a:gd name="connsiteY3760" fmla="*/ 1630374 h 6380470"/>
              <a:gd name="connsiteX3761" fmla="*/ 8139792 w 11625583"/>
              <a:gd name="connsiteY3761" fmla="*/ 1565709 h 6380470"/>
              <a:gd name="connsiteX3762" fmla="*/ 7987133 w 11625583"/>
              <a:gd name="connsiteY3762" fmla="*/ 1565709 h 6380470"/>
              <a:gd name="connsiteX3763" fmla="*/ 8051799 w 11625583"/>
              <a:gd name="connsiteY3763" fmla="*/ 1630374 h 6380470"/>
              <a:gd name="connsiteX3764" fmla="*/ 7987133 w 11625583"/>
              <a:gd name="connsiteY3764" fmla="*/ 1695039 h 6380470"/>
              <a:gd name="connsiteX3765" fmla="*/ 7922467 w 11625583"/>
              <a:gd name="connsiteY3765" fmla="*/ 1630374 h 6380470"/>
              <a:gd name="connsiteX3766" fmla="*/ 7987133 w 11625583"/>
              <a:gd name="connsiteY3766" fmla="*/ 1565709 h 6380470"/>
              <a:gd name="connsiteX3767" fmla="*/ 7830562 w 11625583"/>
              <a:gd name="connsiteY3767" fmla="*/ 1565709 h 6380470"/>
              <a:gd name="connsiteX3768" fmla="*/ 7895228 w 11625583"/>
              <a:gd name="connsiteY3768" fmla="*/ 1630374 h 6380470"/>
              <a:gd name="connsiteX3769" fmla="*/ 7830562 w 11625583"/>
              <a:gd name="connsiteY3769" fmla="*/ 1695039 h 6380470"/>
              <a:gd name="connsiteX3770" fmla="*/ 7765896 w 11625583"/>
              <a:gd name="connsiteY3770" fmla="*/ 1630374 h 6380470"/>
              <a:gd name="connsiteX3771" fmla="*/ 7830562 w 11625583"/>
              <a:gd name="connsiteY3771" fmla="*/ 1565709 h 6380470"/>
              <a:gd name="connsiteX3772" fmla="*/ 7677902 w 11625583"/>
              <a:gd name="connsiteY3772" fmla="*/ 1565709 h 6380470"/>
              <a:gd name="connsiteX3773" fmla="*/ 7742568 w 11625583"/>
              <a:gd name="connsiteY3773" fmla="*/ 1630374 h 6380470"/>
              <a:gd name="connsiteX3774" fmla="*/ 7677902 w 11625583"/>
              <a:gd name="connsiteY3774" fmla="*/ 1695039 h 6380470"/>
              <a:gd name="connsiteX3775" fmla="*/ 7613236 w 11625583"/>
              <a:gd name="connsiteY3775" fmla="*/ 1630374 h 6380470"/>
              <a:gd name="connsiteX3776" fmla="*/ 7677902 w 11625583"/>
              <a:gd name="connsiteY3776" fmla="*/ 1565709 h 6380470"/>
              <a:gd name="connsiteX3777" fmla="*/ 7521329 w 11625583"/>
              <a:gd name="connsiteY3777" fmla="*/ 1565709 h 6380470"/>
              <a:gd name="connsiteX3778" fmla="*/ 7585995 w 11625583"/>
              <a:gd name="connsiteY3778" fmla="*/ 1630374 h 6380470"/>
              <a:gd name="connsiteX3779" fmla="*/ 7521329 w 11625583"/>
              <a:gd name="connsiteY3779" fmla="*/ 1695039 h 6380470"/>
              <a:gd name="connsiteX3780" fmla="*/ 7456663 w 11625583"/>
              <a:gd name="connsiteY3780" fmla="*/ 1630374 h 6380470"/>
              <a:gd name="connsiteX3781" fmla="*/ 7521329 w 11625583"/>
              <a:gd name="connsiteY3781" fmla="*/ 1565709 h 6380470"/>
              <a:gd name="connsiteX3782" fmla="*/ 7368669 w 11625583"/>
              <a:gd name="connsiteY3782" fmla="*/ 1565709 h 6380470"/>
              <a:gd name="connsiteX3783" fmla="*/ 7433335 w 11625583"/>
              <a:gd name="connsiteY3783" fmla="*/ 1630374 h 6380470"/>
              <a:gd name="connsiteX3784" fmla="*/ 7368669 w 11625583"/>
              <a:gd name="connsiteY3784" fmla="*/ 1695039 h 6380470"/>
              <a:gd name="connsiteX3785" fmla="*/ 7304003 w 11625583"/>
              <a:gd name="connsiteY3785" fmla="*/ 1630374 h 6380470"/>
              <a:gd name="connsiteX3786" fmla="*/ 7368669 w 11625583"/>
              <a:gd name="connsiteY3786" fmla="*/ 1565709 h 6380470"/>
              <a:gd name="connsiteX3787" fmla="*/ 7212096 w 11625583"/>
              <a:gd name="connsiteY3787" fmla="*/ 1565709 h 6380470"/>
              <a:gd name="connsiteX3788" fmla="*/ 7276762 w 11625583"/>
              <a:gd name="connsiteY3788" fmla="*/ 1630374 h 6380470"/>
              <a:gd name="connsiteX3789" fmla="*/ 7212096 w 11625583"/>
              <a:gd name="connsiteY3789" fmla="*/ 1695039 h 6380470"/>
              <a:gd name="connsiteX3790" fmla="*/ 7147430 w 11625583"/>
              <a:gd name="connsiteY3790" fmla="*/ 1630374 h 6380470"/>
              <a:gd name="connsiteX3791" fmla="*/ 7212096 w 11625583"/>
              <a:gd name="connsiteY3791" fmla="*/ 1565709 h 6380470"/>
              <a:gd name="connsiteX3792" fmla="*/ 7055523 w 11625583"/>
              <a:gd name="connsiteY3792" fmla="*/ 1565709 h 6380470"/>
              <a:gd name="connsiteX3793" fmla="*/ 7120189 w 11625583"/>
              <a:gd name="connsiteY3793" fmla="*/ 1630374 h 6380470"/>
              <a:gd name="connsiteX3794" fmla="*/ 7055523 w 11625583"/>
              <a:gd name="connsiteY3794" fmla="*/ 1695039 h 6380470"/>
              <a:gd name="connsiteX3795" fmla="*/ 6990857 w 11625583"/>
              <a:gd name="connsiteY3795" fmla="*/ 1630374 h 6380470"/>
              <a:gd name="connsiteX3796" fmla="*/ 7055523 w 11625583"/>
              <a:gd name="connsiteY3796" fmla="*/ 1565709 h 6380470"/>
              <a:gd name="connsiteX3797" fmla="*/ 6895037 w 11625583"/>
              <a:gd name="connsiteY3797" fmla="*/ 1565709 h 6380470"/>
              <a:gd name="connsiteX3798" fmla="*/ 6959703 w 11625583"/>
              <a:gd name="connsiteY3798" fmla="*/ 1630374 h 6380470"/>
              <a:gd name="connsiteX3799" fmla="*/ 6895037 w 11625583"/>
              <a:gd name="connsiteY3799" fmla="*/ 1695039 h 6380470"/>
              <a:gd name="connsiteX3800" fmla="*/ 6830371 w 11625583"/>
              <a:gd name="connsiteY3800" fmla="*/ 1630374 h 6380470"/>
              <a:gd name="connsiteX3801" fmla="*/ 6895037 w 11625583"/>
              <a:gd name="connsiteY3801" fmla="*/ 1565709 h 6380470"/>
              <a:gd name="connsiteX3802" fmla="*/ 6742375 w 11625583"/>
              <a:gd name="connsiteY3802" fmla="*/ 1565709 h 6380470"/>
              <a:gd name="connsiteX3803" fmla="*/ 6807041 w 11625583"/>
              <a:gd name="connsiteY3803" fmla="*/ 1630374 h 6380470"/>
              <a:gd name="connsiteX3804" fmla="*/ 6742375 w 11625583"/>
              <a:gd name="connsiteY3804" fmla="*/ 1695039 h 6380470"/>
              <a:gd name="connsiteX3805" fmla="*/ 6677709 w 11625583"/>
              <a:gd name="connsiteY3805" fmla="*/ 1630374 h 6380470"/>
              <a:gd name="connsiteX3806" fmla="*/ 6742375 w 11625583"/>
              <a:gd name="connsiteY3806" fmla="*/ 1565709 h 6380470"/>
              <a:gd name="connsiteX3807" fmla="*/ 6585802 w 11625583"/>
              <a:gd name="connsiteY3807" fmla="*/ 1565709 h 6380470"/>
              <a:gd name="connsiteX3808" fmla="*/ 6650468 w 11625583"/>
              <a:gd name="connsiteY3808" fmla="*/ 1630374 h 6380470"/>
              <a:gd name="connsiteX3809" fmla="*/ 6585802 w 11625583"/>
              <a:gd name="connsiteY3809" fmla="*/ 1695039 h 6380470"/>
              <a:gd name="connsiteX3810" fmla="*/ 6521136 w 11625583"/>
              <a:gd name="connsiteY3810" fmla="*/ 1630374 h 6380470"/>
              <a:gd name="connsiteX3811" fmla="*/ 6585802 w 11625583"/>
              <a:gd name="connsiteY3811" fmla="*/ 1565709 h 6380470"/>
              <a:gd name="connsiteX3812" fmla="*/ 6429229 w 11625583"/>
              <a:gd name="connsiteY3812" fmla="*/ 1565709 h 6380470"/>
              <a:gd name="connsiteX3813" fmla="*/ 6493895 w 11625583"/>
              <a:gd name="connsiteY3813" fmla="*/ 1630374 h 6380470"/>
              <a:gd name="connsiteX3814" fmla="*/ 6429229 w 11625583"/>
              <a:gd name="connsiteY3814" fmla="*/ 1695039 h 6380470"/>
              <a:gd name="connsiteX3815" fmla="*/ 6364563 w 11625583"/>
              <a:gd name="connsiteY3815" fmla="*/ 1630374 h 6380470"/>
              <a:gd name="connsiteX3816" fmla="*/ 6429229 w 11625583"/>
              <a:gd name="connsiteY3816" fmla="*/ 1565709 h 6380470"/>
              <a:gd name="connsiteX3817" fmla="*/ 6276571 w 11625583"/>
              <a:gd name="connsiteY3817" fmla="*/ 1565709 h 6380470"/>
              <a:gd name="connsiteX3818" fmla="*/ 6341237 w 11625583"/>
              <a:gd name="connsiteY3818" fmla="*/ 1630374 h 6380470"/>
              <a:gd name="connsiteX3819" fmla="*/ 6276571 w 11625583"/>
              <a:gd name="connsiteY3819" fmla="*/ 1695039 h 6380470"/>
              <a:gd name="connsiteX3820" fmla="*/ 6211905 w 11625583"/>
              <a:gd name="connsiteY3820" fmla="*/ 1630374 h 6380470"/>
              <a:gd name="connsiteX3821" fmla="*/ 6276571 w 11625583"/>
              <a:gd name="connsiteY3821" fmla="*/ 1565709 h 6380470"/>
              <a:gd name="connsiteX3822" fmla="*/ 5810802 w 11625583"/>
              <a:gd name="connsiteY3822" fmla="*/ 1565709 h 6380470"/>
              <a:gd name="connsiteX3823" fmla="*/ 5875431 w 11625583"/>
              <a:gd name="connsiteY3823" fmla="*/ 1630374 h 6380470"/>
              <a:gd name="connsiteX3824" fmla="*/ 5810802 w 11625583"/>
              <a:gd name="connsiteY3824" fmla="*/ 1695039 h 6380470"/>
              <a:gd name="connsiteX3825" fmla="*/ 5746117 w 11625583"/>
              <a:gd name="connsiteY3825" fmla="*/ 1630374 h 6380470"/>
              <a:gd name="connsiteX3826" fmla="*/ 5810802 w 11625583"/>
              <a:gd name="connsiteY3826" fmla="*/ 1565709 h 6380470"/>
              <a:gd name="connsiteX3827" fmla="*/ 5348888 w 11625583"/>
              <a:gd name="connsiteY3827" fmla="*/ 1565709 h 6380470"/>
              <a:gd name="connsiteX3828" fmla="*/ 5413556 w 11625583"/>
              <a:gd name="connsiteY3828" fmla="*/ 1630374 h 6380470"/>
              <a:gd name="connsiteX3829" fmla="*/ 5348888 w 11625583"/>
              <a:gd name="connsiteY3829" fmla="*/ 1695039 h 6380470"/>
              <a:gd name="connsiteX3830" fmla="*/ 5284232 w 11625583"/>
              <a:gd name="connsiteY3830" fmla="*/ 1630374 h 6380470"/>
              <a:gd name="connsiteX3831" fmla="*/ 5348888 w 11625583"/>
              <a:gd name="connsiteY3831" fmla="*/ 1565709 h 6380470"/>
              <a:gd name="connsiteX3832" fmla="*/ 3481855 w 11625583"/>
              <a:gd name="connsiteY3832" fmla="*/ 1565709 h 6380470"/>
              <a:gd name="connsiteX3833" fmla="*/ 3546525 w 11625583"/>
              <a:gd name="connsiteY3833" fmla="*/ 1630374 h 6380470"/>
              <a:gd name="connsiteX3834" fmla="*/ 3481855 w 11625583"/>
              <a:gd name="connsiteY3834" fmla="*/ 1695039 h 6380470"/>
              <a:gd name="connsiteX3835" fmla="*/ 3417201 w 11625583"/>
              <a:gd name="connsiteY3835" fmla="*/ 1630374 h 6380470"/>
              <a:gd name="connsiteX3836" fmla="*/ 3481855 w 11625583"/>
              <a:gd name="connsiteY3836" fmla="*/ 1565709 h 6380470"/>
              <a:gd name="connsiteX3837" fmla="*/ 3321390 w 11625583"/>
              <a:gd name="connsiteY3837" fmla="*/ 1565709 h 6380470"/>
              <a:gd name="connsiteX3838" fmla="*/ 3386032 w 11625583"/>
              <a:gd name="connsiteY3838" fmla="*/ 1630374 h 6380470"/>
              <a:gd name="connsiteX3839" fmla="*/ 3321390 w 11625583"/>
              <a:gd name="connsiteY3839" fmla="*/ 1695039 h 6380470"/>
              <a:gd name="connsiteX3840" fmla="*/ 3256727 w 11625583"/>
              <a:gd name="connsiteY3840" fmla="*/ 1630374 h 6380470"/>
              <a:gd name="connsiteX3841" fmla="*/ 3321390 w 11625583"/>
              <a:gd name="connsiteY3841" fmla="*/ 1565709 h 6380470"/>
              <a:gd name="connsiteX3842" fmla="*/ 3172637 w 11625583"/>
              <a:gd name="connsiteY3842" fmla="*/ 1565709 h 6380470"/>
              <a:gd name="connsiteX3843" fmla="*/ 3237310 w 11625583"/>
              <a:gd name="connsiteY3843" fmla="*/ 1630374 h 6380470"/>
              <a:gd name="connsiteX3844" fmla="*/ 3172637 w 11625583"/>
              <a:gd name="connsiteY3844" fmla="*/ 1695039 h 6380470"/>
              <a:gd name="connsiteX3845" fmla="*/ 3107954 w 11625583"/>
              <a:gd name="connsiteY3845" fmla="*/ 1630374 h 6380470"/>
              <a:gd name="connsiteX3846" fmla="*/ 3172637 w 11625583"/>
              <a:gd name="connsiteY3846" fmla="*/ 1565709 h 6380470"/>
              <a:gd name="connsiteX3847" fmla="*/ 3012119 w 11625583"/>
              <a:gd name="connsiteY3847" fmla="*/ 1565709 h 6380470"/>
              <a:gd name="connsiteX3848" fmla="*/ 3076788 w 11625583"/>
              <a:gd name="connsiteY3848" fmla="*/ 1630374 h 6380470"/>
              <a:gd name="connsiteX3849" fmla="*/ 3012119 w 11625583"/>
              <a:gd name="connsiteY3849" fmla="*/ 1695039 h 6380470"/>
              <a:gd name="connsiteX3850" fmla="*/ 2947463 w 11625583"/>
              <a:gd name="connsiteY3850" fmla="*/ 1630374 h 6380470"/>
              <a:gd name="connsiteX3851" fmla="*/ 3012119 w 11625583"/>
              <a:gd name="connsiteY3851" fmla="*/ 1565709 h 6380470"/>
              <a:gd name="connsiteX3852" fmla="*/ 2546380 w 11625583"/>
              <a:gd name="connsiteY3852" fmla="*/ 1565709 h 6380470"/>
              <a:gd name="connsiteX3853" fmla="*/ 2611038 w 11625583"/>
              <a:gd name="connsiteY3853" fmla="*/ 1630374 h 6380470"/>
              <a:gd name="connsiteX3854" fmla="*/ 2546380 w 11625583"/>
              <a:gd name="connsiteY3854" fmla="*/ 1695039 h 6380470"/>
              <a:gd name="connsiteX3855" fmla="*/ 2481723 w 11625583"/>
              <a:gd name="connsiteY3855" fmla="*/ 1630374 h 6380470"/>
              <a:gd name="connsiteX3856" fmla="*/ 2546380 w 11625583"/>
              <a:gd name="connsiteY3856" fmla="*/ 1565709 h 6380470"/>
              <a:gd name="connsiteX3857" fmla="*/ 2389803 w 11625583"/>
              <a:gd name="connsiteY3857" fmla="*/ 1565709 h 6380470"/>
              <a:gd name="connsiteX3858" fmla="*/ 2454486 w 11625583"/>
              <a:gd name="connsiteY3858" fmla="*/ 1630374 h 6380470"/>
              <a:gd name="connsiteX3859" fmla="*/ 2389803 w 11625583"/>
              <a:gd name="connsiteY3859" fmla="*/ 1695039 h 6380470"/>
              <a:gd name="connsiteX3860" fmla="*/ 2325148 w 11625583"/>
              <a:gd name="connsiteY3860" fmla="*/ 1630374 h 6380470"/>
              <a:gd name="connsiteX3861" fmla="*/ 2389803 w 11625583"/>
              <a:gd name="connsiteY3861" fmla="*/ 1565709 h 6380470"/>
              <a:gd name="connsiteX3862" fmla="*/ 2237130 w 11625583"/>
              <a:gd name="connsiteY3862" fmla="*/ 1565709 h 6380470"/>
              <a:gd name="connsiteX3863" fmla="*/ 2301814 w 11625583"/>
              <a:gd name="connsiteY3863" fmla="*/ 1630374 h 6380470"/>
              <a:gd name="connsiteX3864" fmla="*/ 2237130 w 11625583"/>
              <a:gd name="connsiteY3864" fmla="*/ 1695039 h 6380470"/>
              <a:gd name="connsiteX3865" fmla="*/ 2172445 w 11625583"/>
              <a:gd name="connsiteY3865" fmla="*/ 1630374 h 6380470"/>
              <a:gd name="connsiteX3866" fmla="*/ 2237130 w 11625583"/>
              <a:gd name="connsiteY3866" fmla="*/ 1565709 h 6380470"/>
              <a:gd name="connsiteX3867" fmla="*/ 2084449 w 11625583"/>
              <a:gd name="connsiteY3867" fmla="*/ 1565709 h 6380470"/>
              <a:gd name="connsiteX3868" fmla="*/ 2149111 w 11625583"/>
              <a:gd name="connsiteY3868" fmla="*/ 1630374 h 6380470"/>
              <a:gd name="connsiteX3869" fmla="*/ 2084449 w 11625583"/>
              <a:gd name="connsiteY3869" fmla="*/ 1695039 h 6380470"/>
              <a:gd name="connsiteX3870" fmla="*/ 2019802 w 11625583"/>
              <a:gd name="connsiteY3870" fmla="*/ 1630374 h 6380470"/>
              <a:gd name="connsiteX3871" fmla="*/ 2084449 w 11625583"/>
              <a:gd name="connsiteY3871" fmla="*/ 1565709 h 6380470"/>
              <a:gd name="connsiteX3872" fmla="*/ 1927857 w 11625583"/>
              <a:gd name="connsiteY3872" fmla="*/ 1565709 h 6380470"/>
              <a:gd name="connsiteX3873" fmla="*/ 1992550 w 11625583"/>
              <a:gd name="connsiteY3873" fmla="*/ 1630374 h 6380470"/>
              <a:gd name="connsiteX3874" fmla="*/ 1927857 w 11625583"/>
              <a:gd name="connsiteY3874" fmla="*/ 1695039 h 6380470"/>
              <a:gd name="connsiteX3875" fmla="*/ 1863227 w 11625583"/>
              <a:gd name="connsiteY3875" fmla="*/ 1630374 h 6380470"/>
              <a:gd name="connsiteX3876" fmla="*/ 1927857 w 11625583"/>
              <a:gd name="connsiteY3876" fmla="*/ 1565709 h 6380470"/>
              <a:gd name="connsiteX3877" fmla="*/ 1775214 w 11625583"/>
              <a:gd name="connsiteY3877" fmla="*/ 1565709 h 6380470"/>
              <a:gd name="connsiteX3878" fmla="*/ 1839897 w 11625583"/>
              <a:gd name="connsiteY3878" fmla="*/ 1630374 h 6380470"/>
              <a:gd name="connsiteX3879" fmla="*/ 1775214 w 11625583"/>
              <a:gd name="connsiteY3879" fmla="*/ 1695039 h 6380470"/>
              <a:gd name="connsiteX3880" fmla="*/ 1710542 w 11625583"/>
              <a:gd name="connsiteY3880" fmla="*/ 1630374 h 6380470"/>
              <a:gd name="connsiteX3881" fmla="*/ 1775214 w 11625583"/>
              <a:gd name="connsiteY3881" fmla="*/ 1565709 h 6380470"/>
              <a:gd name="connsiteX3882" fmla="*/ 1618630 w 11625583"/>
              <a:gd name="connsiteY3882" fmla="*/ 1565709 h 6380470"/>
              <a:gd name="connsiteX3883" fmla="*/ 1683301 w 11625583"/>
              <a:gd name="connsiteY3883" fmla="*/ 1630374 h 6380470"/>
              <a:gd name="connsiteX3884" fmla="*/ 1618630 w 11625583"/>
              <a:gd name="connsiteY3884" fmla="*/ 1695039 h 6380470"/>
              <a:gd name="connsiteX3885" fmla="*/ 1553968 w 11625583"/>
              <a:gd name="connsiteY3885" fmla="*/ 1630374 h 6380470"/>
              <a:gd name="connsiteX3886" fmla="*/ 1618630 w 11625583"/>
              <a:gd name="connsiteY3886" fmla="*/ 1565709 h 6380470"/>
              <a:gd name="connsiteX3887" fmla="*/ 1465974 w 11625583"/>
              <a:gd name="connsiteY3887" fmla="*/ 1565709 h 6380470"/>
              <a:gd name="connsiteX3888" fmla="*/ 1530639 w 11625583"/>
              <a:gd name="connsiteY3888" fmla="*/ 1630374 h 6380470"/>
              <a:gd name="connsiteX3889" fmla="*/ 1465974 w 11625583"/>
              <a:gd name="connsiteY3889" fmla="*/ 1695039 h 6380470"/>
              <a:gd name="connsiteX3890" fmla="*/ 1401310 w 11625583"/>
              <a:gd name="connsiteY3890" fmla="*/ 1630374 h 6380470"/>
              <a:gd name="connsiteX3891" fmla="*/ 1465974 w 11625583"/>
              <a:gd name="connsiteY3891" fmla="*/ 1565709 h 6380470"/>
              <a:gd name="connsiteX3892" fmla="*/ 1309401 w 11625583"/>
              <a:gd name="connsiteY3892" fmla="*/ 1565709 h 6380470"/>
              <a:gd name="connsiteX3893" fmla="*/ 1374066 w 11625583"/>
              <a:gd name="connsiteY3893" fmla="*/ 1630374 h 6380470"/>
              <a:gd name="connsiteX3894" fmla="*/ 1309401 w 11625583"/>
              <a:gd name="connsiteY3894" fmla="*/ 1695039 h 6380470"/>
              <a:gd name="connsiteX3895" fmla="*/ 1244735 w 11625583"/>
              <a:gd name="connsiteY3895" fmla="*/ 1630374 h 6380470"/>
              <a:gd name="connsiteX3896" fmla="*/ 1309401 w 11625583"/>
              <a:gd name="connsiteY3896" fmla="*/ 1565709 h 6380470"/>
              <a:gd name="connsiteX3897" fmla="*/ 1148916 w 11625583"/>
              <a:gd name="connsiteY3897" fmla="*/ 1565709 h 6380470"/>
              <a:gd name="connsiteX3898" fmla="*/ 1213581 w 11625583"/>
              <a:gd name="connsiteY3898" fmla="*/ 1630374 h 6380470"/>
              <a:gd name="connsiteX3899" fmla="*/ 1148916 w 11625583"/>
              <a:gd name="connsiteY3899" fmla="*/ 1695039 h 6380470"/>
              <a:gd name="connsiteX3900" fmla="*/ 1084251 w 11625583"/>
              <a:gd name="connsiteY3900" fmla="*/ 1630374 h 6380470"/>
              <a:gd name="connsiteX3901" fmla="*/ 1148916 w 11625583"/>
              <a:gd name="connsiteY3901" fmla="*/ 1565709 h 6380470"/>
              <a:gd name="connsiteX3902" fmla="*/ 10778052 w 11625583"/>
              <a:gd name="connsiteY3902" fmla="*/ 1565707 h 6380470"/>
              <a:gd name="connsiteX3903" fmla="*/ 10842718 w 11625583"/>
              <a:gd name="connsiteY3903" fmla="*/ 1630373 h 6380470"/>
              <a:gd name="connsiteX3904" fmla="*/ 10778052 w 11625583"/>
              <a:gd name="connsiteY3904" fmla="*/ 1695039 h 6380470"/>
              <a:gd name="connsiteX3905" fmla="*/ 10713386 w 11625583"/>
              <a:gd name="connsiteY3905" fmla="*/ 1630373 h 6380470"/>
              <a:gd name="connsiteX3906" fmla="*/ 10778052 w 11625583"/>
              <a:gd name="connsiteY3906" fmla="*/ 1565707 h 6380470"/>
              <a:gd name="connsiteX3907" fmla="*/ 10625394 w 11625583"/>
              <a:gd name="connsiteY3907" fmla="*/ 1565707 h 6380470"/>
              <a:gd name="connsiteX3908" fmla="*/ 10690060 w 11625583"/>
              <a:gd name="connsiteY3908" fmla="*/ 1630373 h 6380470"/>
              <a:gd name="connsiteX3909" fmla="*/ 10625394 w 11625583"/>
              <a:gd name="connsiteY3909" fmla="*/ 1695039 h 6380470"/>
              <a:gd name="connsiteX3910" fmla="*/ 10560728 w 11625583"/>
              <a:gd name="connsiteY3910" fmla="*/ 1630373 h 6380470"/>
              <a:gd name="connsiteX3911" fmla="*/ 10625394 w 11625583"/>
              <a:gd name="connsiteY3911" fmla="*/ 1565707 h 6380470"/>
              <a:gd name="connsiteX3912" fmla="*/ 9850356 w 11625583"/>
              <a:gd name="connsiteY3912" fmla="*/ 1565707 h 6380470"/>
              <a:gd name="connsiteX3913" fmla="*/ 9915022 w 11625583"/>
              <a:gd name="connsiteY3913" fmla="*/ 1630373 h 6380470"/>
              <a:gd name="connsiteX3914" fmla="*/ 9850356 w 11625583"/>
              <a:gd name="connsiteY3914" fmla="*/ 1695039 h 6380470"/>
              <a:gd name="connsiteX3915" fmla="*/ 9785690 w 11625583"/>
              <a:gd name="connsiteY3915" fmla="*/ 1630373 h 6380470"/>
              <a:gd name="connsiteX3916" fmla="*/ 9850356 w 11625583"/>
              <a:gd name="connsiteY3916" fmla="*/ 1565707 h 6380470"/>
              <a:gd name="connsiteX3917" fmla="*/ 9693782 w 11625583"/>
              <a:gd name="connsiteY3917" fmla="*/ 1565707 h 6380470"/>
              <a:gd name="connsiteX3918" fmla="*/ 9758448 w 11625583"/>
              <a:gd name="connsiteY3918" fmla="*/ 1630373 h 6380470"/>
              <a:gd name="connsiteX3919" fmla="*/ 9693782 w 11625583"/>
              <a:gd name="connsiteY3919" fmla="*/ 1695039 h 6380470"/>
              <a:gd name="connsiteX3920" fmla="*/ 9629116 w 11625583"/>
              <a:gd name="connsiteY3920" fmla="*/ 1630373 h 6380470"/>
              <a:gd name="connsiteX3921" fmla="*/ 9693782 w 11625583"/>
              <a:gd name="connsiteY3921" fmla="*/ 1565707 h 6380470"/>
              <a:gd name="connsiteX3922" fmla="*/ 9541123 w 11625583"/>
              <a:gd name="connsiteY3922" fmla="*/ 1565707 h 6380470"/>
              <a:gd name="connsiteX3923" fmla="*/ 9605789 w 11625583"/>
              <a:gd name="connsiteY3923" fmla="*/ 1630373 h 6380470"/>
              <a:gd name="connsiteX3924" fmla="*/ 9541123 w 11625583"/>
              <a:gd name="connsiteY3924" fmla="*/ 1695039 h 6380470"/>
              <a:gd name="connsiteX3925" fmla="*/ 9476457 w 11625583"/>
              <a:gd name="connsiteY3925" fmla="*/ 1630373 h 6380470"/>
              <a:gd name="connsiteX3926" fmla="*/ 9541123 w 11625583"/>
              <a:gd name="connsiteY3926" fmla="*/ 1565707 h 6380470"/>
              <a:gd name="connsiteX3927" fmla="*/ 9384550 w 11625583"/>
              <a:gd name="connsiteY3927" fmla="*/ 1565707 h 6380470"/>
              <a:gd name="connsiteX3928" fmla="*/ 9449216 w 11625583"/>
              <a:gd name="connsiteY3928" fmla="*/ 1630373 h 6380470"/>
              <a:gd name="connsiteX3929" fmla="*/ 9384550 w 11625583"/>
              <a:gd name="connsiteY3929" fmla="*/ 1695039 h 6380470"/>
              <a:gd name="connsiteX3930" fmla="*/ 9319884 w 11625583"/>
              <a:gd name="connsiteY3930" fmla="*/ 1630373 h 6380470"/>
              <a:gd name="connsiteX3931" fmla="*/ 9384550 w 11625583"/>
              <a:gd name="connsiteY3931" fmla="*/ 1565707 h 6380470"/>
              <a:gd name="connsiteX3932" fmla="*/ 9227977 w 11625583"/>
              <a:gd name="connsiteY3932" fmla="*/ 1565707 h 6380470"/>
              <a:gd name="connsiteX3933" fmla="*/ 9292643 w 11625583"/>
              <a:gd name="connsiteY3933" fmla="*/ 1630373 h 6380470"/>
              <a:gd name="connsiteX3934" fmla="*/ 9227977 w 11625583"/>
              <a:gd name="connsiteY3934" fmla="*/ 1695039 h 6380470"/>
              <a:gd name="connsiteX3935" fmla="*/ 9163311 w 11625583"/>
              <a:gd name="connsiteY3935" fmla="*/ 1630373 h 6380470"/>
              <a:gd name="connsiteX3936" fmla="*/ 9227977 w 11625583"/>
              <a:gd name="connsiteY3936" fmla="*/ 1565707 h 6380470"/>
              <a:gd name="connsiteX3937" fmla="*/ 9075317 w 11625583"/>
              <a:gd name="connsiteY3937" fmla="*/ 1565707 h 6380470"/>
              <a:gd name="connsiteX3938" fmla="*/ 9139983 w 11625583"/>
              <a:gd name="connsiteY3938" fmla="*/ 1630373 h 6380470"/>
              <a:gd name="connsiteX3939" fmla="*/ 9075317 w 11625583"/>
              <a:gd name="connsiteY3939" fmla="*/ 1695039 h 6380470"/>
              <a:gd name="connsiteX3940" fmla="*/ 9010651 w 11625583"/>
              <a:gd name="connsiteY3940" fmla="*/ 1630373 h 6380470"/>
              <a:gd name="connsiteX3941" fmla="*/ 9075317 w 11625583"/>
              <a:gd name="connsiteY3941" fmla="*/ 1565707 h 6380470"/>
              <a:gd name="connsiteX3942" fmla="*/ 217310 w 11625583"/>
              <a:gd name="connsiteY3942" fmla="*/ 1565707 h 6380470"/>
              <a:gd name="connsiteX3943" fmla="*/ 281975 w 11625583"/>
              <a:gd name="connsiteY3943" fmla="*/ 1630373 h 6380470"/>
              <a:gd name="connsiteX3944" fmla="*/ 217310 w 11625583"/>
              <a:gd name="connsiteY3944" fmla="*/ 1695039 h 6380470"/>
              <a:gd name="connsiteX3945" fmla="*/ 152644 w 11625583"/>
              <a:gd name="connsiteY3945" fmla="*/ 1630373 h 6380470"/>
              <a:gd name="connsiteX3946" fmla="*/ 217310 w 11625583"/>
              <a:gd name="connsiteY3946" fmla="*/ 1565707 h 6380470"/>
              <a:gd name="connsiteX3947" fmla="*/ 10778052 w 11625583"/>
              <a:gd name="connsiteY3947" fmla="*/ 1428710 h 6380470"/>
              <a:gd name="connsiteX3948" fmla="*/ 10842718 w 11625583"/>
              <a:gd name="connsiteY3948" fmla="*/ 1493374 h 6380470"/>
              <a:gd name="connsiteX3949" fmla="*/ 10778052 w 11625583"/>
              <a:gd name="connsiteY3949" fmla="*/ 1558040 h 6380470"/>
              <a:gd name="connsiteX3950" fmla="*/ 10713386 w 11625583"/>
              <a:gd name="connsiteY3950" fmla="*/ 1493374 h 6380470"/>
              <a:gd name="connsiteX3951" fmla="*/ 10778052 w 11625583"/>
              <a:gd name="connsiteY3951" fmla="*/ 1428710 h 6380470"/>
              <a:gd name="connsiteX3952" fmla="*/ 10625394 w 11625583"/>
              <a:gd name="connsiteY3952" fmla="*/ 1428710 h 6380470"/>
              <a:gd name="connsiteX3953" fmla="*/ 10690060 w 11625583"/>
              <a:gd name="connsiteY3953" fmla="*/ 1493374 h 6380470"/>
              <a:gd name="connsiteX3954" fmla="*/ 10625394 w 11625583"/>
              <a:gd name="connsiteY3954" fmla="*/ 1558040 h 6380470"/>
              <a:gd name="connsiteX3955" fmla="*/ 10560728 w 11625583"/>
              <a:gd name="connsiteY3955" fmla="*/ 1493374 h 6380470"/>
              <a:gd name="connsiteX3956" fmla="*/ 10625394 w 11625583"/>
              <a:gd name="connsiteY3956" fmla="*/ 1428710 h 6380470"/>
              <a:gd name="connsiteX3957" fmla="*/ 10003016 w 11625583"/>
              <a:gd name="connsiteY3957" fmla="*/ 1428710 h 6380470"/>
              <a:gd name="connsiteX3958" fmla="*/ 10067682 w 11625583"/>
              <a:gd name="connsiteY3958" fmla="*/ 1493374 h 6380470"/>
              <a:gd name="connsiteX3959" fmla="*/ 10003016 w 11625583"/>
              <a:gd name="connsiteY3959" fmla="*/ 1558040 h 6380470"/>
              <a:gd name="connsiteX3960" fmla="*/ 9938350 w 11625583"/>
              <a:gd name="connsiteY3960" fmla="*/ 1493374 h 6380470"/>
              <a:gd name="connsiteX3961" fmla="*/ 10003016 w 11625583"/>
              <a:gd name="connsiteY3961" fmla="*/ 1428710 h 6380470"/>
              <a:gd name="connsiteX3962" fmla="*/ 9850356 w 11625583"/>
              <a:gd name="connsiteY3962" fmla="*/ 1428710 h 6380470"/>
              <a:gd name="connsiteX3963" fmla="*/ 9915022 w 11625583"/>
              <a:gd name="connsiteY3963" fmla="*/ 1493374 h 6380470"/>
              <a:gd name="connsiteX3964" fmla="*/ 9850356 w 11625583"/>
              <a:gd name="connsiteY3964" fmla="*/ 1558040 h 6380470"/>
              <a:gd name="connsiteX3965" fmla="*/ 9785690 w 11625583"/>
              <a:gd name="connsiteY3965" fmla="*/ 1493374 h 6380470"/>
              <a:gd name="connsiteX3966" fmla="*/ 9850356 w 11625583"/>
              <a:gd name="connsiteY3966" fmla="*/ 1428710 h 6380470"/>
              <a:gd name="connsiteX3967" fmla="*/ 9693782 w 11625583"/>
              <a:gd name="connsiteY3967" fmla="*/ 1428710 h 6380470"/>
              <a:gd name="connsiteX3968" fmla="*/ 9758448 w 11625583"/>
              <a:gd name="connsiteY3968" fmla="*/ 1493374 h 6380470"/>
              <a:gd name="connsiteX3969" fmla="*/ 9693782 w 11625583"/>
              <a:gd name="connsiteY3969" fmla="*/ 1558040 h 6380470"/>
              <a:gd name="connsiteX3970" fmla="*/ 9629116 w 11625583"/>
              <a:gd name="connsiteY3970" fmla="*/ 1493374 h 6380470"/>
              <a:gd name="connsiteX3971" fmla="*/ 9693782 w 11625583"/>
              <a:gd name="connsiteY3971" fmla="*/ 1428710 h 6380470"/>
              <a:gd name="connsiteX3972" fmla="*/ 9541123 w 11625583"/>
              <a:gd name="connsiteY3972" fmla="*/ 1428710 h 6380470"/>
              <a:gd name="connsiteX3973" fmla="*/ 9605789 w 11625583"/>
              <a:gd name="connsiteY3973" fmla="*/ 1493374 h 6380470"/>
              <a:gd name="connsiteX3974" fmla="*/ 9541123 w 11625583"/>
              <a:gd name="connsiteY3974" fmla="*/ 1558040 h 6380470"/>
              <a:gd name="connsiteX3975" fmla="*/ 9476457 w 11625583"/>
              <a:gd name="connsiteY3975" fmla="*/ 1493374 h 6380470"/>
              <a:gd name="connsiteX3976" fmla="*/ 9541123 w 11625583"/>
              <a:gd name="connsiteY3976" fmla="*/ 1428710 h 6380470"/>
              <a:gd name="connsiteX3977" fmla="*/ 9384550 w 11625583"/>
              <a:gd name="connsiteY3977" fmla="*/ 1428710 h 6380470"/>
              <a:gd name="connsiteX3978" fmla="*/ 9449216 w 11625583"/>
              <a:gd name="connsiteY3978" fmla="*/ 1493374 h 6380470"/>
              <a:gd name="connsiteX3979" fmla="*/ 9384550 w 11625583"/>
              <a:gd name="connsiteY3979" fmla="*/ 1558040 h 6380470"/>
              <a:gd name="connsiteX3980" fmla="*/ 9319884 w 11625583"/>
              <a:gd name="connsiteY3980" fmla="*/ 1493374 h 6380470"/>
              <a:gd name="connsiteX3981" fmla="*/ 9384550 w 11625583"/>
              <a:gd name="connsiteY3981" fmla="*/ 1428710 h 6380470"/>
              <a:gd name="connsiteX3982" fmla="*/ 9227977 w 11625583"/>
              <a:gd name="connsiteY3982" fmla="*/ 1428710 h 6380470"/>
              <a:gd name="connsiteX3983" fmla="*/ 9292643 w 11625583"/>
              <a:gd name="connsiteY3983" fmla="*/ 1493374 h 6380470"/>
              <a:gd name="connsiteX3984" fmla="*/ 9227977 w 11625583"/>
              <a:gd name="connsiteY3984" fmla="*/ 1558040 h 6380470"/>
              <a:gd name="connsiteX3985" fmla="*/ 9163311 w 11625583"/>
              <a:gd name="connsiteY3985" fmla="*/ 1493374 h 6380470"/>
              <a:gd name="connsiteX3986" fmla="*/ 9227977 w 11625583"/>
              <a:gd name="connsiteY3986" fmla="*/ 1428710 h 6380470"/>
              <a:gd name="connsiteX3987" fmla="*/ 9075317 w 11625583"/>
              <a:gd name="connsiteY3987" fmla="*/ 1428710 h 6380470"/>
              <a:gd name="connsiteX3988" fmla="*/ 9139983 w 11625583"/>
              <a:gd name="connsiteY3988" fmla="*/ 1493374 h 6380470"/>
              <a:gd name="connsiteX3989" fmla="*/ 9075317 w 11625583"/>
              <a:gd name="connsiteY3989" fmla="*/ 1558040 h 6380470"/>
              <a:gd name="connsiteX3990" fmla="*/ 9010651 w 11625583"/>
              <a:gd name="connsiteY3990" fmla="*/ 1493374 h 6380470"/>
              <a:gd name="connsiteX3991" fmla="*/ 9075317 w 11625583"/>
              <a:gd name="connsiteY3991" fmla="*/ 1428710 h 6380470"/>
              <a:gd name="connsiteX3992" fmla="*/ 8914829 w 11625583"/>
              <a:gd name="connsiteY3992" fmla="*/ 1428710 h 6380470"/>
              <a:gd name="connsiteX3993" fmla="*/ 8979495 w 11625583"/>
              <a:gd name="connsiteY3993" fmla="*/ 1493374 h 6380470"/>
              <a:gd name="connsiteX3994" fmla="*/ 8914829 w 11625583"/>
              <a:gd name="connsiteY3994" fmla="*/ 1558040 h 6380470"/>
              <a:gd name="connsiteX3995" fmla="*/ 8850163 w 11625583"/>
              <a:gd name="connsiteY3995" fmla="*/ 1493374 h 6380470"/>
              <a:gd name="connsiteX3996" fmla="*/ 8914829 w 11625583"/>
              <a:gd name="connsiteY3996" fmla="*/ 1428710 h 6380470"/>
              <a:gd name="connsiteX3997" fmla="*/ 8766086 w 11625583"/>
              <a:gd name="connsiteY3997" fmla="*/ 1428710 h 6380470"/>
              <a:gd name="connsiteX3998" fmla="*/ 8830752 w 11625583"/>
              <a:gd name="connsiteY3998" fmla="*/ 1493374 h 6380470"/>
              <a:gd name="connsiteX3999" fmla="*/ 8766086 w 11625583"/>
              <a:gd name="connsiteY3999" fmla="*/ 1558040 h 6380470"/>
              <a:gd name="connsiteX4000" fmla="*/ 8701420 w 11625583"/>
              <a:gd name="connsiteY4000" fmla="*/ 1493374 h 6380470"/>
              <a:gd name="connsiteX4001" fmla="*/ 8766086 w 11625583"/>
              <a:gd name="connsiteY4001" fmla="*/ 1428710 h 6380470"/>
              <a:gd name="connsiteX4002" fmla="*/ 8601683 w 11625583"/>
              <a:gd name="connsiteY4002" fmla="*/ 1428710 h 6380470"/>
              <a:gd name="connsiteX4003" fmla="*/ 8666349 w 11625583"/>
              <a:gd name="connsiteY4003" fmla="*/ 1493374 h 6380470"/>
              <a:gd name="connsiteX4004" fmla="*/ 8601683 w 11625583"/>
              <a:gd name="connsiteY4004" fmla="*/ 1558040 h 6380470"/>
              <a:gd name="connsiteX4005" fmla="*/ 8537017 w 11625583"/>
              <a:gd name="connsiteY4005" fmla="*/ 1493374 h 6380470"/>
              <a:gd name="connsiteX4006" fmla="*/ 8601683 w 11625583"/>
              <a:gd name="connsiteY4006" fmla="*/ 1428710 h 6380470"/>
              <a:gd name="connsiteX4007" fmla="*/ 8449025 w 11625583"/>
              <a:gd name="connsiteY4007" fmla="*/ 1428710 h 6380470"/>
              <a:gd name="connsiteX4008" fmla="*/ 8513691 w 11625583"/>
              <a:gd name="connsiteY4008" fmla="*/ 1493374 h 6380470"/>
              <a:gd name="connsiteX4009" fmla="*/ 8449025 w 11625583"/>
              <a:gd name="connsiteY4009" fmla="*/ 1558040 h 6380470"/>
              <a:gd name="connsiteX4010" fmla="*/ 8384359 w 11625583"/>
              <a:gd name="connsiteY4010" fmla="*/ 1493374 h 6380470"/>
              <a:gd name="connsiteX4011" fmla="*/ 8449025 w 11625583"/>
              <a:gd name="connsiteY4011" fmla="*/ 1428710 h 6380470"/>
              <a:gd name="connsiteX4012" fmla="*/ 8296367 w 11625583"/>
              <a:gd name="connsiteY4012" fmla="*/ 1428710 h 6380470"/>
              <a:gd name="connsiteX4013" fmla="*/ 8361033 w 11625583"/>
              <a:gd name="connsiteY4013" fmla="*/ 1493374 h 6380470"/>
              <a:gd name="connsiteX4014" fmla="*/ 8296367 w 11625583"/>
              <a:gd name="connsiteY4014" fmla="*/ 1558040 h 6380470"/>
              <a:gd name="connsiteX4015" fmla="*/ 8231701 w 11625583"/>
              <a:gd name="connsiteY4015" fmla="*/ 1493374 h 6380470"/>
              <a:gd name="connsiteX4016" fmla="*/ 8296367 w 11625583"/>
              <a:gd name="connsiteY4016" fmla="*/ 1428710 h 6380470"/>
              <a:gd name="connsiteX4017" fmla="*/ 8139792 w 11625583"/>
              <a:gd name="connsiteY4017" fmla="*/ 1428710 h 6380470"/>
              <a:gd name="connsiteX4018" fmla="*/ 8204458 w 11625583"/>
              <a:gd name="connsiteY4018" fmla="*/ 1493374 h 6380470"/>
              <a:gd name="connsiteX4019" fmla="*/ 8139792 w 11625583"/>
              <a:gd name="connsiteY4019" fmla="*/ 1558040 h 6380470"/>
              <a:gd name="connsiteX4020" fmla="*/ 8075126 w 11625583"/>
              <a:gd name="connsiteY4020" fmla="*/ 1493374 h 6380470"/>
              <a:gd name="connsiteX4021" fmla="*/ 8139792 w 11625583"/>
              <a:gd name="connsiteY4021" fmla="*/ 1428710 h 6380470"/>
              <a:gd name="connsiteX4022" fmla="*/ 7987133 w 11625583"/>
              <a:gd name="connsiteY4022" fmla="*/ 1428710 h 6380470"/>
              <a:gd name="connsiteX4023" fmla="*/ 8051799 w 11625583"/>
              <a:gd name="connsiteY4023" fmla="*/ 1493374 h 6380470"/>
              <a:gd name="connsiteX4024" fmla="*/ 7987133 w 11625583"/>
              <a:gd name="connsiteY4024" fmla="*/ 1558040 h 6380470"/>
              <a:gd name="connsiteX4025" fmla="*/ 7922467 w 11625583"/>
              <a:gd name="connsiteY4025" fmla="*/ 1493374 h 6380470"/>
              <a:gd name="connsiteX4026" fmla="*/ 7987133 w 11625583"/>
              <a:gd name="connsiteY4026" fmla="*/ 1428710 h 6380470"/>
              <a:gd name="connsiteX4027" fmla="*/ 7830562 w 11625583"/>
              <a:gd name="connsiteY4027" fmla="*/ 1428710 h 6380470"/>
              <a:gd name="connsiteX4028" fmla="*/ 7895228 w 11625583"/>
              <a:gd name="connsiteY4028" fmla="*/ 1493374 h 6380470"/>
              <a:gd name="connsiteX4029" fmla="*/ 7830562 w 11625583"/>
              <a:gd name="connsiteY4029" fmla="*/ 1558040 h 6380470"/>
              <a:gd name="connsiteX4030" fmla="*/ 7765896 w 11625583"/>
              <a:gd name="connsiteY4030" fmla="*/ 1493374 h 6380470"/>
              <a:gd name="connsiteX4031" fmla="*/ 7830562 w 11625583"/>
              <a:gd name="connsiteY4031" fmla="*/ 1428710 h 6380470"/>
              <a:gd name="connsiteX4032" fmla="*/ 7677902 w 11625583"/>
              <a:gd name="connsiteY4032" fmla="*/ 1428710 h 6380470"/>
              <a:gd name="connsiteX4033" fmla="*/ 7742568 w 11625583"/>
              <a:gd name="connsiteY4033" fmla="*/ 1493374 h 6380470"/>
              <a:gd name="connsiteX4034" fmla="*/ 7677902 w 11625583"/>
              <a:gd name="connsiteY4034" fmla="*/ 1558040 h 6380470"/>
              <a:gd name="connsiteX4035" fmla="*/ 7613236 w 11625583"/>
              <a:gd name="connsiteY4035" fmla="*/ 1493374 h 6380470"/>
              <a:gd name="connsiteX4036" fmla="*/ 7677902 w 11625583"/>
              <a:gd name="connsiteY4036" fmla="*/ 1428710 h 6380470"/>
              <a:gd name="connsiteX4037" fmla="*/ 7521329 w 11625583"/>
              <a:gd name="connsiteY4037" fmla="*/ 1428710 h 6380470"/>
              <a:gd name="connsiteX4038" fmla="*/ 7585995 w 11625583"/>
              <a:gd name="connsiteY4038" fmla="*/ 1493374 h 6380470"/>
              <a:gd name="connsiteX4039" fmla="*/ 7521329 w 11625583"/>
              <a:gd name="connsiteY4039" fmla="*/ 1558040 h 6380470"/>
              <a:gd name="connsiteX4040" fmla="*/ 7456663 w 11625583"/>
              <a:gd name="connsiteY4040" fmla="*/ 1493374 h 6380470"/>
              <a:gd name="connsiteX4041" fmla="*/ 7521329 w 11625583"/>
              <a:gd name="connsiteY4041" fmla="*/ 1428710 h 6380470"/>
              <a:gd name="connsiteX4042" fmla="*/ 7368669 w 11625583"/>
              <a:gd name="connsiteY4042" fmla="*/ 1428710 h 6380470"/>
              <a:gd name="connsiteX4043" fmla="*/ 7433335 w 11625583"/>
              <a:gd name="connsiteY4043" fmla="*/ 1493374 h 6380470"/>
              <a:gd name="connsiteX4044" fmla="*/ 7368669 w 11625583"/>
              <a:gd name="connsiteY4044" fmla="*/ 1558040 h 6380470"/>
              <a:gd name="connsiteX4045" fmla="*/ 7304003 w 11625583"/>
              <a:gd name="connsiteY4045" fmla="*/ 1493374 h 6380470"/>
              <a:gd name="connsiteX4046" fmla="*/ 7368669 w 11625583"/>
              <a:gd name="connsiteY4046" fmla="*/ 1428710 h 6380470"/>
              <a:gd name="connsiteX4047" fmla="*/ 7212096 w 11625583"/>
              <a:gd name="connsiteY4047" fmla="*/ 1428710 h 6380470"/>
              <a:gd name="connsiteX4048" fmla="*/ 7276762 w 11625583"/>
              <a:gd name="connsiteY4048" fmla="*/ 1493374 h 6380470"/>
              <a:gd name="connsiteX4049" fmla="*/ 7212096 w 11625583"/>
              <a:gd name="connsiteY4049" fmla="*/ 1558040 h 6380470"/>
              <a:gd name="connsiteX4050" fmla="*/ 7147430 w 11625583"/>
              <a:gd name="connsiteY4050" fmla="*/ 1493374 h 6380470"/>
              <a:gd name="connsiteX4051" fmla="*/ 7212096 w 11625583"/>
              <a:gd name="connsiteY4051" fmla="*/ 1428710 h 6380470"/>
              <a:gd name="connsiteX4052" fmla="*/ 7055523 w 11625583"/>
              <a:gd name="connsiteY4052" fmla="*/ 1428710 h 6380470"/>
              <a:gd name="connsiteX4053" fmla="*/ 7120189 w 11625583"/>
              <a:gd name="connsiteY4053" fmla="*/ 1493374 h 6380470"/>
              <a:gd name="connsiteX4054" fmla="*/ 7055523 w 11625583"/>
              <a:gd name="connsiteY4054" fmla="*/ 1558040 h 6380470"/>
              <a:gd name="connsiteX4055" fmla="*/ 6990857 w 11625583"/>
              <a:gd name="connsiteY4055" fmla="*/ 1493374 h 6380470"/>
              <a:gd name="connsiteX4056" fmla="*/ 7055523 w 11625583"/>
              <a:gd name="connsiteY4056" fmla="*/ 1428710 h 6380470"/>
              <a:gd name="connsiteX4057" fmla="*/ 6895037 w 11625583"/>
              <a:gd name="connsiteY4057" fmla="*/ 1428710 h 6380470"/>
              <a:gd name="connsiteX4058" fmla="*/ 6959703 w 11625583"/>
              <a:gd name="connsiteY4058" fmla="*/ 1493374 h 6380470"/>
              <a:gd name="connsiteX4059" fmla="*/ 6895037 w 11625583"/>
              <a:gd name="connsiteY4059" fmla="*/ 1558040 h 6380470"/>
              <a:gd name="connsiteX4060" fmla="*/ 6830371 w 11625583"/>
              <a:gd name="connsiteY4060" fmla="*/ 1493374 h 6380470"/>
              <a:gd name="connsiteX4061" fmla="*/ 6895037 w 11625583"/>
              <a:gd name="connsiteY4061" fmla="*/ 1428710 h 6380470"/>
              <a:gd name="connsiteX4062" fmla="*/ 6742375 w 11625583"/>
              <a:gd name="connsiteY4062" fmla="*/ 1428710 h 6380470"/>
              <a:gd name="connsiteX4063" fmla="*/ 6807041 w 11625583"/>
              <a:gd name="connsiteY4063" fmla="*/ 1493374 h 6380470"/>
              <a:gd name="connsiteX4064" fmla="*/ 6742375 w 11625583"/>
              <a:gd name="connsiteY4064" fmla="*/ 1558040 h 6380470"/>
              <a:gd name="connsiteX4065" fmla="*/ 6677709 w 11625583"/>
              <a:gd name="connsiteY4065" fmla="*/ 1493374 h 6380470"/>
              <a:gd name="connsiteX4066" fmla="*/ 6742375 w 11625583"/>
              <a:gd name="connsiteY4066" fmla="*/ 1428710 h 6380470"/>
              <a:gd name="connsiteX4067" fmla="*/ 6585802 w 11625583"/>
              <a:gd name="connsiteY4067" fmla="*/ 1428710 h 6380470"/>
              <a:gd name="connsiteX4068" fmla="*/ 6650468 w 11625583"/>
              <a:gd name="connsiteY4068" fmla="*/ 1493374 h 6380470"/>
              <a:gd name="connsiteX4069" fmla="*/ 6585802 w 11625583"/>
              <a:gd name="connsiteY4069" fmla="*/ 1558040 h 6380470"/>
              <a:gd name="connsiteX4070" fmla="*/ 6521136 w 11625583"/>
              <a:gd name="connsiteY4070" fmla="*/ 1493374 h 6380470"/>
              <a:gd name="connsiteX4071" fmla="*/ 6585802 w 11625583"/>
              <a:gd name="connsiteY4071" fmla="*/ 1428710 h 6380470"/>
              <a:gd name="connsiteX4072" fmla="*/ 6429229 w 11625583"/>
              <a:gd name="connsiteY4072" fmla="*/ 1428710 h 6380470"/>
              <a:gd name="connsiteX4073" fmla="*/ 6493895 w 11625583"/>
              <a:gd name="connsiteY4073" fmla="*/ 1493374 h 6380470"/>
              <a:gd name="connsiteX4074" fmla="*/ 6429229 w 11625583"/>
              <a:gd name="connsiteY4074" fmla="*/ 1558040 h 6380470"/>
              <a:gd name="connsiteX4075" fmla="*/ 6364563 w 11625583"/>
              <a:gd name="connsiteY4075" fmla="*/ 1493374 h 6380470"/>
              <a:gd name="connsiteX4076" fmla="*/ 6429229 w 11625583"/>
              <a:gd name="connsiteY4076" fmla="*/ 1428710 h 6380470"/>
              <a:gd name="connsiteX4077" fmla="*/ 6276571 w 11625583"/>
              <a:gd name="connsiteY4077" fmla="*/ 1428710 h 6380470"/>
              <a:gd name="connsiteX4078" fmla="*/ 6341237 w 11625583"/>
              <a:gd name="connsiteY4078" fmla="*/ 1493374 h 6380470"/>
              <a:gd name="connsiteX4079" fmla="*/ 6276571 w 11625583"/>
              <a:gd name="connsiteY4079" fmla="*/ 1558040 h 6380470"/>
              <a:gd name="connsiteX4080" fmla="*/ 6211905 w 11625583"/>
              <a:gd name="connsiteY4080" fmla="*/ 1493374 h 6380470"/>
              <a:gd name="connsiteX4081" fmla="*/ 6276571 w 11625583"/>
              <a:gd name="connsiteY4081" fmla="*/ 1428710 h 6380470"/>
              <a:gd name="connsiteX4082" fmla="*/ 5967338 w 11625583"/>
              <a:gd name="connsiteY4082" fmla="*/ 1428710 h 6380470"/>
              <a:gd name="connsiteX4083" fmla="*/ 6032004 w 11625583"/>
              <a:gd name="connsiteY4083" fmla="*/ 1493374 h 6380470"/>
              <a:gd name="connsiteX4084" fmla="*/ 5967338 w 11625583"/>
              <a:gd name="connsiteY4084" fmla="*/ 1558040 h 6380470"/>
              <a:gd name="connsiteX4085" fmla="*/ 5902672 w 11625583"/>
              <a:gd name="connsiteY4085" fmla="*/ 1493374 h 6380470"/>
              <a:gd name="connsiteX4086" fmla="*/ 5967338 w 11625583"/>
              <a:gd name="connsiteY4086" fmla="*/ 1428710 h 6380470"/>
              <a:gd name="connsiteX4087" fmla="*/ 5810805 w 11625583"/>
              <a:gd name="connsiteY4087" fmla="*/ 1428710 h 6380470"/>
              <a:gd name="connsiteX4088" fmla="*/ 5875431 w 11625583"/>
              <a:gd name="connsiteY4088" fmla="*/ 1493374 h 6380470"/>
              <a:gd name="connsiteX4089" fmla="*/ 5810805 w 11625583"/>
              <a:gd name="connsiteY4089" fmla="*/ 1558040 h 6380470"/>
              <a:gd name="connsiteX4090" fmla="*/ 5746119 w 11625583"/>
              <a:gd name="connsiteY4090" fmla="*/ 1493374 h 6380470"/>
              <a:gd name="connsiteX4091" fmla="*/ 5810805 w 11625583"/>
              <a:gd name="connsiteY4091" fmla="*/ 1428710 h 6380470"/>
              <a:gd name="connsiteX4092" fmla="*/ 5658108 w 11625583"/>
              <a:gd name="connsiteY4092" fmla="*/ 1428710 h 6380470"/>
              <a:gd name="connsiteX4093" fmla="*/ 5722785 w 11625583"/>
              <a:gd name="connsiteY4093" fmla="*/ 1493374 h 6380470"/>
              <a:gd name="connsiteX4094" fmla="*/ 5658108 w 11625583"/>
              <a:gd name="connsiteY4094" fmla="*/ 1558040 h 6380470"/>
              <a:gd name="connsiteX4095" fmla="*/ 5593443 w 11625583"/>
              <a:gd name="connsiteY4095" fmla="*/ 1493374 h 6380470"/>
              <a:gd name="connsiteX4096" fmla="*/ 5658108 w 11625583"/>
              <a:gd name="connsiteY4096" fmla="*/ 1428710 h 6380470"/>
              <a:gd name="connsiteX4097" fmla="*/ 526542 w 11625583"/>
              <a:gd name="connsiteY4097" fmla="*/ 1428710 h 6380470"/>
              <a:gd name="connsiteX4098" fmla="*/ 591208 w 11625583"/>
              <a:gd name="connsiteY4098" fmla="*/ 1493374 h 6380470"/>
              <a:gd name="connsiteX4099" fmla="*/ 526542 w 11625583"/>
              <a:gd name="connsiteY4099" fmla="*/ 1558040 h 6380470"/>
              <a:gd name="connsiteX4100" fmla="*/ 461877 w 11625583"/>
              <a:gd name="connsiteY4100" fmla="*/ 1493374 h 6380470"/>
              <a:gd name="connsiteX4101" fmla="*/ 526542 w 11625583"/>
              <a:gd name="connsiteY4101" fmla="*/ 1428710 h 6380470"/>
              <a:gd name="connsiteX4102" fmla="*/ 373886 w 11625583"/>
              <a:gd name="connsiteY4102" fmla="*/ 1428710 h 6380470"/>
              <a:gd name="connsiteX4103" fmla="*/ 438551 w 11625583"/>
              <a:gd name="connsiteY4103" fmla="*/ 1493374 h 6380470"/>
              <a:gd name="connsiteX4104" fmla="*/ 373886 w 11625583"/>
              <a:gd name="connsiteY4104" fmla="*/ 1558040 h 6380470"/>
              <a:gd name="connsiteX4105" fmla="*/ 309221 w 11625583"/>
              <a:gd name="connsiteY4105" fmla="*/ 1493374 h 6380470"/>
              <a:gd name="connsiteX4106" fmla="*/ 373886 w 11625583"/>
              <a:gd name="connsiteY4106" fmla="*/ 1428710 h 6380470"/>
              <a:gd name="connsiteX4107" fmla="*/ 217317 w 11625583"/>
              <a:gd name="connsiteY4107" fmla="*/ 1428710 h 6380470"/>
              <a:gd name="connsiteX4108" fmla="*/ 281982 w 11625583"/>
              <a:gd name="connsiteY4108" fmla="*/ 1493374 h 6380470"/>
              <a:gd name="connsiteX4109" fmla="*/ 217317 w 11625583"/>
              <a:gd name="connsiteY4109" fmla="*/ 1558040 h 6380470"/>
              <a:gd name="connsiteX4110" fmla="*/ 152652 w 11625583"/>
              <a:gd name="connsiteY4110" fmla="*/ 1493374 h 6380470"/>
              <a:gd name="connsiteX4111" fmla="*/ 217317 w 11625583"/>
              <a:gd name="connsiteY4111" fmla="*/ 1428710 h 6380470"/>
              <a:gd name="connsiteX4112" fmla="*/ 5348888 w 11625583"/>
              <a:gd name="connsiteY4112" fmla="*/ 1428708 h 6380470"/>
              <a:gd name="connsiteX4113" fmla="*/ 5413557 w 11625583"/>
              <a:gd name="connsiteY4113" fmla="*/ 1493374 h 6380470"/>
              <a:gd name="connsiteX4114" fmla="*/ 5348888 w 11625583"/>
              <a:gd name="connsiteY4114" fmla="*/ 1558038 h 6380470"/>
              <a:gd name="connsiteX4115" fmla="*/ 5284237 w 11625583"/>
              <a:gd name="connsiteY4115" fmla="*/ 1493374 h 6380470"/>
              <a:gd name="connsiteX4116" fmla="*/ 5348888 w 11625583"/>
              <a:gd name="connsiteY4116" fmla="*/ 1428708 h 6380470"/>
              <a:gd name="connsiteX4117" fmla="*/ 3321398 w 11625583"/>
              <a:gd name="connsiteY4117" fmla="*/ 1428708 h 6380470"/>
              <a:gd name="connsiteX4118" fmla="*/ 3386040 w 11625583"/>
              <a:gd name="connsiteY4118" fmla="*/ 1493374 h 6380470"/>
              <a:gd name="connsiteX4119" fmla="*/ 3321398 w 11625583"/>
              <a:gd name="connsiteY4119" fmla="*/ 1558038 h 6380470"/>
              <a:gd name="connsiteX4120" fmla="*/ 3256733 w 11625583"/>
              <a:gd name="connsiteY4120" fmla="*/ 1493374 h 6380470"/>
              <a:gd name="connsiteX4121" fmla="*/ 3321398 w 11625583"/>
              <a:gd name="connsiteY4121" fmla="*/ 1428708 h 6380470"/>
              <a:gd name="connsiteX4122" fmla="*/ 3172644 w 11625583"/>
              <a:gd name="connsiteY4122" fmla="*/ 1428708 h 6380470"/>
              <a:gd name="connsiteX4123" fmla="*/ 3237318 w 11625583"/>
              <a:gd name="connsiteY4123" fmla="*/ 1493374 h 6380470"/>
              <a:gd name="connsiteX4124" fmla="*/ 3172644 w 11625583"/>
              <a:gd name="connsiteY4124" fmla="*/ 1558038 h 6380470"/>
              <a:gd name="connsiteX4125" fmla="*/ 3107959 w 11625583"/>
              <a:gd name="connsiteY4125" fmla="*/ 1493374 h 6380470"/>
              <a:gd name="connsiteX4126" fmla="*/ 3172644 w 11625583"/>
              <a:gd name="connsiteY4126" fmla="*/ 1428708 h 6380470"/>
              <a:gd name="connsiteX4127" fmla="*/ 3012125 w 11625583"/>
              <a:gd name="connsiteY4127" fmla="*/ 1428708 h 6380470"/>
              <a:gd name="connsiteX4128" fmla="*/ 3076794 w 11625583"/>
              <a:gd name="connsiteY4128" fmla="*/ 1493374 h 6380470"/>
              <a:gd name="connsiteX4129" fmla="*/ 3012125 w 11625583"/>
              <a:gd name="connsiteY4129" fmla="*/ 1558038 h 6380470"/>
              <a:gd name="connsiteX4130" fmla="*/ 2947469 w 11625583"/>
              <a:gd name="connsiteY4130" fmla="*/ 1493374 h 6380470"/>
              <a:gd name="connsiteX4131" fmla="*/ 3012125 w 11625583"/>
              <a:gd name="connsiteY4131" fmla="*/ 1428708 h 6380470"/>
              <a:gd name="connsiteX4132" fmla="*/ 2389803 w 11625583"/>
              <a:gd name="connsiteY4132" fmla="*/ 1428708 h 6380470"/>
              <a:gd name="connsiteX4133" fmla="*/ 2454493 w 11625583"/>
              <a:gd name="connsiteY4133" fmla="*/ 1493374 h 6380470"/>
              <a:gd name="connsiteX4134" fmla="*/ 2389803 w 11625583"/>
              <a:gd name="connsiteY4134" fmla="*/ 1558038 h 6380470"/>
              <a:gd name="connsiteX4135" fmla="*/ 2325157 w 11625583"/>
              <a:gd name="connsiteY4135" fmla="*/ 1493374 h 6380470"/>
              <a:gd name="connsiteX4136" fmla="*/ 2389803 w 11625583"/>
              <a:gd name="connsiteY4136" fmla="*/ 1428708 h 6380470"/>
              <a:gd name="connsiteX4137" fmla="*/ 2237136 w 11625583"/>
              <a:gd name="connsiteY4137" fmla="*/ 1428708 h 6380470"/>
              <a:gd name="connsiteX4138" fmla="*/ 2301822 w 11625583"/>
              <a:gd name="connsiteY4138" fmla="*/ 1493374 h 6380470"/>
              <a:gd name="connsiteX4139" fmla="*/ 2237136 w 11625583"/>
              <a:gd name="connsiteY4139" fmla="*/ 1558038 h 6380470"/>
              <a:gd name="connsiteX4140" fmla="*/ 2172451 w 11625583"/>
              <a:gd name="connsiteY4140" fmla="*/ 1493374 h 6380470"/>
              <a:gd name="connsiteX4141" fmla="*/ 2237136 w 11625583"/>
              <a:gd name="connsiteY4141" fmla="*/ 1428708 h 6380470"/>
              <a:gd name="connsiteX4142" fmla="*/ 2084457 w 11625583"/>
              <a:gd name="connsiteY4142" fmla="*/ 1428708 h 6380470"/>
              <a:gd name="connsiteX4143" fmla="*/ 2149118 w 11625583"/>
              <a:gd name="connsiteY4143" fmla="*/ 1493374 h 6380470"/>
              <a:gd name="connsiteX4144" fmla="*/ 2084457 w 11625583"/>
              <a:gd name="connsiteY4144" fmla="*/ 1558038 h 6380470"/>
              <a:gd name="connsiteX4145" fmla="*/ 2019816 w 11625583"/>
              <a:gd name="connsiteY4145" fmla="*/ 1493374 h 6380470"/>
              <a:gd name="connsiteX4146" fmla="*/ 2084457 w 11625583"/>
              <a:gd name="connsiteY4146" fmla="*/ 1428708 h 6380470"/>
              <a:gd name="connsiteX4147" fmla="*/ 1927872 w 11625583"/>
              <a:gd name="connsiteY4147" fmla="*/ 1428708 h 6380470"/>
              <a:gd name="connsiteX4148" fmla="*/ 1992557 w 11625583"/>
              <a:gd name="connsiteY4148" fmla="*/ 1493374 h 6380470"/>
              <a:gd name="connsiteX4149" fmla="*/ 1927872 w 11625583"/>
              <a:gd name="connsiteY4149" fmla="*/ 1558038 h 6380470"/>
              <a:gd name="connsiteX4150" fmla="*/ 1863233 w 11625583"/>
              <a:gd name="connsiteY4150" fmla="*/ 1493374 h 6380470"/>
              <a:gd name="connsiteX4151" fmla="*/ 1927872 w 11625583"/>
              <a:gd name="connsiteY4151" fmla="*/ 1428708 h 6380470"/>
              <a:gd name="connsiteX4152" fmla="*/ 1775219 w 11625583"/>
              <a:gd name="connsiteY4152" fmla="*/ 1428708 h 6380470"/>
              <a:gd name="connsiteX4153" fmla="*/ 1839905 w 11625583"/>
              <a:gd name="connsiteY4153" fmla="*/ 1493374 h 6380470"/>
              <a:gd name="connsiteX4154" fmla="*/ 1775219 w 11625583"/>
              <a:gd name="connsiteY4154" fmla="*/ 1558038 h 6380470"/>
              <a:gd name="connsiteX4155" fmla="*/ 1710549 w 11625583"/>
              <a:gd name="connsiteY4155" fmla="*/ 1493374 h 6380470"/>
              <a:gd name="connsiteX4156" fmla="*/ 1775219 w 11625583"/>
              <a:gd name="connsiteY4156" fmla="*/ 1428708 h 6380470"/>
              <a:gd name="connsiteX4157" fmla="*/ 1618636 w 11625583"/>
              <a:gd name="connsiteY4157" fmla="*/ 1428708 h 6380470"/>
              <a:gd name="connsiteX4158" fmla="*/ 1683307 w 11625583"/>
              <a:gd name="connsiteY4158" fmla="*/ 1493374 h 6380470"/>
              <a:gd name="connsiteX4159" fmla="*/ 1618636 w 11625583"/>
              <a:gd name="connsiteY4159" fmla="*/ 1558038 h 6380470"/>
              <a:gd name="connsiteX4160" fmla="*/ 1553973 w 11625583"/>
              <a:gd name="connsiteY4160" fmla="*/ 1493374 h 6380470"/>
              <a:gd name="connsiteX4161" fmla="*/ 1618636 w 11625583"/>
              <a:gd name="connsiteY4161" fmla="*/ 1428708 h 6380470"/>
              <a:gd name="connsiteX4162" fmla="*/ 1465980 w 11625583"/>
              <a:gd name="connsiteY4162" fmla="*/ 1428708 h 6380470"/>
              <a:gd name="connsiteX4163" fmla="*/ 1530647 w 11625583"/>
              <a:gd name="connsiteY4163" fmla="*/ 1493374 h 6380470"/>
              <a:gd name="connsiteX4164" fmla="*/ 1465980 w 11625583"/>
              <a:gd name="connsiteY4164" fmla="*/ 1558038 h 6380470"/>
              <a:gd name="connsiteX4165" fmla="*/ 1401318 w 11625583"/>
              <a:gd name="connsiteY4165" fmla="*/ 1493374 h 6380470"/>
              <a:gd name="connsiteX4166" fmla="*/ 1465980 w 11625583"/>
              <a:gd name="connsiteY4166" fmla="*/ 1428708 h 6380470"/>
              <a:gd name="connsiteX4167" fmla="*/ 1309407 w 11625583"/>
              <a:gd name="connsiteY4167" fmla="*/ 1428708 h 6380470"/>
              <a:gd name="connsiteX4168" fmla="*/ 1374073 w 11625583"/>
              <a:gd name="connsiteY4168" fmla="*/ 1493374 h 6380470"/>
              <a:gd name="connsiteX4169" fmla="*/ 1309407 w 11625583"/>
              <a:gd name="connsiteY4169" fmla="*/ 1558038 h 6380470"/>
              <a:gd name="connsiteX4170" fmla="*/ 1244742 w 11625583"/>
              <a:gd name="connsiteY4170" fmla="*/ 1493374 h 6380470"/>
              <a:gd name="connsiteX4171" fmla="*/ 1309407 w 11625583"/>
              <a:gd name="connsiteY4171" fmla="*/ 1428708 h 6380470"/>
              <a:gd name="connsiteX4172" fmla="*/ 1148923 w 11625583"/>
              <a:gd name="connsiteY4172" fmla="*/ 1428708 h 6380470"/>
              <a:gd name="connsiteX4173" fmla="*/ 1213588 w 11625583"/>
              <a:gd name="connsiteY4173" fmla="*/ 1493374 h 6380470"/>
              <a:gd name="connsiteX4174" fmla="*/ 1148923 w 11625583"/>
              <a:gd name="connsiteY4174" fmla="*/ 1558038 h 6380470"/>
              <a:gd name="connsiteX4175" fmla="*/ 1084258 w 11625583"/>
              <a:gd name="connsiteY4175" fmla="*/ 1493374 h 6380470"/>
              <a:gd name="connsiteX4176" fmla="*/ 1148923 w 11625583"/>
              <a:gd name="connsiteY4176" fmla="*/ 1428708 h 6380470"/>
              <a:gd name="connsiteX4177" fmla="*/ 11095111 w 11625583"/>
              <a:gd name="connsiteY4177" fmla="*/ 1287791 h 6380470"/>
              <a:gd name="connsiteX4178" fmla="*/ 11159777 w 11625583"/>
              <a:gd name="connsiteY4178" fmla="*/ 1352456 h 6380470"/>
              <a:gd name="connsiteX4179" fmla="*/ 11095111 w 11625583"/>
              <a:gd name="connsiteY4179" fmla="*/ 1417123 h 6380470"/>
              <a:gd name="connsiteX4180" fmla="*/ 11030445 w 11625583"/>
              <a:gd name="connsiteY4180" fmla="*/ 1352456 h 6380470"/>
              <a:gd name="connsiteX4181" fmla="*/ 11095111 w 11625583"/>
              <a:gd name="connsiteY4181" fmla="*/ 1287791 h 6380470"/>
              <a:gd name="connsiteX4182" fmla="*/ 10938538 w 11625583"/>
              <a:gd name="connsiteY4182" fmla="*/ 1287791 h 6380470"/>
              <a:gd name="connsiteX4183" fmla="*/ 11003204 w 11625583"/>
              <a:gd name="connsiteY4183" fmla="*/ 1352456 h 6380470"/>
              <a:gd name="connsiteX4184" fmla="*/ 10938538 w 11625583"/>
              <a:gd name="connsiteY4184" fmla="*/ 1417123 h 6380470"/>
              <a:gd name="connsiteX4185" fmla="*/ 10873872 w 11625583"/>
              <a:gd name="connsiteY4185" fmla="*/ 1352456 h 6380470"/>
              <a:gd name="connsiteX4186" fmla="*/ 10938538 w 11625583"/>
              <a:gd name="connsiteY4186" fmla="*/ 1287791 h 6380470"/>
              <a:gd name="connsiteX4187" fmla="*/ 10778051 w 11625583"/>
              <a:gd name="connsiteY4187" fmla="*/ 1287791 h 6380470"/>
              <a:gd name="connsiteX4188" fmla="*/ 10842717 w 11625583"/>
              <a:gd name="connsiteY4188" fmla="*/ 1352456 h 6380470"/>
              <a:gd name="connsiteX4189" fmla="*/ 10778051 w 11625583"/>
              <a:gd name="connsiteY4189" fmla="*/ 1417123 h 6380470"/>
              <a:gd name="connsiteX4190" fmla="*/ 10713385 w 11625583"/>
              <a:gd name="connsiteY4190" fmla="*/ 1352456 h 6380470"/>
              <a:gd name="connsiteX4191" fmla="*/ 10778051 w 11625583"/>
              <a:gd name="connsiteY4191" fmla="*/ 1287791 h 6380470"/>
              <a:gd name="connsiteX4192" fmla="*/ 10625391 w 11625583"/>
              <a:gd name="connsiteY4192" fmla="*/ 1287791 h 6380470"/>
              <a:gd name="connsiteX4193" fmla="*/ 10690057 w 11625583"/>
              <a:gd name="connsiteY4193" fmla="*/ 1352456 h 6380470"/>
              <a:gd name="connsiteX4194" fmla="*/ 10625391 w 11625583"/>
              <a:gd name="connsiteY4194" fmla="*/ 1417123 h 6380470"/>
              <a:gd name="connsiteX4195" fmla="*/ 10560725 w 11625583"/>
              <a:gd name="connsiteY4195" fmla="*/ 1352456 h 6380470"/>
              <a:gd name="connsiteX4196" fmla="*/ 10625391 w 11625583"/>
              <a:gd name="connsiteY4196" fmla="*/ 1287791 h 6380470"/>
              <a:gd name="connsiteX4197" fmla="*/ 10468818 w 11625583"/>
              <a:gd name="connsiteY4197" fmla="*/ 1287791 h 6380470"/>
              <a:gd name="connsiteX4198" fmla="*/ 10533484 w 11625583"/>
              <a:gd name="connsiteY4198" fmla="*/ 1352456 h 6380470"/>
              <a:gd name="connsiteX4199" fmla="*/ 10468818 w 11625583"/>
              <a:gd name="connsiteY4199" fmla="*/ 1417123 h 6380470"/>
              <a:gd name="connsiteX4200" fmla="*/ 10404152 w 11625583"/>
              <a:gd name="connsiteY4200" fmla="*/ 1352456 h 6380470"/>
              <a:gd name="connsiteX4201" fmla="*/ 10468818 w 11625583"/>
              <a:gd name="connsiteY4201" fmla="*/ 1287791 h 6380470"/>
              <a:gd name="connsiteX4202" fmla="*/ 10312244 w 11625583"/>
              <a:gd name="connsiteY4202" fmla="*/ 1287791 h 6380470"/>
              <a:gd name="connsiteX4203" fmla="*/ 10376910 w 11625583"/>
              <a:gd name="connsiteY4203" fmla="*/ 1352456 h 6380470"/>
              <a:gd name="connsiteX4204" fmla="*/ 10312244 w 11625583"/>
              <a:gd name="connsiteY4204" fmla="*/ 1417123 h 6380470"/>
              <a:gd name="connsiteX4205" fmla="*/ 10247578 w 11625583"/>
              <a:gd name="connsiteY4205" fmla="*/ 1352456 h 6380470"/>
              <a:gd name="connsiteX4206" fmla="*/ 10312244 w 11625583"/>
              <a:gd name="connsiteY4206" fmla="*/ 1287791 h 6380470"/>
              <a:gd name="connsiteX4207" fmla="*/ 10159586 w 11625583"/>
              <a:gd name="connsiteY4207" fmla="*/ 1287791 h 6380470"/>
              <a:gd name="connsiteX4208" fmla="*/ 10224252 w 11625583"/>
              <a:gd name="connsiteY4208" fmla="*/ 1352456 h 6380470"/>
              <a:gd name="connsiteX4209" fmla="*/ 10159586 w 11625583"/>
              <a:gd name="connsiteY4209" fmla="*/ 1417123 h 6380470"/>
              <a:gd name="connsiteX4210" fmla="*/ 10094920 w 11625583"/>
              <a:gd name="connsiteY4210" fmla="*/ 1352456 h 6380470"/>
              <a:gd name="connsiteX4211" fmla="*/ 10159586 w 11625583"/>
              <a:gd name="connsiteY4211" fmla="*/ 1287791 h 6380470"/>
              <a:gd name="connsiteX4212" fmla="*/ 10003015 w 11625583"/>
              <a:gd name="connsiteY4212" fmla="*/ 1287791 h 6380470"/>
              <a:gd name="connsiteX4213" fmla="*/ 10067681 w 11625583"/>
              <a:gd name="connsiteY4213" fmla="*/ 1352456 h 6380470"/>
              <a:gd name="connsiteX4214" fmla="*/ 10003015 w 11625583"/>
              <a:gd name="connsiteY4214" fmla="*/ 1417123 h 6380470"/>
              <a:gd name="connsiteX4215" fmla="*/ 9938349 w 11625583"/>
              <a:gd name="connsiteY4215" fmla="*/ 1352456 h 6380470"/>
              <a:gd name="connsiteX4216" fmla="*/ 10003015 w 11625583"/>
              <a:gd name="connsiteY4216" fmla="*/ 1287791 h 6380470"/>
              <a:gd name="connsiteX4217" fmla="*/ 9850355 w 11625583"/>
              <a:gd name="connsiteY4217" fmla="*/ 1287791 h 6380470"/>
              <a:gd name="connsiteX4218" fmla="*/ 9915021 w 11625583"/>
              <a:gd name="connsiteY4218" fmla="*/ 1352456 h 6380470"/>
              <a:gd name="connsiteX4219" fmla="*/ 9850355 w 11625583"/>
              <a:gd name="connsiteY4219" fmla="*/ 1417123 h 6380470"/>
              <a:gd name="connsiteX4220" fmla="*/ 9785689 w 11625583"/>
              <a:gd name="connsiteY4220" fmla="*/ 1352456 h 6380470"/>
              <a:gd name="connsiteX4221" fmla="*/ 9850355 w 11625583"/>
              <a:gd name="connsiteY4221" fmla="*/ 1287791 h 6380470"/>
              <a:gd name="connsiteX4222" fmla="*/ 9693780 w 11625583"/>
              <a:gd name="connsiteY4222" fmla="*/ 1287791 h 6380470"/>
              <a:gd name="connsiteX4223" fmla="*/ 9758446 w 11625583"/>
              <a:gd name="connsiteY4223" fmla="*/ 1352456 h 6380470"/>
              <a:gd name="connsiteX4224" fmla="*/ 9693780 w 11625583"/>
              <a:gd name="connsiteY4224" fmla="*/ 1417123 h 6380470"/>
              <a:gd name="connsiteX4225" fmla="*/ 9629114 w 11625583"/>
              <a:gd name="connsiteY4225" fmla="*/ 1352456 h 6380470"/>
              <a:gd name="connsiteX4226" fmla="*/ 9693780 w 11625583"/>
              <a:gd name="connsiteY4226" fmla="*/ 1287791 h 6380470"/>
              <a:gd name="connsiteX4227" fmla="*/ 9541122 w 11625583"/>
              <a:gd name="connsiteY4227" fmla="*/ 1287791 h 6380470"/>
              <a:gd name="connsiteX4228" fmla="*/ 9605788 w 11625583"/>
              <a:gd name="connsiteY4228" fmla="*/ 1352456 h 6380470"/>
              <a:gd name="connsiteX4229" fmla="*/ 9541122 w 11625583"/>
              <a:gd name="connsiteY4229" fmla="*/ 1417123 h 6380470"/>
              <a:gd name="connsiteX4230" fmla="*/ 9476456 w 11625583"/>
              <a:gd name="connsiteY4230" fmla="*/ 1352456 h 6380470"/>
              <a:gd name="connsiteX4231" fmla="*/ 9541122 w 11625583"/>
              <a:gd name="connsiteY4231" fmla="*/ 1287791 h 6380470"/>
              <a:gd name="connsiteX4232" fmla="*/ 9384549 w 11625583"/>
              <a:gd name="connsiteY4232" fmla="*/ 1287791 h 6380470"/>
              <a:gd name="connsiteX4233" fmla="*/ 9449215 w 11625583"/>
              <a:gd name="connsiteY4233" fmla="*/ 1352456 h 6380470"/>
              <a:gd name="connsiteX4234" fmla="*/ 9384549 w 11625583"/>
              <a:gd name="connsiteY4234" fmla="*/ 1417123 h 6380470"/>
              <a:gd name="connsiteX4235" fmla="*/ 9319883 w 11625583"/>
              <a:gd name="connsiteY4235" fmla="*/ 1352456 h 6380470"/>
              <a:gd name="connsiteX4236" fmla="*/ 9384549 w 11625583"/>
              <a:gd name="connsiteY4236" fmla="*/ 1287791 h 6380470"/>
              <a:gd name="connsiteX4237" fmla="*/ 9227976 w 11625583"/>
              <a:gd name="connsiteY4237" fmla="*/ 1287791 h 6380470"/>
              <a:gd name="connsiteX4238" fmla="*/ 9292642 w 11625583"/>
              <a:gd name="connsiteY4238" fmla="*/ 1352456 h 6380470"/>
              <a:gd name="connsiteX4239" fmla="*/ 9227976 w 11625583"/>
              <a:gd name="connsiteY4239" fmla="*/ 1417123 h 6380470"/>
              <a:gd name="connsiteX4240" fmla="*/ 9163310 w 11625583"/>
              <a:gd name="connsiteY4240" fmla="*/ 1352456 h 6380470"/>
              <a:gd name="connsiteX4241" fmla="*/ 9227976 w 11625583"/>
              <a:gd name="connsiteY4241" fmla="*/ 1287791 h 6380470"/>
              <a:gd name="connsiteX4242" fmla="*/ 9075316 w 11625583"/>
              <a:gd name="connsiteY4242" fmla="*/ 1287791 h 6380470"/>
              <a:gd name="connsiteX4243" fmla="*/ 9139982 w 11625583"/>
              <a:gd name="connsiteY4243" fmla="*/ 1352456 h 6380470"/>
              <a:gd name="connsiteX4244" fmla="*/ 9075316 w 11625583"/>
              <a:gd name="connsiteY4244" fmla="*/ 1417123 h 6380470"/>
              <a:gd name="connsiteX4245" fmla="*/ 9010650 w 11625583"/>
              <a:gd name="connsiteY4245" fmla="*/ 1352456 h 6380470"/>
              <a:gd name="connsiteX4246" fmla="*/ 9075316 w 11625583"/>
              <a:gd name="connsiteY4246" fmla="*/ 1287791 h 6380470"/>
              <a:gd name="connsiteX4247" fmla="*/ 8914828 w 11625583"/>
              <a:gd name="connsiteY4247" fmla="*/ 1287791 h 6380470"/>
              <a:gd name="connsiteX4248" fmla="*/ 8979494 w 11625583"/>
              <a:gd name="connsiteY4248" fmla="*/ 1352456 h 6380470"/>
              <a:gd name="connsiteX4249" fmla="*/ 8914828 w 11625583"/>
              <a:gd name="connsiteY4249" fmla="*/ 1417123 h 6380470"/>
              <a:gd name="connsiteX4250" fmla="*/ 8850162 w 11625583"/>
              <a:gd name="connsiteY4250" fmla="*/ 1352456 h 6380470"/>
              <a:gd name="connsiteX4251" fmla="*/ 8914828 w 11625583"/>
              <a:gd name="connsiteY4251" fmla="*/ 1287791 h 6380470"/>
              <a:gd name="connsiteX4252" fmla="*/ 8766084 w 11625583"/>
              <a:gd name="connsiteY4252" fmla="*/ 1287791 h 6380470"/>
              <a:gd name="connsiteX4253" fmla="*/ 8830750 w 11625583"/>
              <a:gd name="connsiteY4253" fmla="*/ 1352456 h 6380470"/>
              <a:gd name="connsiteX4254" fmla="*/ 8766084 w 11625583"/>
              <a:gd name="connsiteY4254" fmla="*/ 1417123 h 6380470"/>
              <a:gd name="connsiteX4255" fmla="*/ 8701418 w 11625583"/>
              <a:gd name="connsiteY4255" fmla="*/ 1352456 h 6380470"/>
              <a:gd name="connsiteX4256" fmla="*/ 8766084 w 11625583"/>
              <a:gd name="connsiteY4256" fmla="*/ 1287791 h 6380470"/>
              <a:gd name="connsiteX4257" fmla="*/ 8601682 w 11625583"/>
              <a:gd name="connsiteY4257" fmla="*/ 1287791 h 6380470"/>
              <a:gd name="connsiteX4258" fmla="*/ 8666348 w 11625583"/>
              <a:gd name="connsiteY4258" fmla="*/ 1352456 h 6380470"/>
              <a:gd name="connsiteX4259" fmla="*/ 8601682 w 11625583"/>
              <a:gd name="connsiteY4259" fmla="*/ 1417123 h 6380470"/>
              <a:gd name="connsiteX4260" fmla="*/ 8537016 w 11625583"/>
              <a:gd name="connsiteY4260" fmla="*/ 1352456 h 6380470"/>
              <a:gd name="connsiteX4261" fmla="*/ 8601682 w 11625583"/>
              <a:gd name="connsiteY4261" fmla="*/ 1287791 h 6380470"/>
              <a:gd name="connsiteX4262" fmla="*/ 8449023 w 11625583"/>
              <a:gd name="connsiteY4262" fmla="*/ 1287791 h 6380470"/>
              <a:gd name="connsiteX4263" fmla="*/ 8513689 w 11625583"/>
              <a:gd name="connsiteY4263" fmla="*/ 1352456 h 6380470"/>
              <a:gd name="connsiteX4264" fmla="*/ 8449023 w 11625583"/>
              <a:gd name="connsiteY4264" fmla="*/ 1417123 h 6380470"/>
              <a:gd name="connsiteX4265" fmla="*/ 8384357 w 11625583"/>
              <a:gd name="connsiteY4265" fmla="*/ 1352456 h 6380470"/>
              <a:gd name="connsiteX4266" fmla="*/ 8449023 w 11625583"/>
              <a:gd name="connsiteY4266" fmla="*/ 1287791 h 6380470"/>
              <a:gd name="connsiteX4267" fmla="*/ 8296365 w 11625583"/>
              <a:gd name="connsiteY4267" fmla="*/ 1287791 h 6380470"/>
              <a:gd name="connsiteX4268" fmla="*/ 8361031 w 11625583"/>
              <a:gd name="connsiteY4268" fmla="*/ 1352456 h 6380470"/>
              <a:gd name="connsiteX4269" fmla="*/ 8296365 w 11625583"/>
              <a:gd name="connsiteY4269" fmla="*/ 1417123 h 6380470"/>
              <a:gd name="connsiteX4270" fmla="*/ 8231699 w 11625583"/>
              <a:gd name="connsiteY4270" fmla="*/ 1352456 h 6380470"/>
              <a:gd name="connsiteX4271" fmla="*/ 8296365 w 11625583"/>
              <a:gd name="connsiteY4271" fmla="*/ 1287791 h 6380470"/>
              <a:gd name="connsiteX4272" fmla="*/ 8139790 w 11625583"/>
              <a:gd name="connsiteY4272" fmla="*/ 1287791 h 6380470"/>
              <a:gd name="connsiteX4273" fmla="*/ 8204456 w 11625583"/>
              <a:gd name="connsiteY4273" fmla="*/ 1352456 h 6380470"/>
              <a:gd name="connsiteX4274" fmla="*/ 8139790 w 11625583"/>
              <a:gd name="connsiteY4274" fmla="*/ 1417123 h 6380470"/>
              <a:gd name="connsiteX4275" fmla="*/ 8075124 w 11625583"/>
              <a:gd name="connsiteY4275" fmla="*/ 1352456 h 6380470"/>
              <a:gd name="connsiteX4276" fmla="*/ 8139790 w 11625583"/>
              <a:gd name="connsiteY4276" fmla="*/ 1287791 h 6380470"/>
              <a:gd name="connsiteX4277" fmla="*/ 7987132 w 11625583"/>
              <a:gd name="connsiteY4277" fmla="*/ 1287791 h 6380470"/>
              <a:gd name="connsiteX4278" fmla="*/ 8051798 w 11625583"/>
              <a:gd name="connsiteY4278" fmla="*/ 1352456 h 6380470"/>
              <a:gd name="connsiteX4279" fmla="*/ 7987132 w 11625583"/>
              <a:gd name="connsiteY4279" fmla="*/ 1417123 h 6380470"/>
              <a:gd name="connsiteX4280" fmla="*/ 7922466 w 11625583"/>
              <a:gd name="connsiteY4280" fmla="*/ 1352456 h 6380470"/>
              <a:gd name="connsiteX4281" fmla="*/ 7987132 w 11625583"/>
              <a:gd name="connsiteY4281" fmla="*/ 1287791 h 6380470"/>
              <a:gd name="connsiteX4282" fmla="*/ 7830560 w 11625583"/>
              <a:gd name="connsiteY4282" fmla="*/ 1287791 h 6380470"/>
              <a:gd name="connsiteX4283" fmla="*/ 7895226 w 11625583"/>
              <a:gd name="connsiteY4283" fmla="*/ 1352456 h 6380470"/>
              <a:gd name="connsiteX4284" fmla="*/ 7830560 w 11625583"/>
              <a:gd name="connsiteY4284" fmla="*/ 1417123 h 6380470"/>
              <a:gd name="connsiteX4285" fmla="*/ 7765894 w 11625583"/>
              <a:gd name="connsiteY4285" fmla="*/ 1352456 h 6380470"/>
              <a:gd name="connsiteX4286" fmla="*/ 7830560 w 11625583"/>
              <a:gd name="connsiteY4286" fmla="*/ 1287791 h 6380470"/>
              <a:gd name="connsiteX4287" fmla="*/ 7677900 w 11625583"/>
              <a:gd name="connsiteY4287" fmla="*/ 1287791 h 6380470"/>
              <a:gd name="connsiteX4288" fmla="*/ 7742566 w 11625583"/>
              <a:gd name="connsiteY4288" fmla="*/ 1352456 h 6380470"/>
              <a:gd name="connsiteX4289" fmla="*/ 7677900 w 11625583"/>
              <a:gd name="connsiteY4289" fmla="*/ 1417123 h 6380470"/>
              <a:gd name="connsiteX4290" fmla="*/ 7613234 w 11625583"/>
              <a:gd name="connsiteY4290" fmla="*/ 1352456 h 6380470"/>
              <a:gd name="connsiteX4291" fmla="*/ 7677900 w 11625583"/>
              <a:gd name="connsiteY4291" fmla="*/ 1287791 h 6380470"/>
              <a:gd name="connsiteX4292" fmla="*/ 7521327 w 11625583"/>
              <a:gd name="connsiteY4292" fmla="*/ 1287791 h 6380470"/>
              <a:gd name="connsiteX4293" fmla="*/ 7585993 w 11625583"/>
              <a:gd name="connsiteY4293" fmla="*/ 1352456 h 6380470"/>
              <a:gd name="connsiteX4294" fmla="*/ 7521327 w 11625583"/>
              <a:gd name="connsiteY4294" fmla="*/ 1417123 h 6380470"/>
              <a:gd name="connsiteX4295" fmla="*/ 7456661 w 11625583"/>
              <a:gd name="connsiteY4295" fmla="*/ 1352456 h 6380470"/>
              <a:gd name="connsiteX4296" fmla="*/ 7521327 w 11625583"/>
              <a:gd name="connsiteY4296" fmla="*/ 1287791 h 6380470"/>
              <a:gd name="connsiteX4297" fmla="*/ 7368667 w 11625583"/>
              <a:gd name="connsiteY4297" fmla="*/ 1287791 h 6380470"/>
              <a:gd name="connsiteX4298" fmla="*/ 7433333 w 11625583"/>
              <a:gd name="connsiteY4298" fmla="*/ 1352456 h 6380470"/>
              <a:gd name="connsiteX4299" fmla="*/ 7368667 w 11625583"/>
              <a:gd name="connsiteY4299" fmla="*/ 1417123 h 6380470"/>
              <a:gd name="connsiteX4300" fmla="*/ 7304001 w 11625583"/>
              <a:gd name="connsiteY4300" fmla="*/ 1352456 h 6380470"/>
              <a:gd name="connsiteX4301" fmla="*/ 7368667 w 11625583"/>
              <a:gd name="connsiteY4301" fmla="*/ 1287791 h 6380470"/>
              <a:gd name="connsiteX4302" fmla="*/ 7212094 w 11625583"/>
              <a:gd name="connsiteY4302" fmla="*/ 1287791 h 6380470"/>
              <a:gd name="connsiteX4303" fmla="*/ 7276760 w 11625583"/>
              <a:gd name="connsiteY4303" fmla="*/ 1352456 h 6380470"/>
              <a:gd name="connsiteX4304" fmla="*/ 7212094 w 11625583"/>
              <a:gd name="connsiteY4304" fmla="*/ 1417123 h 6380470"/>
              <a:gd name="connsiteX4305" fmla="*/ 7147428 w 11625583"/>
              <a:gd name="connsiteY4305" fmla="*/ 1352456 h 6380470"/>
              <a:gd name="connsiteX4306" fmla="*/ 7212094 w 11625583"/>
              <a:gd name="connsiteY4306" fmla="*/ 1287791 h 6380470"/>
              <a:gd name="connsiteX4307" fmla="*/ 7055521 w 11625583"/>
              <a:gd name="connsiteY4307" fmla="*/ 1287791 h 6380470"/>
              <a:gd name="connsiteX4308" fmla="*/ 7120187 w 11625583"/>
              <a:gd name="connsiteY4308" fmla="*/ 1352456 h 6380470"/>
              <a:gd name="connsiteX4309" fmla="*/ 7055521 w 11625583"/>
              <a:gd name="connsiteY4309" fmla="*/ 1417123 h 6380470"/>
              <a:gd name="connsiteX4310" fmla="*/ 6990855 w 11625583"/>
              <a:gd name="connsiteY4310" fmla="*/ 1352456 h 6380470"/>
              <a:gd name="connsiteX4311" fmla="*/ 7055521 w 11625583"/>
              <a:gd name="connsiteY4311" fmla="*/ 1287791 h 6380470"/>
              <a:gd name="connsiteX4312" fmla="*/ 6895035 w 11625583"/>
              <a:gd name="connsiteY4312" fmla="*/ 1287791 h 6380470"/>
              <a:gd name="connsiteX4313" fmla="*/ 6959701 w 11625583"/>
              <a:gd name="connsiteY4313" fmla="*/ 1352456 h 6380470"/>
              <a:gd name="connsiteX4314" fmla="*/ 6895035 w 11625583"/>
              <a:gd name="connsiteY4314" fmla="*/ 1417123 h 6380470"/>
              <a:gd name="connsiteX4315" fmla="*/ 6830369 w 11625583"/>
              <a:gd name="connsiteY4315" fmla="*/ 1352456 h 6380470"/>
              <a:gd name="connsiteX4316" fmla="*/ 6895035 w 11625583"/>
              <a:gd name="connsiteY4316" fmla="*/ 1287791 h 6380470"/>
              <a:gd name="connsiteX4317" fmla="*/ 6742375 w 11625583"/>
              <a:gd name="connsiteY4317" fmla="*/ 1287791 h 6380470"/>
              <a:gd name="connsiteX4318" fmla="*/ 6807041 w 11625583"/>
              <a:gd name="connsiteY4318" fmla="*/ 1352456 h 6380470"/>
              <a:gd name="connsiteX4319" fmla="*/ 6742375 w 11625583"/>
              <a:gd name="connsiteY4319" fmla="*/ 1417123 h 6380470"/>
              <a:gd name="connsiteX4320" fmla="*/ 6677709 w 11625583"/>
              <a:gd name="connsiteY4320" fmla="*/ 1352456 h 6380470"/>
              <a:gd name="connsiteX4321" fmla="*/ 6742375 w 11625583"/>
              <a:gd name="connsiteY4321" fmla="*/ 1287791 h 6380470"/>
              <a:gd name="connsiteX4322" fmla="*/ 6585801 w 11625583"/>
              <a:gd name="connsiteY4322" fmla="*/ 1287791 h 6380470"/>
              <a:gd name="connsiteX4323" fmla="*/ 6650467 w 11625583"/>
              <a:gd name="connsiteY4323" fmla="*/ 1352456 h 6380470"/>
              <a:gd name="connsiteX4324" fmla="*/ 6585801 w 11625583"/>
              <a:gd name="connsiteY4324" fmla="*/ 1417123 h 6380470"/>
              <a:gd name="connsiteX4325" fmla="*/ 6521135 w 11625583"/>
              <a:gd name="connsiteY4325" fmla="*/ 1352456 h 6380470"/>
              <a:gd name="connsiteX4326" fmla="*/ 6585801 w 11625583"/>
              <a:gd name="connsiteY4326" fmla="*/ 1287791 h 6380470"/>
              <a:gd name="connsiteX4327" fmla="*/ 6429228 w 11625583"/>
              <a:gd name="connsiteY4327" fmla="*/ 1287791 h 6380470"/>
              <a:gd name="connsiteX4328" fmla="*/ 6493894 w 11625583"/>
              <a:gd name="connsiteY4328" fmla="*/ 1352456 h 6380470"/>
              <a:gd name="connsiteX4329" fmla="*/ 6429228 w 11625583"/>
              <a:gd name="connsiteY4329" fmla="*/ 1417123 h 6380470"/>
              <a:gd name="connsiteX4330" fmla="*/ 6364562 w 11625583"/>
              <a:gd name="connsiteY4330" fmla="*/ 1352456 h 6380470"/>
              <a:gd name="connsiteX4331" fmla="*/ 6429228 w 11625583"/>
              <a:gd name="connsiteY4331" fmla="*/ 1287791 h 6380470"/>
              <a:gd name="connsiteX4332" fmla="*/ 6276569 w 11625583"/>
              <a:gd name="connsiteY4332" fmla="*/ 1287791 h 6380470"/>
              <a:gd name="connsiteX4333" fmla="*/ 6341235 w 11625583"/>
              <a:gd name="connsiteY4333" fmla="*/ 1352456 h 6380470"/>
              <a:gd name="connsiteX4334" fmla="*/ 6276569 w 11625583"/>
              <a:gd name="connsiteY4334" fmla="*/ 1417123 h 6380470"/>
              <a:gd name="connsiteX4335" fmla="*/ 6211903 w 11625583"/>
              <a:gd name="connsiteY4335" fmla="*/ 1352456 h 6380470"/>
              <a:gd name="connsiteX4336" fmla="*/ 6276569 w 11625583"/>
              <a:gd name="connsiteY4336" fmla="*/ 1287791 h 6380470"/>
              <a:gd name="connsiteX4337" fmla="*/ 5967336 w 11625583"/>
              <a:gd name="connsiteY4337" fmla="*/ 1287791 h 6380470"/>
              <a:gd name="connsiteX4338" fmla="*/ 6032002 w 11625583"/>
              <a:gd name="connsiteY4338" fmla="*/ 1352456 h 6380470"/>
              <a:gd name="connsiteX4339" fmla="*/ 5967336 w 11625583"/>
              <a:gd name="connsiteY4339" fmla="*/ 1417123 h 6380470"/>
              <a:gd name="connsiteX4340" fmla="*/ 5902670 w 11625583"/>
              <a:gd name="connsiteY4340" fmla="*/ 1352456 h 6380470"/>
              <a:gd name="connsiteX4341" fmla="*/ 5967336 w 11625583"/>
              <a:gd name="connsiteY4341" fmla="*/ 1287791 h 6380470"/>
              <a:gd name="connsiteX4342" fmla="*/ 5810805 w 11625583"/>
              <a:gd name="connsiteY4342" fmla="*/ 1287791 h 6380470"/>
              <a:gd name="connsiteX4343" fmla="*/ 5875429 w 11625583"/>
              <a:gd name="connsiteY4343" fmla="*/ 1352456 h 6380470"/>
              <a:gd name="connsiteX4344" fmla="*/ 5810805 w 11625583"/>
              <a:gd name="connsiteY4344" fmla="*/ 1417123 h 6380470"/>
              <a:gd name="connsiteX4345" fmla="*/ 5746117 w 11625583"/>
              <a:gd name="connsiteY4345" fmla="*/ 1352456 h 6380470"/>
              <a:gd name="connsiteX4346" fmla="*/ 5810805 w 11625583"/>
              <a:gd name="connsiteY4346" fmla="*/ 1287791 h 6380470"/>
              <a:gd name="connsiteX4347" fmla="*/ 5658107 w 11625583"/>
              <a:gd name="connsiteY4347" fmla="*/ 1287791 h 6380470"/>
              <a:gd name="connsiteX4348" fmla="*/ 5722783 w 11625583"/>
              <a:gd name="connsiteY4348" fmla="*/ 1352456 h 6380470"/>
              <a:gd name="connsiteX4349" fmla="*/ 5658107 w 11625583"/>
              <a:gd name="connsiteY4349" fmla="*/ 1417123 h 6380470"/>
              <a:gd name="connsiteX4350" fmla="*/ 5593441 w 11625583"/>
              <a:gd name="connsiteY4350" fmla="*/ 1352456 h 6380470"/>
              <a:gd name="connsiteX4351" fmla="*/ 5658107 w 11625583"/>
              <a:gd name="connsiteY4351" fmla="*/ 1287791 h 6380470"/>
              <a:gd name="connsiteX4352" fmla="*/ 4100247 w 11625583"/>
              <a:gd name="connsiteY4352" fmla="*/ 1287791 h 6380470"/>
              <a:gd name="connsiteX4353" fmla="*/ 4164920 w 11625583"/>
              <a:gd name="connsiteY4353" fmla="*/ 1352456 h 6380470"/>
              <a:gd name="connsiteX4354" fmla="*/ 4100247 w 11625583"/>
              <a:gd name="connsiteY4354" fmla="*/ 1417123 h 6380470"/>
              <a:gd name="connsiteX4355" fmla="*/ 4035590 w 11625583"/>
              <a:gd name="connsiteY4355" fmla="*/ 1352456 h 6380470"/>
              <a:gd name="connsiteX4356" fmla="*/ 4100247 w 11625583"/>
              <a:gd name="connsiteY4356" fmla="*/ 1287791 h 6380470"/>
              <a:gd name="connsiteX4357" fmla="*/ 3012132 w 11625583"/>
              <a:gd name="connsiteY4357" fmla="*/ 1287791 h 6380470"/>
              <a:gd name="connsiteX4358" fmla="*/ 3076802 w 11625583"/>
              <a:gd name="connsiteY4358" fmla="*/ 1352456 h 6380470"/>
              <a:gd name="connsiteX4359" fmla="*/ 3012132 w 11625583"/>
              <a:gd name="connsiteY4359" fmla="*/ 1417123 h 6380470"/>
              <a:gd name="connsiteX4360" fmla="*/ 2947475 w 11625583"/>
              <a:gd name="connsiteY4360" fmla="*/ 1352456 h 6380470"/>
              <a:gd name="connsiteX4361" fmla="*/ 3012132 w 11625583"/>
              <a:gd name="connsiteY4361" fmla="*/ 1287791 h 6380470"/>
              <a:gd name="connsiteX4362" fmla="*/ 2389823 w 11625583"/>
              <a:gd name="connsiteY4362" fmla="*/ 1287791 h 6380470"/>
              <a:gd name="connsiteX4363" fmla="*/ 2454505 w 11625583"/>
              <a:gd name="connsiteY4363" fmla="*/ 1352456 h 6380470"/>
              <a:gd name="connsiteX4364" fmla="*/ 2389823 w 11625583"/>
              <a:gd name="connsiteY4364" fmla="*/ 1417123 h 6380470"/>
              <a:gd name="connsiteX4365" fmla="*/ 2325168 w 11625583"/>
              <a:gd name="connsiteY4365" fmla="*/ 1352456 h 6380470"/>
              <a:gd name="connsiteX4366" fmla="*/ 2389823 w 11625583"/>
              <a:gd name="connsiteY4366" fmla="*/ 1287791 h 6380470"/>
              <a:gd name="connsiteX4367" fmla="*/ 2237146 w 11625583"/>
              <a:gd name="connsiteY4367" fmla="*/ 1287791 h 6380470"/>
              <a:gd name="connsiteX4368" fmla="*/ 2301833 w 11625583"/>
              <a:gd name="connsiteY4368" fmla="*/ 1352456 h 6380470"/>
              <a:gd name="connsiteX4369" fmla="*/ 2237146 w 11625583"/>
              <a:gd name="connsiteY4369" fmla="*/ 1417123 h 6380470"/>
              <a:gd name="connsiteX4370" fmla="*/ 2172460 w 11625583"/>
              <a:gd name="connsiteY4370" fmla="*/ 1352456 h 6380470"/>
              <a:gd name="connsiteX4371" fmla="*/ 2237146 w 11625583"/>
              <a:gd name="connsiteY4371" fmla="*/ 1287791 h 6380470"/>
              <a:gd name="connsiteX4372" fmla="*/ 2084466 w 11625583"/>
              <a:gd name="connsiteY4372" fmla="*/ 1287791 h 6380470"/>
              <a:gd name="connsiteX4373" fmla="*/ 2149126 w 11625583"/>
              <a:gd name="connsiteY4373" fmla="*/ 1352456 h 6380470"/>
              <a:gd name="connsiteX4374" fmla="*/ 2084466 w 11625583"/>
              <a:gd name="connsiteY4374" fmla="*/ 1417123 h 6380470"/>
              <a:gd name="connsiteX4375" fmla="*/ 2019823 w 11625583"/>
              <a:gd name="connsiteY4375" fmla="*/ 1352456 h 6380470"/>
              <a:gd name="connsiteX4376" fmla="*/ 2084466 w 11625583"/>
              <a:gd name="connsiteY4376" fmla="*/ 1287791 h 6380470"/>
              <a:gd name="connsiteX4377" fmla="*/ 1927872 w 11625583"/>
              <a:gd name="connsiteY4377" fmla="*/ 1287791 h 6380470"/>
              <a:gd name="connsiteX4378" fmla="*/ 1992567 w 11625583"/>
              <a:gd name="connsiteY4378" fmla="*/ 1352456 h 6380470"/>
              <a:gd name="connsiteX4379" fmla="*/ 1927872 w 11625583"/>
              <a:gd name="connsiteY4379" fmla="*/ 1417123 h 6380470"/>
              <a:gd name="connsiteX4380" fmla="*/ 1863242 w 11625583"/>
              <a:gd name="connsiteY4380" fmla="*/ 1352456 h 6380470"/>
              <a:gd name="connsiteX4381" fmla="*/ 1927872 w 11625583"/>
              <a:gd name="connsiteY4381" fmla="*/ 1287791 h 6380470"/>
              <a:gd name="connsiteX4382" fmla="*/ 1775228 w 11625583"/>
              <a:gd name="connsiteY4382" fmla="*/ 1287791 h 6380470"/>
              <a:gd name="connsiteX4383" fmla="*/ 1839912 w 11625583"/>
              <a:gd name="connsiteY4383" fmla="*/ 1352456 h 6380470"/>
              <a:gd name="connsiteX4384" fmla="*/ 1775228 w 11625583"/>
              <a:gd name="connsiteY4384" fmla="*/ 1417123 h 6380470"/>
              <a:gd name="connsiteX4385" fmla="*/ 1710556 w 11625583"/>
              <a:gd name="connsiteY4385" fmla="*/ 1352456 h 6380470"/>
              <a:gd name="connsiteX4386" fmla="*/ 1775228 w 11625583"/>
              <a:gd name="connsiteY4386" fmla="*/ 1287791 h 6380470"/>
              <a:gd name="connsiteX4387" fmla="*/ 1618644 w 11625583"/>
              <a:gd name="connsiteY4387" fmla="*/ 1287791 h 6380470"/>
              <a:gd name="connsiteX4388" fmla="*/ 1683314 w 11625583"/>
              <a:gd name="connsiteY4388" fmla="*/ 1352456 h 6380470"/>
              <a:gd name="connsiteX4389" fmla="*/ 1618644 w 11625583"/>
              <a:gd name="connsiteY4389" fmla="*/ 1417123 h 6380470"/>
              <a:gd name="connsiteX4390" fmla="*/ 1553981 w 11625583"/>
              <a:gd name="connsiteY4390" fmla="*/ 1352456 h 6380470"/>
              <a:gd name="connsiteX4391" fmla="*/ 1618644 w 11625583"/>
              <a:gd name="connsiteY4391" fmla="*/ 1287791 h 6380470"/>
              <a:gd name="connsiteX4392" fmla="*/ 1465988 w 11625583"/>
              <a:gd name="connsiteY4392" fmla="*/ 1287791 h 6380470"/>
              <a:gd name="connsiteX4393" fmla="*/ 1530654 w 11625583"/>
              <a:gd name="connsiteY4393" fmla="*/ 1352456 h 6380470"/>
              <a:gd name="connsiteX4394" fmla="*/ 1465988 w 11625583"/>
              <a:gd name="connsiteY4394" fmla="*/ 1417123 h 6380470"/>
              <a:gd name="connsiteX4395" fmla="*/ 1401325 w 11625583"/>
              <a:gd name="connsiteY4395" fmla="*/ 1352456 h 6380470"/>
              <a:gd name="connsiteX4396" fmla="*/ 1465988 w 11625583"/>
              <a:gd name="connsiteY4396" fmla="*/ 1287791 h 6380470"/>
              <a:gd name="connsiteX4397" fmla="*/ 1309415 w 11625583"/>
              <a:gd name="connsiteY4397" fmla="*/ 1287791 h 6380470"/>
              <a:gd name="connsiteX4398" fmla="*/ 1374081 w 11625583"/>
              <a:gd name="connsiteY4398" fmla="*/ 1352456 h 6380470"/>
              <a:gd name="connsiteX4399" fmla="*/ 1309415 w 11625583"/>
              <a:gd name="connsiteY4399" fmla="*/ 1417123 h 6380470"/>
              <a:gd name="connsiteX4400" fmla="*/ 1244749 w 11625583"/>
              <a:gd name="connsiteY4400" fmla="*/ 1352456 h 6380470"/>
              <a:gd name="connsiteX4401" fmla="*/ 1309415 w 11625583"/>
              <a:gd name="connsiteY4401" fmla="*/ 1287791 h 6380470"/>
              <a:gd name="connsiteX4402" fmla="*/ 1148931 w 11625583"/>
              <a:gd name="connsiteY4402" fmla="*/ 1287791 h 6380470"/>
              <a:gd name="connsiteX4403" fmla="*/ 1213596 w 11625583"/>
              <a:gd name="connsiteY4403" fmla="*/ 1352456 h 6380470"/>
              <a:gd name="connsiteX4404" fmla="*/ 1148931 w 11625583"/>
              <a:gd name="connsiteY4404" fmla="*/ 1417123 h 6380470"/>
              <a:gd name="connsiteX4405" fmla="*/ 1084266 w 11625583"/>
              <a:gd name="connsiteY4405" fmla="*/ 1352456 h 6380470"/>
              <a:gd name="connsiteX4406" fmla="*/ 1148931 w 11625583"/>
              <a:gd name="connsiteY4406" fmla="*/ 1287791 h 6380470"/>
              <a:gd name="connsiteX4407" fmla="*/ 992358 w 11625583"/>
              <a:gd name="connsiteY4407" fmla="*/ 1287791 h 6380470"/>
              <a:gd name="connsiteX4408" fmla="*/ 1057023 w 11625583"/>
              <a:gd name="connsiteY4408" fmla="*/ 1352456 h 6380470"/>
              <a:gd name="connsiteX4409" fmla="*/ 992358 w 11625583"/>
              <a:gd name="connsiteY4409" fmla="*/ 1417123 h 6380470"/>
              <a:gd name="connsiteX4410" fmla="*/ 927693 w 11625583"/>
              <a:gd name="connsiteY4410" fmla="*/ 1352456 h 6380470"/>
              <a:gd name="connsiteX4411" fmla="*/ 992358 w 11625583"/>
              <a:gd name="connsiteY4411" fmla="*/ 1287791 h 6380470"/>
              <a:gd name="connsiteX4412" fmla="*/ 839701 w 11625583"/>
              <a:gd name="connsiteY4412" fmla="*/ 1287791 h 6380470"/>
              <a:gd name="connsiteX4413" fmla="*/ 904366 w 11625583"/>
              <a:gd name="connsiteY4413" fmla="*/ 1352456 h 6380470"/>
              <a:gd name="connsiteX4414" fmla="*/ 839701 w 11625583"/>
              <a:gd name="connsiteY4414" fmla="*/ 1417123 h 6380470"/>
              <a:gd name="connsiteX4415" fmla="*/ 775036 w 11625583"/>
              <a:gd name="connsiteY4415" fmla="*/ 1352456 h 6380470"/>
              <a:gd name="connsiteX4416" fmla="*/ 839701 w 11625583"/>
              <a:gd name="connsiteY4416" fmla="*/ 1287791 h 6380470"/>
              <a:gd name="connsiteX4417" fmla="*/ 683129 w 11625583"/>
              <a:gd name="connsiteY4417" fmla="*/ 1287791 h 6380470"/>
              <a:gd name="connsiteX4418" fmla="*/ 747795 w 11625583"/>
              <a:gd name="connsiteY4418" fmla="*/ 1352456 h 6380470"/>
              <a:gd name="connsiteX4419" fmla="*/ 683129 w 11625583"/>
              <a:gd name="connsiteY4419" fmla="*/ 1417123 h 6380470"/>
              <a:gd name="connsiteX4420" fmla="*/ 618464 w 11625583"/>
              <a:gd name="connsiteY4420" fmla="*/ 1352456 h 6380470"/>
              <a:gd name="connsiteX4421" fmla="*/ 683129 w 11625583"/>
              <a:gd name="connsiteY4421" fmla="*/ 1287791 h 6380470"/>
              <a:gd name="connsiteX4422" fmla="*/ 526550 w 11625583"/>
              <a:gd name="connsiteY4422" fmla="*/ 1287791 h 6380470"/>
              <a:gd name="connsiteX4423" fmla="*/ 591215 w 11625583"/>
              <a:gd name="connsiteY4423" fmla="*/ 1352456 h 6380470"/>
              <a:gd name="connsiteX4424" fmla="*/ 526550 w 11625583"/>
              <a:gd name="connsiteY4424" fmla="*/ 1417123 h 6380470"/>
              <a:gd name="connsiteX4425" fmla="*/ 461884 w 11625583"/>
              <a:gd name="connsiteY4425" fmla="*/ 1352456 h 6380470"/>
              <a:gd name="connsiteX4426" fmla="*/ 526550 w 11625583"/>
              <a:gd name="connsiteY4426" fmla="*/ 1287791 h 6380470"/>
              <a:gd name="connsiteX4427" fmla="*/ 373894 w 11625583"/>
              <a:gd name="connsiteY4427" fmla="*/ 1287791 h 6380470"/>
              <a:gd name="connsiteX4428" fmla="*/ 438559 w 11625583"/>
              <a:gd name="connsiteY4428" fmla="*/ 1352456 h 6380470"/>
              <a:gd name="connsiteX4429" fmla="*/ 373894 w 11625583"/>
              <a:gd name="connsiteY4429" fmla="*/ 1417123 h 6380470"/>
              <a:gd name="connsiteX4430" fmla="*/ 309228 w 11625583"/>
              <a:gd name="connsiteY4430" fmla="*/ 1352456 h 6380470"/>
              <a:gd name="connsiteX4431" fmla="*/ 373894 w 11625583"/>
              <a:gd name="connsiteY4431" fmla="*/ 1287791 h 6380470"/>
              <a:gd name="connsiteX4432" fmla="*/ 217323 w 11625583"/>
              <a:gd name="connsiteY4432" fmla="*/ 1287791 h 6380470"/>
              <a:gd name="connsiteX4433" fmla="*/ 281988 w 11625583"/>
              <a:gd name="connsiteY4433" fmla="*/ 1352456 h 6380470"/>
              <a:gd name="connsiteX4434" fmla="*/ 217323 w 11625583"/>
              <a:gd name="connsiteY4434" fmla="*/ 1417123 h 6380470"/>
              <a:gd name="connsiteX4435" fmla="*/ 152658 w 11625583"/>
              <a:gd name="connsiteY4435" fmla="*/ 1352456 h 6380470"/>
              <a:gd name="connsiteX4436" fmla="*/ 217323 w 11625583"/>
              <a:gd name="connsiteY4436" fmla="*/ 1287791 h 6380470"/>
              <a:gd name="connsiteX4437" fmla="*/ 64665 w 11625583"/>
              <a:gd name="connsiteY4437" fmla="*/ 1287791 h 6380470"/>
              <a:gd name="connsiteX4438" fmla="*/ 129330 w 11625583"/>
              <a:gd name="connsiteY4438" fmla="*/ 1352456 h 6380470"/>
              <a:gd name="connsiteX4439" fmla="*/ 64665 w 11625583"/>
              <a:gd name="connsiteY4439" fmla="*/ 1417123 h 6380470"/>
              <a:gd name="connsiteX4440" fmla="*/ 0 w 11625583"/>
              <a:gd name="connsiteY4440" fmla="*/ 1352456 h 6380470"/>
              <a:gd name="connsiteX4441" fmla="*/ 64665 w 11625583"/>
              <a:gd name="connsiteY4441" fmla="*/ 1287791 h 6380470"/>
              <a:gd name="connsiteX4442" fmla="*/ 11251683 w 11625583"/>
              <a:gd name="connsiteY4442" fmla="*/ 1142959 h 6380470"/>
              <a:gd name="connsiteX4443" fmla="*/ 11316349 w 11625583"/>
              <a:gd name="connsiteY4443" fmla="*/ 1207625 h 6380470"/>
              <a:gd name="connsiteX4444" fmla="*/ 11251683 w 11625583"/>
              <a:gd name="connsiteY4444" fmla="*/ 1272290 h 6380470"/>
              <a:gd name="connsiteX4445" fmla="*/ 11187017 w 11625583"/>
              <a:gd name="connsiteY4445" fmla="*/ 1207625 h 6380470"/>
              <a:gd name="connsiteX4446" fmla="*/ 11251683 w 11625583"/>
              <a:gd name="connsiteY4446" fmla="*/ 1142959 h 6380470"/>
              <a:gd name="connsiteX4447" fmla="*/ 11095110 w 11625583"/>
              <a:gd name="connsiteY4447" fmla="*/ 1142959 h 6380470"/>
              <a:gd name="connsiteX4448" fmla="*/ 11159776 w 11625583"/>
              <a:gd name="connsiteY4448" fmla="*/ 1207625 h 6380470"/>
              <a:gd name="connsiteX4449" fmla="*/ 11095110 w 11625583"/>
              <a:gd name="connsiteY4449" fmla="*/ 1272290 h 6380470"/>
              <a:gd name="connsiteX4450" fmla="*/ 11030444 w 11625583"/>
              <a:gd name="connsiteY4450" fmla="*/ 1207625 h 6380470"/>
              <a:gd name="connsiteX4451" fmla="*/ 11095110 w 11625583"/>
              <a:gd name="connsiteY4451" fmla="*/ 1142959 h 6380470"/>
              <a:gd name="connsiteX4452" fmla="*/ 10938537 w 11625583"/>
              <a:gd name="connsiteY4452" fmla="*/ 1142959 h 6380470"/>
              <a:gd name="connsiteX4453" fmla="*/ 11003203 w 11625583"/>
              <a:gd name="connsiteY4453" fmla="*/ 1207623 h 6380470"/>
              <a:gd name="connsiteX4454" fmla="*/ 10938537 w 11625583"/>
              <a:gd name="connsiteY4454" fmla="*/ 1272290 h 6380470"/>
              <a:gd name="connsiteX4455" fmla="*/ 10873871 w 11625583"/>
              <a:gd name="connsiteY4455" fmla="*/ 1207623 h 6380470"/>
              <a:gd name="connsiteX4456" fmla="*/ 10938537 w 11625583"/>
              <a:gd name="connsiteY4456" fmla="*/ 1142959 h 6380470"/>
              <a:gd name="connsiteX4457" fmla="*/ 10778049 w 11625583"/>
              <a:gd name="connsiteY4457" fmla="*/ 1142959 h 6380470"/>
              <a:gd name="connsiteX4458" fmla="*/ 10842715 w 11625583"/>
              <a:gd name="connsiteY4458" fmla="*/ 1207623 h 6380470"/>
              <a:gd name="connsiteX4459" fmla="*/ 10778049 w 11625583"/>
              <a:gd name="connsiteY4459" fmla="*/ 1272290 h 6380470"/>
              <a:gd name="connsiteX4460" fmla="*/ 10713383 w 11625583"/>
              <a:gd name="connsiteY4460" fmla="*/ 1207623 h 6380470"/>
              <a:gd name="connsiteX4461" fmla="*/ 10778049 w 11625583"/>
              <a:gd name="connsiteY4461" fmla="*/ 1142959 h 6380470"/>
              <a:gd name="connsiteX4462" fmla="*/ 10625391 w 11625583"/>
              <a:gd name="connsiteY4462" fmla="*/ 1142959 h 6380470"/>
              <a:gd name="connsiteX4463" fmla="*/ 10690057 w 11625583"/>
              <a:gd name="connsiteY4463" fmla="*/ 1207623 h 6380470"/>
              <a:gd name="connsiteX4464" fmla="*/ 10625391 w 11625583"/>
              <a:gd name="connsiteY4464" fmla="*/ 1272290 h 6380470"/>
              <a:gd name="connsiteX4465" fmla="*/ 10560725 w 11625583"/>
              <a:gd name="connsiteY4465" fmla="*/ 1207623 h 6380470"/>
              <a:gd name="connsiteX4466" fmla="*/ 10625391 w 11625583"/>
              <a:gd name="connsiteY4466" fmla="*/ 1142959 h 6380470"/>
              <a:gd name="connsiteX4467" fmla="*/ 10468818 w 11625583"/>
              <a:gd name="connsiteY4467" fmla="*/ 1142959 h 6380470"/>
              <a:gd name="connsiteX4468" fmla="*/ 10533484 w 11625583"/>
              <a:gd name="connsiteY4468" fmla="*/ 1207625 h 6380470"/>
              <a:gd name="connsiteX4469" fmla="*/ 10468818 w 11625583"/>
              <a:gd name="connsiteY4469" fmla="*/ 1272290 h 6380470"/>
              <a:gd name="connsiteX4470" fmla="*/ 10404152 w 11625583"/>
              <a:gd name="connsiteY4470" fmla="*/ 1207625 h 6380470"/>
              <a:gd name="connsiteX4471" fmla="*/ 10468818 w 11625583"/>
              <a:gd name="connsiteY4471" fmla="*/ 1142959 h 6380470"/>
              <a:gd name="connsiteX4472" fmla="*/ 10312244 w 11625583"/>
              <a:gd name="connsiteY4472" fmla="*/ 1142959 h 6380470"/>
              <a:gd name="connsiteX4473" fmla="*/ 10376910 w 11625583"/>
              <a:gd name="connsiteY4473" fmla="*/ 1207623 h 6380470"/>
              <a:gd name="connsiteX4474" fmla="*/ 10312244 w 11625583"/>
              <a:gd name="connsiteY4474" fmla="*/ 1272290 h 6380470"/>
              <a:gd name="connsiteX4475" fmla="*/ 10247578 w 11625583"/>
              <a:gd name="connsiteY4475" fmla="*/ 1207623 h 6380470"/>
              <a:gd name="connsiteX4476" fmla="*/ 10312244 w 11625583"/>
              <a:gd name="connsiteY4476" fmla="*/ 1142959 h 6380470"/>
              <a:gd name="connsiteX4477" fmla="*/ 10159585 w 11625583"/>
              <a:gd name="connsiteY4477" fmla="*/ 1142959 h 6380470"/>
              <a:gd name="connsiteX4478" fmla="*/ 10224251 w 11625583"/>
              <a:gd name="connsiteY4478" fmla="*/ 1207623 h 6380470"/>
              <a:gd name="connsiteX4479" fmla="*/ 10159585 w 11625583"/>
              <a:gd name="connsiteY4479" fmla="*/ 1272290 h 6380470"/>
              <a:gd name="connsiteX4480" fmla="*/ 10094919 w 11625583"/>
              <a:gd name="connsiteY4480" fmla="*/ 1207623 h 6380470"/>
              <a:gd name="connsiteX4481" fmla="*/ 10159585 w 11625583"/>
              <a:gd name="connsiteY4481" fmla="*/ 1142959 h 6380470"/>
              <a:gd name="connsiteX4482" fmla="*/ 10003013 w 11625583"/>
              <a:gd name="connsiteY4482" fmla="*/ 1142959 h 6380470"/>
              <a:gd name="connsiteX4483" fmla="*/ 10067679 w 11625583"/>
              <a:gd name="connsiteY4483" fmla="*/ 1207623 h 6380470"/>
              <a:gd name="connsiteX4484" fmla="*/ 10003013 w 11625583"/>
              <a:gd name="connsiteY4484" fmla="*/ 1272290 h 6380470"/>
              <a:gd name="connsiteX4485" fmla="*/ 9938347 w 11625583"/>
              <a:gd name="connsiteY4485" fmla="*/ 1207623 h 6380470"/>
              <a:gd name="connsiteX4486" fmla="*/ 10003013 w 11625583"/>
              <a:gd name="connsiteY4486" fmla="*/ 1142959 h 6380470"/>
              <a:gd name="connsiteX4487" fmla="*/ 9850355 w 11625583"/>
              <a:gd name="connsiteY4487" fmla="*/ 1142959 h 6380470"/>
              <a:gd name="connsiteX4488" fmla="*/ 9915021 w 11625583"/>
              <a:gd name="connsiteY4488" fmla="*/ 1207625 h 6380470"/>
              <a:gd name="connsiteX4489" fmla="*/ 9850355 w 11625583"/>
              <a:gd name="connsiteY4489" fmla="*/ 1272290 h 6380470"/>
              <a:gd name="connsiteX4490" fmla="*/ 9785689 w 11625583"/>
              <a:gd name="connsiteY4490" fmla="*/ 1207625 h 6380470"/>
              <a:gd name="connsiteX4491" fmla="*/ 9850355 w 11625583"/>
              <a:gd name="connsiteY4491" fmla="*/ 1142959 h 6380470"/>
              <a:gd name="connsiteX4492" fmla="*/ 9693780 w 11625583"/>
              <a:gd name="connsiteY4492" fmla="*/ 1142959 h 6380470"/>
              <a:gd name="connsiteX4493" fmla="*/ 9758446 w 11625583"/>
              <a:gd name="connsiteY4493" fmla="*/ 1207623 h 6380470"/>
              <a:gd name="connsiteX4494" fmla="*/ 9693780 w 11625583"/>
              <a:gd name="connsiteY4494" fmla="*/ 1272290 h 6380470"/>
              <a:gd name="connsiteX4495" fmla="*/ 9629114 w 11625583"/>
              <a:gd name="connsiteY4495" fmla="*/ 1207623 h 6380470"/>
              <a:gd name="connsiteX4496" fmla="*/ 9693780 w 11625583"/>
              <a:gd name="connsiteY4496" fmla="*/ 1142959 h 6380470"/>
              <a:gd name="connsiteX4497" fmla="*/ 9541120 w 11625583"/>
              <a:gd name="connsiteY4497" fmla="*/ 1142959 h 6380470"/>
              <a:gd name="connsiteX4498" fmla="*/ 9605786 w 11625583"/>
              <a:gd name="connsiteY4498" fmla="*/ 1207623 h 6380470"/>
              <a:gd name="connsiteX4499" fmla="*/ 9541120 w 11625583"/>
              <a:gd name="connsiteY4499" fmla="*/ 1272290 h 6380470"/>
              <a:gd name="connsiteX4500" fmla="*/ 9476454 w 11625583"/>
              <a:gd name="connsiteY4500" fmla="*/ 1207623 h 6380470"/>
              <a:gd name="connsiteX4501" fmla="*/ 9541120 w 11625583"/>
              <a:gd name="connsiteY4501" fmla="*/ 1142959 h 6380470"/>
              <a:gd name="connsiteX4502" fmla="*/ 9384547 w 11625583"/>
              <a:gd name="connsiteY4502" fmla="*/ 1142959 h 6380470"/>
              <a:gd name="connsiteX4503" fmla="*/ 9449213 w 11625583"/>
              <a:gd name="connsiteY4503" fmla="*/ 1207623 h 6380470"/>
              <a:gd name="connsiteX4504" fmla="*/ 9384547 w 11625583"/>
              <a:gd name="connsiteY4504" fmla="*/ 1272290 h 6380470"/>
              <a:gd name="connsiteX4505" fmla="*/ 9319881 w 11625583"/>
              <a:gd name="connsiteY4505" fmla="*/ 1207623 h 6380470"/>
              <a:gd name="connsiteX4506" fmla="*/ 9384547 w 11625583"/>
              <a:gd name="connsiteY4506" fmla="*/ 1142959 h 6380470"/>
              <a:gd name="connsiteX4507" fmla="*/ 9227974 w 11625583"/>
              <a:gd name="connsiteY4507" fmla="*/ 1142959 h 6380470"/>
              <a:gd name="connsiteX4508" fmla="*/ 9292640 w 11625583"/>
              <a:gd name="connsiteY4508" fmla="*/ 1207625 h 6380470"/>
              <a:gd name="connsiteX4509" fmla="*/ 9227974 w 11625583"/>
              <a:gd name="connsiteY4509" fmla="*/ 1272290 h 6380470"/>
              <a:gd name="connsiteX4510" fmla="*/ 9163308 w 11625583"/>
              <a:gd name="connsiteY4510" fmla="*/ 1207625 h 6380470"/>
              <a:gd name="connsiteX4511" fmla="*/ 9227974 w 11625583"/>
              <a:gd name="connsiteY4511" fmla="*/ 1142959 h 6380470"/>
              <a:gd name="connsiteX4512" fmla="*/ 9075316 w 11625583"/>
              <a:gd name="connsiteY4512" fmla="*/ 1142959 h 6380470"/>
              <a:gd name="connsiteX4513" fmla="*/ 9139982 w 11625583"/>
              <a:gd name="connsiteY4513" fmla="*/ 1207625 h 6380470"/>
              <a:gd name="connsiteX4514" fmla="*/ 9075316 w 11625583"/>
              <a:gd name="connsiteY4514" fmla="*/ 1272290 h 6380470"/>
              <a:gd name="connsiteX4515" fmla="*/ 9010650 w 11625583"/>
              <a:gd name="connsiteY4515" fmla="*/ 1207625 h 6380470"/>
              <a:gd name="connsiteX4516" fmla="*/ 9075316 w 11625583"/>
              <a:gd name="connsiteY4516" fmla="*/ 1142959 h 6380470"/>
              <a:gd name="connsiteX4517" fmla="*/ 8914828 w 11625583"/>
              <a:gd name="connsiteY4517" fmla="*/ 1142959 h 6380470"/>
              <a:gd name="connsiteX4518" fmla="*/ 8979494 w 11625583"/>
              <a:gd name="connsiteY4518" fmla="*/ 1207623 h 6380470"/>
              <a:gd name="connsiteX4519" fmla="*/ 8914828 w 11625583"/>
              <a:gd name="connsiteY4519" fmla="*/ 1272290 h 6380470"/>
              <a:gd name="connsiteX4520" fmla="*/ 8850162 w 11625583"/>
              <a:gd name="connsiteY4520" fmla="*/ 1207623 h 6380470"/>
              <a:gd name="connsiteX4521" fmla="*/ 8914828 w 11625583"/>
              <a:gd name="connsiteY4521" fmla="*/ 1142959 h 6380470"/>
              <a:gd name="connsiteX4522" fmla="*/ 8766083 w 11625583"/>
              <a:gd name="connsiteY4522" fmla="*/ 1142959 h 6380470"/>
              <a:gd name="connsiteX4523" fmla="*/ 8830749 w 11625583"/>
              <a:gd name="connsiteY4523" fmla="*/ 1207625 h 6380470"/>
              <a:gd name="connsiteX4524" fmla="*/ 8766083 w 11625583"/>
              <a:gd name="connsiteY4524" fmla="*/ 1272290 h 6380470"/>
              <a:gd name="connsiteX4525" fmla="*/ 8701417 w 11625583"/>
              <a:gd name="connsiteY4525" fmla="*/ 1207625 h 6380470"/>
              <a:gd name="connsiteX4526" fmla="*/ 8766083 w 11625583"/>
              <a:gd name="connsiteY4526" fmla="*/ 1142959 h 6380470"/>
              <a:gd name="connsiteX4527" fmla="*/ 8601682 w 11625583"/>
              <a:gd name="connsiteY4527" fmla="*/ 1142959 h 6380470"/>
              <a:gd name="connsiteX4528" fmla="*/ 8666348 w 11625583"/>
              <a:gd name="connsiteY4528" fmla="*/ 1207625 h 6380470"/>
              <a:gd name="connsiteX4529" fmla="*/ 8601682 w 11625583"/>
              <a:gd name="connsiteY4529" fmla="*/ 1272290 h 6380470"/>
              <a:gd name="connsiteX4530" fmla="*/ 8537016 w 11625583"/>
              <a:gd name="connsiteY4530" fmla="*/ 1207625 h 6380470"/>
              <a:gd name="connsiteX4531" fmla="*/ 8601682 w 11625583"/>
              <a:gd name="connsiteY4531" fmla="*/ 1142959 h 6380470"/>
              <a:gd name="connsiteX4532" fmla="*/ 8449022 w 11625583"/>
              <a:gd name="connsiteY4532" fmla="*/ 1142959 h 6380470"/>
              <a:gd name="connsiteX4533" fmla="*/ 8513688 w 11625583"/>
              <a:gd name="connsiteY4533" fmla="*/ 1207625 h 6380470"/>
              <a:gd name="connsiteX4534" fmla="*/ 8449022 w 11625583"/>
              <a:gd name="connsiteY4534" fmla="*/ 1272290 h 6380470"/>
              <a:gd name="connsiteX4535" fmla="*/ 8384356 w 11625583"/>
              <a:gd name="connsiteY4535" fmla="*/ 1207625 h 6380470"/>
              <a:gd name="connsiteX4536" fmla="*/ 8449022 w 11625583"/>
              <a:gd name="connsiteY4536" fmla="*/ 1142959 h 6380470"/>
              <a:gd name="connsiteX4537" fmla="*/ 8296365 w 11625583"/>
              <a:gd name="connsiteY4537" fmla="*/ 1142959 h 6380470"/>
              <a:gd name="connsiteX4538" fmla="*/ 8361031 w 11625583"/>
              <a:gd name="connsiteY4538" fmla="*/ 1207623 h 6380470"/>
              <a:gd name="connsiteX4539" fmla="*/ 8296365 w 11625583"/>
              <a:gd name="connsiteY4539" fmla="*/ 1272290 h 6380470"/>
              <a:gd name="connsiteX4540" fmla="*/ 8231699 w 11625583"/>
              <a:gd name="connsiteY4540" fmla="*/ 1207623 h 6380470"/>
              <a:gd name="connsiteX4541" fmla="*/ 8296365 w 11625583"/>
              <a:gd name="connsiteY4541" fmla="*/ 1142959 h 6380470"/>
              <a:gd name="connsiteX4542" fmla="*/ 8139790 w 11625583"/>
              <a:gd name="connsiteY4542" fmla="*/ 1142959 h 6380470"/>
              <a:gd name="connsiteX4543" fmla="*/ 8204456 w 11625583"/>
              <a:gd name="connsiteY4543" fmla="*/ 1207625 h 6380470"/>
              <a:gd name="connsiteX4544" fmla="*/ 8139790 w 11625583"/>
              <a:gd name="connsiteY4544" fmla="*/ 1272290 h 6380470"/>
              <a:gd name="connsiteX4545" fmla="*/ 8075124 w 11625583"/>
              <a:gd name="connsiteY4545" fmla="*/ 1207625 h 6380470"/>
              <a:gd name="connsiteX4546" fmla="*/ 8139790 w 11625583"/>
              <a:gd name="connsiteY4546" fmla="*/ 1142959 h 6380470"/>
              <a:gd name="connsiteX4547" fmla="*/ 7987132 w 11625583"/>
              <a:gd name="connsiteY4547" fmla="*/ 1142959 h 6380470"/>
              <a:gd name="connsiteX4548" fmla="*/ 8051798 w 11625583"/>
              <a:gd name="connsiteY4548" fmla="*/ 1207625 h 6380470"/>
              <a:gd name="connsiteX4549" fmla="*/ 7987132 w 11625583"/>
              <a:gd name="connsiteY4549" fmla="*/ 1272290 h 6380470"/>
              <a:gd name="connsiteX4550" fmla="*/ 7922466 w 11625583"/>
              <a:gd name="connsiteY4550" fmla="*/ 1207625 h 6380470"/>
              <a:gd name="connsiteX4551" fmla="*/ 7987132 w 11625583"/>
              <a:gd name="connsiteY4551" fmla="*/ 1142959 h 6380470"/>
              <a:gd name="connsiteX4552" fmla="*/ 7830560 w 11625583"/>
              <a:gd name="connsiteY4552" fmla="*/ 1142959 h 6380470"/>
              <a:gd name="connsiteX4553" fmla="*/ 7895226 w 11625583"/>
              <a:gd name="connsiteY4553" fmla="*/ 1207625 h 6380470"/>
              <a:gd name="connsiteX4554" fmla="*/ 7830560 w 11625583"/>
              <a:gd name="connsiteY4554" fmla="*/ 1272290 h 6380470"/>
              <a:gd name="connsiteX4555" fmla="*/ 7765894 w 11625583"/>
              <a:gd name="connsiteY4555" fmla="*/ 1207625 h 6380470"/>
              <a:gd name="connsiteX4556" fmla="*/ 7830560 w 11625583"/>
              <a:gd name="connsiteY4556" fmla="*/ 1142959 h 6380470"/>
              <a:gd name="connsiteX4557" fmla="*/ 7677900 w 11625583"/>
              <a:gd name="connsiteY4557" fmla="*/ 1142959 h 6380470"/>
              <a:gd name="connsiteX4558" fmla="*/ 7742566 w 11625583"/>
              <a:gd name="connsiteY4558" fmla="*/ 1207623 h 6380470"/>
              <a:gd name="connsiteX4559" fmla="*/ 7677900 w 11625583"/>
              <a:gd name="connsiteY4559" fmla="*/ 1272290 h 6380470"/>
              <a:gd name="connsiteX4560" fmla="*/ 7613234 w 11625583"/>
              <a:gd name="connsiteY4560" fmla="*/ 1207623 h 6380470"/>
              <a:gd name="connsiteX4561" fmla="*/ 7677900 w 11625583"/>
              <a:gd name="connsiteY4561" fmla="*/ 1142959 h 6380470"/>
              <a:gd name="connsiteX4562" fmla="*/ 7521327 w 11625583"/>
              <a:gd name="connsiteY4562" fmla="*/ 1142959 h 6380470"/>
              <a:gd name="connsiteX4563" fmla="*/ 7585993 w 11625583"/>
              <a:gd name="connsiteY4563" fmla="*/ 1207623 h 6380470"/>
              <a:gd name="connsiteX4564" fmla="*/ 7521327 w 11625583"/>
              <a:gd name="connsiteY4564" fmla="*/ 1272290 h 6380470"/>
              <a:gd name="connsiteX4565" fmla="*/ 7456661 w 11625583"/>
              <a:gd name="connsiteY4565" fmla="*/ 1207623 h 6380470"/>
              <a:gd name="connsiteX4566" fmla="*/ 7521327 w 11625583"/>
              <a:gd name="connsiteY4566" fmla="*/ 1142959 h 6380470"/>
              <a:gd name="connsiteX4567" fmla="*/ 7368667 w 11625583"/>
              <a:gd name="connsiteY4567" fmla="*/ 1142959 h 6380470"/>
              <a:gd name="connsiteX4568" fmla="*/ 7433333 w 11625583"/>
              <a:gd name="connsiteY4568" fmla="*/ 1207625 h 6380470"/>
              <a:gd name="connsiteX4569" fmla="*/ 7368667 w 11625583"/>
              <a:gd name="connsiteY4569" fmla="*/ 1272290 h 6380470"/>
              <a:gd name="connsiteX4570" fmla="*/ 7304001 w 11625583"/>
              <a:gd name="connsiteY4570" fmla="*/ 1207625 h 6380470"/>
              <a:gd name="connsiteX4571" fmla="*/ 7368667 w 11625583"/>
              <a:gd name="connsiteY4571" fmla="*/ 1142959 h 6380470"/>
              <a:gd name="connsiteX4572" fmla="*/ 7212094 w 11625583"/>
              <a:gd name="connsiteY4572" fmla="*/ 1142959 h 6380470"/>
              <a:gd name="connsiteX4573" fmla="*/ 7276760 w 11625583"/>
              <a:gd name="connsiteY4573" fmla="*/ 1207623 h 6380470"/>
              <a:gd name="connsiteX4574" fmla="*/ 7212094 w 11625583"/>
              <a:gd name="connsiteY4574" fmla="*/ 1272290 h 6380470"/>
              <a:gd name="connsiteX4575" fmla="*/ 7147428 w 11625583"/>
              <a:gd name="connsiteY4575" fmla="*/ 1207623 h 6380470"/>
              <a:gd name="connsiteX4576" fmla="*/ 7212094 w 11625583"/>
              <a:gd name="connsiteY4576" fmla="*/ 1142959 h 6380470"/>
              <a:gd name="connsiteX4577" fmla="*/ 7055520 w 11625583"/>
              <a:gd name="connsiteY4577" fmla="*/ 1142959 h 6380470"/>
              <a:gd name="connsiteX4578" fmla="*/ 7120186 w 11625583"/>
              <a:gd name="connsiteY4578" fmla="*/ 1207623 h 6380470"/>
              <a:gd name="connsiteX4579" fmla="*/ 7055520 w 11625583"/>
              <a:gd name="connsiteY4579" fmla="*/ 1272290 h 6380470"/>
              <a:gd name="connsiteX4580" fmla="*/ 6990854 w 11625583"/>
              <a:gd name="connsiteY4580" fmla="*/ 1207623 h 6380470"/>
              <a:gd name="connsiteX4581" fmla="*/ 7055520 w 11625583"/>
              <a:gd name="connsiteY4581" fmla="*/ 1142959 h 6380470"/>
              <a:gd name="connsiteX4582" fmla="*/ 6895035 w 11625583"/>
              <a:gd name="connsiteY4582" fmla="*/ 1142959 h 6380470"/>
              <a:gd name="connsiteX4583" fmla="*/ 6959701 w 11625583"/>
              <a:gd name="connsiteY4583" fmla="*/ 1207623 h 6380470"/>
              <a:gd name="connsiteX4584" fmla="*/ 6895035 w 11625583"/>
              <a:gd name="connsiteY4584" fmla="*/ 1272290 h 6380470"/>
              <a:gd name="connsiteX4585" fmla="*/ 6830369 w 11625583"/>
              <a:gd name="connsiteY4585" fmla="*/ 1207623 h 6380470"/>
              <a:gd name="connsiteX4586" fmla="*/ 6895035 w 11625583"/>
              <a:gd name="connsiteY4586" fmla="*/ 1142959 h 6380470"/>
              <a:gd name="connsiteX4587" fmla="*/ 6742374 w 11625583"/>
              <a:gd name="connsiteY4587" fmla="*/ 1142959 h 6380470"/>
              <a:gd name="connsiteX4588" fmla="*/ 6807040 w 11625583"/>
              <a:gd name="connsiteY4588" fmla="*/ 1207625 h 6380470"/>
              <a:gd name="connsiteX4589" fmla="*/ 6742374 w 11625583"/>
              <a:gd name="connsiteY4589" fmla="*/ 1272290 h 6380470"/>
              <a:gd name="connsiteX4590" fmla="*/ 6677708 w 11625583"/>
              <a:gd name="connsiteY4590" fmla="*/ 1207625 h 6380470"/>
              <a:gd name="connsiteX4591" fmla="*/ 6742374 w 11625583"/>
              <a:gd name="connsiteY4591" fmla="*/ 1142959 h 6380470"/>
              <a:gd name="connsiteX4592" fmla="*/ 6585801 w 11625583"/>
              <a:gd name="connsiteY4592" fmla="*/ 1142959 h 6380470"/>
              <a:gd name="connsiteX4593" fmla="*/ 6650467 w 11625583"/>
              <a:gd name="connsiteY4593" fmla="*/ 1207623 h 6380470"/>
              <a:gd name="connsiteX4594" fmla="*/ 6585801 w 11625583"/>
              <a:gd name="connsiteY4594" fmla="*/ 1272290 h 6380470"/>
              <a:gd name="connsiteX4595" fmla="*/ 6521135 w 11625583"/>
              <a:gd name="connsiteY4595" fmla="*/ 1207623 h 6380470"/>
              <a:gd name="connsiteX4596" fmla="*/ 6585801 w 11625583"/>
              <a:gd name="connsiteY4596" fmla="*/ 1142959 h 6380470"/>
              <a:gd name="connsiteX4597" fmla="*/ 6429228 w 11625583"/>
              <a:gd name="connsiteY4597" fmla="*/ 1142959 h 6380470"/>
              <a:gd name="connsiteX4598" fmla="*/ 6493894 w 11625583"/>
              <a:gd name="connsiteY4598" fmla="*/ 1207625 h 6380470"/>
              <a:gd name="connsiteX4599" fmla="*/ 6429228 w 11625583"/>
              <a:gd name="connsiteY4599" fmla="*/ 1272290 h 6380470"/>
              <a:gd name="connsiteX4600" fmla="*/ 6364562 w 11625583"/>
              <a:gd name="connsiteY4600" fmla="*/ 1207625 h 6380470"/>
              <a:gd name="connsiteX4601" fmla="*/ 6429228 w 11625583"/>
              <a:gd name="connsiteY4601" fmla="*/ 1142959 h 6380470"/>
              <a:gd name="connsiteX4602" fmla="*/ 6276569 w 11625583"/>
              <a:gd name="connsiteY4602" fmla="*/ 1142959 h 6380470"/>
              <a:gd name="connsiteX4603" fmla="*/ 6341235 w 11625583"/>
              <a:gd name="connsiteY4603" fmla="*/ 1207625 h 6380470"/>
              <a:gd name="connsiteX4604" fmla="*/ 6276569 w 11625583"/>
              <a:gd name="connsiteY4604" fmla="*/ 1272290 h 6380470"/>
              <a:gd name="connsiteX4605" fmla="*/ 6211903 w 11625583"/>
              <a:gd name="connsiteY4605" fmla="*/ 1207625 h 6380470"/>
              <a:gd name="connsiteX4606" fmla="*/ 6276569 w 11625583"/>
              <a:gd name="connsiteY4606" fmla="*/ 1142959 h 6380470"/>
              <a:gd name="connsiteX4607" fmla="*/ 6119998 w 11625583"/>
              <a:gd name="connsiteY4607" fmla="*/ 1142959 h 6380470"/>
              <a:gd name="connsiteX4608" fmla="*/ 6184664 w 11625583"/>
              <a:gd name="connsiteY4608" fmla="*/ 1207623 h 6380470"/>
              <a:gd name="connsiteX4609" fmla="*/ 6119998 w 11625583"/>
              <a:gd name="connsiteY4609" fmla="*/ 1272290 h 6380470"/>
              <a:gd name="connsiteX4610" fmla="*/ 6055332 w 11625583"/>
              <a:gd name="connsiteY4610" fmla="*/ 1207623 h 6380470"/>
              <a:gd name="connsiteX4611" fmla="*/ 6119998 w 11625583"/>
              <a:gd name="connsiteY4611" fmla="*/ 1142959 h 6380470"/>
              <a:gd name="connsiteX4612" fmla="*/ 5967336 w 11625583"/>
              <a:gd name="connsiteY4612" fmla="*/ 1142959 h 6380470"/>
              <a:gd name="connsiteX4613" fmla="*/ 6032002 w 11625583"/>
              <a:gd name="connsiteY4613" fmla="*/ 1207625 h 6380470"/>
              <a:gd name="connsiteX4614" fmla="*/ 5967336 w 11625583"/>
              <a:gd name="connsiteY4614" fmla="*/ 1272290 h 6380470"/>
              <a:gd name="connsiteX4615" fmla="*/ 5902670 w 11625583"/>
              <a:gd name="connsiteY4615" fmla="*/ 1207625 h 6380470"/>
              <a:gd name="connsiteX4616" fmla="*/ 5967336 w 11625583"/>
              <a:gd name="connsiteY4616" fmla="*/ 1142959 h 6380470"/>
              <a:gd name="connsiteX4617" fmla="*/ 5810807 w 11625583"/>
              <a:gd name="connsiteY4617" fmla="*/ 1142959 h 6380470"/>
              <a:gd name="connsiteX4618" fmla="*/ 5875431 w 11625583"/>
              <a:gd name="connsiteY4618" fmla="*/ 1207625 h 6380470"/>
              <a:gd name="connsiteX4619" fmla="*/ 5810807 w 11625583"/>
              <a:gd name="connsiteY4619" fmla="*/ 1272290 h 6380470"/>
              <a:gd name="connsiteX4620" fmla="*/ 5746117 w 11625583"/>
              <a:gd name="connsiteY4620" fmla="*/ 1207625 h 6380470"/>
              <a:gd name="connsiteX4621" fmla="*/ 5810807 w 11625583"/>
              <a:gd name="connsiteY4621" fmla="*/ 1142959 h 6380470"/>
              <a:gd name="connsiteX4622" fmla="*/ 5031849 w 11625583"/>
              <a:gd name="connsiteY4622" fmla="*/ 1142959 h 6380470"/>
              <a:gd name="connsiteX4623" fmla="*/ 5096509 w 11625583"/>
              <a:gd name="connsiteY4623" fmla="*/ 1207623 h 6380470"/>
              <a:gd name="connsiteX4624" fmla="*/ 5031849 w 11625583"/>
              <a:gd name="connsiteY4624" fmla="*/ 1272290 h 6380470"/>
              <a:gd name="connsiteX4625" fmla="*/ 4967172 w 11625583"/>
              <a:gd name="connsiteY4625" fmla="*/ 1207623 h 6380470"/>
              <a:gd name="connsiteX4626" fmla="*/ 5031849 w 11625583"/>
              <a:gd name="connsiteY4626" fmla="*/ 1142959 h 6380470"/>
              <a:gd name="connsiteX4627" fmla="*/ 4875262 w 11625583"/>
              <a:gd name="connsiteY4627" fmla="*/ 1142959 h 6380470"/>
              <a:gd name="connsiteX4628" fmla="*/ 4939938 w 11625583"/>
              <a:gd name="connsiteY4628" fmla="*/ 1207625 h 6380470"/>
              <a:gd name="connsiteX4629" fmla="*/ 4875262 w 11625583"/>
              <a:gd name="connsiteY4629" fmla="*/ 1272290 h 6380470"/>
              <a:gd name="connsiteX4630" fmla="*/ 4810599 w 11625583"/>
              <a:gd name="connsiteY4630" fmla="*/ 1207625 h 6380470"/>
              <a:gd name="connsiteX4631" fmla="*/ 4875262 w 11625583"/>
              <a:gd name="connsiteY4631" fmla="*/ 1142959 h 6380470"/>
              <a:gd name="connsiteX4632" fmla="*/ 4722604 w 11625583"/>
              <a:gd name="connsiteY4632" fmla="*/ 1142959 h 6380470"/>
              <a:gd name="connsiteX4633" fmla="*/ 4787268 w 11625583"/>
              <a:gd name="connsiteY4633" fmla="*/ 1207625 h 6380470"/>
              <a:gd name="connsiteX4634" fmla="*/ 4722604 w 11625583"/>
              <a:gd name="connsiteY4634" fmla="*/ 1272290 h 6380470"/>
              <a:gd name="connsiteX4635" fmla="*/ 4657945 w 11625583"/>
              <a:gd name="connsiteY4635" fmla="*/ 1207625 h 6380470"/>
              <a:gd name="connsiteX4636" fmla="*/ 4722604 w 11625583"/>
              <a:gd name="connsiteY4636" fmla="*/ 1142959 h 6380470"/>
              <a:gd name="connsiteX4637" fmla="*/ 4100249 w 11625583"/>
              <a:gd name="connsiteY4637" fmla="*/ 1142959 h 6380470"/>
              <a:gd name="connsiteX4638" fmla="*/ 4164920 w 11625583"/>
              <a:gd name="connsiteY4638" fmla="*/ 1207623 h 6380470"/>
              <a:gd name="connsiteX4639" fmla="*/ 4100249 w 11625583"/>
              <a:gd name="connsiteY4639" fmla="*/ 1272290 h 6380470"/>
              <a:gd name="connsiteX4640" fmla="*/ 4035594 w 11625583"/>
              <a:gd name="connsiteY4640" fmla="*/ 1207623 h 6380470"/>
              <a:gd name="connsiteX4641" fmla="*/ 4100249 w 11625583"/>
              <a:gd name="connsiteY4641" fmla="*/ 1142959 h 6380470"/>
              <a:gd name="connsiteX4642" fmla="*/ 3947573 w 11625583"/>
              <a:gd name="connsiteY4642" fmla="*/ 1142959 h 6380470"/>
              <a:gd name="connsiteX4643" fmla="*/ 4012257 w 11625583"/>
              <a:gd name="connsiteY4643" fmla="*/ 1207625 h 6380470"/>
              <a:gd name="connsiteX4644" fmla="*/ 3947573 w 11625583"/>
              <a:gd name="connsiteY4644" fmla="*/ 1272290 h 6380470"/>
              <a:gd name="connsiteX4645" fmla="*/ 3883028 w 11625583"/>
              <a:gd name="connsiteY4645" fmla="*/ 1207625 h 6380470"/>
              <a:gd name="connsiteX4646" fmla="*/ 3947573 w 11625583"/>
              <a:gd name="connsiteY4646" fmla="*/ 1142959 h 6380470"/>
              <a:gd name="connsiteX4647" fmla="*/ 3321416 w 11625583"/>
              <a:gd name="connsiteY4647" fmla="*/ 1142959 h 6380470"/>
              <a:gd name="connsiteX4648" fmla="*/ 3386056 w 11625583"/>
              <a:gd name="connsiteY4648" fmla="*/ 1207623 h 6380470"/>
              <a:gd name="connsiteX4649" fmla="*/ 3321416 w 11625583"/>
              <a:gd name="connsiteY4649" fmla="*/ 1272290 h 6380470"/>
              <a:gd name="connsiteX4650" fmla="*/ 3256751 w 11625583"/>
              <a:gd name="connsiteY4650" fmla="*/ 1207623 h 6380470"/>
              <a:gd name="connsiteX4651" fmla="*/ 3321416 w 11625583"/>
              <a:gd name="connsiteY4651" fmla="*/ 1142959 h 6380470"/>
              <a:gd name="connsiteX4652" fmla="*/ 3172663 w 11625583"/>
              <a:gd name="connsiteY4652" fmla="*/ 1142959 h 6380470"/>
              <a:gd name="connsiteX4653" fmla="*/ 3237336 w 11625583"/>
              <a:gd name="connsiteY4653" fmla="*/ 1207625 h 6380470"/>
              <a:gd name="connsiteX4654" fmla="*/ 3172663 w 11625583"/>
              <a:gd name="connsiteY4654" fmla="*/ 1272290 h 6380470"/>
              <a:gd name="connsiteX4655" fmla="*/ 3107975 w 11625583"/>
              <a:gd name="connsiteY4655" fmla="*/ 1207625 h 6380470"/>
              <a:gd name="connsiteX4656" fmla="*/ 3172663 w 11625583"/>
              <a:gd name="connsiteY4656" fmla="*/ 1142959 h 6380470"/>
              <a:gd name="connsiteX4657" fmla="*/ 2699047 w 11625583"/>
              <a:gd name="connsiteY4657" fmla="*/ 1142959 h 6380470"/>
              <a:gd name="connsiteX4658" fmla="*/ 2763701 w 11625583"/>
              <a:gd name="connsiteY4658" fmla="*/ 1207623 h 6380470"/>
              <a:gd name="connsiteX4659" fmla="*/ 2699047 w 11625583"/>
              <a:gd name="connsiteY4659" fmla="*/ 1272290 h 6380470"/>
              <a:gd name="connsiteX4660" fmla="*/ 2634393 w 11625583"/>
              <a:gd name="connsiteY4660" fmla="*/ 1207623 h 6380470"/>
              <a:gd name="connsiteX4661" fmla="*/ 2699047 w 11625583"/>
              <a:gd name="connsiteY4661" fmla="*/ 1142959 h 6380470"/>
              <a:gd name="connsiteX4662" fmla="*/ 2546410 w 11625583"/>
              <a:gd name="connsiteY4662" fmla="*/ 1142959 h 6380470"/>
              <a:gd name="connsiteX4663" fmla="*/ 2611069 w 11625583"/>
              <a:gd name="connsiteY4663" fmla="*/ 1207625 h 6380470"/>
              <a:gd name="connsiteX4664" fmla="*/ 2546410 w 11625583"/>
              <a:gd name="connsiteY4664" fmla="*/ 1272290 h 6380470"/>
              <a:gd name="connsiteX4665" fmla="*/ 2481752 w 11625583"/>
              <a:gd name="connsiteY4665" fmla="*/ 1207625 h 6380470"/>
              <a:gd name="connsiteX4666" fmla="*/ 2546410 w 11625583"/>
              <a:gd name="connsiteY4666" fmla="*/ 1142959 h 6380470"/>
              <a:gd name="connsiteX4667" fmla="*/ 2389823 w 11625583"/>
              <a:gd name="connsiteY4667" fmla="*/ 1142959 h 6380470"/>
              <a:gd name="connsiteX4668" fmla="*/ 2454516 w 11625583"/>
              <a:gd name="connsiteY4668" fmla="*/ 1207623 h 6380470"/>
              <a:gd name="connsiteX4669" fmla="*/ 2389823 w 11625583"/>
              <a:gd name="connsiteY4669" fmla="*/ 1272290 h 6380470"/>
              <a:gd name="connsiteX4670" fmla="*/ 2325179 w 11625583"/>
              <a:gd name="connsiteY4670" fmla="*/ 1207623 h 6380470"/>
              <a:gd name="connsiteX4671" fmla="*/ 2389823 w 11625583"/>
              <a:gd name="connsiteY4671" fmla="*/ 1142959 h 6380470"/>
              <a:gd name="connsiteX4672" fmla="*/ 2237158 w 11625583"/>
              <a:gd name="connsiteY4672" fmla="*/ 1142959 h 6380470"/>
              <a:gd name="connsiteX4673" fmla="*/ 2301845 w 11625583"/>
              <a:gd name="connsiteY4673" fmla="*/ 1207623 h 6380470"/>
              <a:gd name="connsiteX4674" fmla="*/ 2237158 w 11625583"/>
              <a:gd name="connsiteY4674" fmla="*/ 1272290 h 6380470"/>
              <a:gd name="connsiteX4675" fmla="*/ 2172473 w 11625583"/>
              <a:gd name="connsiteY4675" fmla="*/ 1207623 h 6380470"/>
              <a:gd name="connsiteX4676" fmla="*/ 2237158 w 11625583"/>
              <a:gd name="connsiteY4676" fmla="*/ 1142959 h 6380470"/>
              <a:gd name="connsiteX4677" fmla="*/ 2084472 w 11625583"/>
              <a:gd name="connsiteY4677" fmla="*/ 1142959 h 6380470"/>
              <a:gd name="connsiteX4678" fmla="*/ 2149139 w 11625583"/>
              <a:gd name="connsiteY4678" fmla="*/ 1207623 h 6380470"/>
              <a:gd name="connsiteX4679" fmla="*/ 2084472 w 11625583"/>
              <a:gd name="connsiteY4679" fmla="*/ 1272290 h 6380470"/>
              <a:gd name="connsiteX4680" fmla="*/ 2019837 w 11625583"/>
              <a:gd name="connsiteY4680" fmla="*/ 1207623 h 6380470"/>
              <a:gd name="connsiteX4681" fmla="*/ 2084472 w 11625583"/>
              <a:gd name="connsiteY4681" fmla="*/ 1142959 h 6380470"/>
              <a:gd name="connsiteX4682" fmla="*/ 1927885 w 11625583"/>
              <a:gd name="connsiteY4682" fmla="*/ 1142959 h 6380470"/>
              <a:gd name="connsiteX4683" fmla="*/ 1992577 w 11625583"/>
              <a:gd name="connsiteY4683" fmla="*/ 1207623 h 6380470"/>
              <a:gd name="connsiteX4684" fmla="*/ 1927885 w 11625583"/>
              <a:gd name="connsiteY4684" fmla="*/ 1272290 h 6380470"/>
              <a:gd name="connsiteX4685" fmla="*/ 1863252 w 11625583"/>
              <a:gd name="connsiteY4685" fmla="*/ 1207623 h 6380470"/>
              <a:gd name="connsiteX4686" fmla="*/ 1927885 w 11625583"/>
              <a:gd name="connsiteY4686" fmla="*/ 1142959 h 6380470"/>
              <a:gd name="connsiteX4687" fmla="*/ 1775237 w 11625583"/>
              <a:gd name="connsiteY4687" fmla="*/ 1142959 h 6380470"/>
              <a:gd name="connsiteX4688" fmla="*/ 1839926 w 11625583"/>
              <a:gd name="connsiteY4688" fmla="*/ 1207623 h 6380470"/>
              <a:gd name="connsiteX4689" fmla="*/ 1775237 w 11625583"/>
              <a:gd name="connsiteY4689" fmla="*/ 1272290 h 6380470"/>
              <a:gd name="connsiteX4690" fmla="*/ 1710566 w 11625583"/>
              <a:gd name="connsiteY4690" fmla="*/ 1207623 h 6380470"/>
              <a:gd name="connsiteX4691" fmla="*/ 1775237 w 11625583"/>
              <a:gd name="connsiteY4691" fmla="*/ 1142959 h 6380470"/>
              <a:gd name="connsiteX4692" fmla="*/ 1618652 w 11625583"/>
              <a:gd name="connsiteY4692" fmla="*/ 1142959 h 6380470"/>
              <a:gd name="connsiteX4693" fmla="*/ 1683323 w 11625583"/>
              <a:gd name="connsiteY4693" fmla="*/ 1207623 h 6380470"/>
              <a:gd name="connsiteX4694" fmla="*/ 1618652 w 11625583"/>
              <a:gd name="connsiteY4694" fmla="*/ 1272290 h 6380470"/>
              <a:gd name="connsiteX4695" fmla="*/ 1553991 w 11625583"/>
              <a:gd name="connsiteY4695" fmla="*/ 1207623 h 6380470"/>
              <a:gd name="connsiteX4696" fmla="*/ 1618652 w 11625583"/>
              <a:gd name="connsiteY4696" fmla="*/ 1142959 h 6380470"/>
              <a:gd name="connsiteX4697" fmla="*/ 1465997 w 11625583"/>
              <a:gd name="connsiteY4697" fmla="*/ 1142959 h 6380470"/>
              <a:gd name="connsiteX4698" fmla="*/ 1530664 w 11625583"/>
              <a:gd name="connsiteY4698" fmla="*/ 1207625 h 6380470"/>
              <a:gd name="connsiteX4699" fmla="*/ 1465997 w 11625583"/>
              <a:gd name="connsiteY4699" fmla="*/ 1272290 h 6380470"/>
              <a:gd name="connsiteX4700" fmla="*/ 1401335 w 11625583"/>
              <a:gd name="connsiteY4700" fmla="*/ 1207625 h 6380470"/>
              <a:gd name="connsiteX4701" fmla="*/ 1465997 w 11625583"/>
              <a:gd name="connsiteY4701" fmla="*/ 1142959 h 6380470"/>
              <a:gd name="connsiteX4702" fmla="*/ 1309424 w 11625583"/>
              <a:gd name="connsiteY4702" fmla="*/ 1142959 h 6380470"/>
              <a:gd name="connsiteX4703" fmla="*/ 1374089 w 11625583"/>
              <a:gd name="connsiteY4703" fmla="*/ 1207623 h 6380470"/>
              <a:gd name="connsiteX4704" fmla="*/ 1309424 w 11625583"/>
              <a:gd name="connsiteY4704" fmla="*/ 1272290 h 6380470"/>
              <a:gd name="connsiteX4705" fmla="*/ 1244757 w 11625583"/>
              <a:gd name="connsiteY4705" fmla="*/ 1207623 h 6380470"/>
              <a:gd name="connsiteX4706" fmla="*/ 1309424 w 11625583"/>
              <a:gd name="connsiteY4706" fmla="*/ 1142959 h 6380470"/>
              <a:gd name="connsiteX4707" fmla="*/ 1148940 w 11625583"/>
              <a:gd name="connsiteY4707" fmla="*/ 1142959 h 6380470"/>
              <a:gd name="connsiteX4708" fmla="*/ 1213605 w 11625583"/>
              <a:gd name="connsiteY4708" fmla="*/ 1207623 h 6380470"/>
              <a:gd name="connsiteX4709" fmla="*/ 1148940 w 11625583"/>
              <a:gd name="connsiteY4709" fmla="*/ 1272290 h 6380470"/>
              <a:gd name="connsiteX4710" fmla="*/ 1084275 w 11625583"/>
              <a:gd name="connsiteY4710" fmla="*/ 1207623 h 6380470"/>
              <a:gd name="connsiteX4711" fmla="*/ 1148940 w 11625583"/>
              <a:gd name="connsiteY4711" fmla="*/ 1142959 h 6380470"/>
              <a:gd name="connsiteX4712" fmla="*/ 992366 w 11625583"/>
              <a:gd name="connsiteY4712" fmla="*/ 1142959 h 6380470"/>
              <a:gd name="connsiteX4713" fmla="*/ 1057031 w 11625583"/>
              <a:gd name="connsiteY4713" fmla="*/ 1207625 h 6380470"/>
              <a:gd name="connsiteX4714" fmla="*/ 992366 w 11625583"/>
              <a:gd name="connsiteY4714" fmla="*/ 1272290 h 6380470"/>
              <a:gd name="connsiteX4715" fmla="*/ 927701 w 11625583"/>
              <a:gd name="connsiteY4715" fmla="*/ 1207625 h 6380470"/>
              <a:gd name="connsiteX4716" fmla="*/ 992366 w 11625583"/>
              <a:gd name="connsiteY4716" fmla="*/ 1142959 h 6380470"/>
              <a:gd name="connsiteX4717" fmla="*/ 839710 w 11625583"/>
              <a:gd name="connsiteY4717" fmla="*/ 1142959 h 6380470"/>
              <a:gd name="connsiteX4718" fmla="*/ 904376 w 11625583"/>
              <a:gd name="connsiteY4718" fmla="*/ 1207623 h 6380470"/>
              <a:gd name="connsiteX4719" fmla="*/ 839710 w 11625583"/>
              <a:gd name="connsiteY4719" fmla="*/ 1272290 h 6380470"/>
              <a:gd name="connsiteX4720" fmla="*/ 775045 w 11625583"/>
              <a:gd name="connsiteY4720" fmla="*/ 1207623 h 6380470"/>
              <a:gd name="connsiteX4721" fmla="*/ 839710 w 11625583"/>
              <a:gd name="connsiteY4721" fmla="*/ 1142959 h 6380470"/>
              <a:gd name="connsiteX4722" fmla="*/ 683139 w 11625583"/>
              <a:gd name="connsiteY4722" fmla="*/ 1142959 h 6380470"/>
              <a:gd name="connsiteX4723" fmla="*/ 747804 w 11625583"/>
              <a:gd name="connsiteY4723" fmla="*/ 1207623 h 6380470"/>
              <a:gd name="connsiteX4724" fmla="*/ 683139 w 11625583"/>
              <a:gd name="connsiteY4724" fmla="*/ 1272290 h 6380470"/>
              <a:gd name="connsiteX4725" fmla="*/ 618474 w 11625583"/>
              <a:gd name="connsiteY4725" fmla="*/ 1207623 h 6380470"/>
              <a:gd name="connsiteX4726" fmla="*/ 683139 w 11625583"/>
              <a:gd name="connsiteY4726" fmla="*/ 1142959 h 6380470"/>
              <a:gd name="connsiteX4727" fmla="*/ 526558 w 11625583"/>
              <a:gd name="connsiteY4727" fmla="*/ 1142959 h 6380470"/>
              <a:gd name="connsiteX4728" fmla="*/ 591224 w 11625583"/>
              <a:gd name="connsiteY4728" fmla="*/ 1207623 h 6380470"/>
              <a:gd name="connsiteX4729" fmla="*/ 526558 w 11625583"/>
              <a:gd name="connsiteY4729" fmla="*/ 1272290 h 6380470"/>
              <a:gd name="connsiteX4730" fmla="*/ 461893 w 11625583"/>
              <a:gd name="connsiteY4730" fmla="*/ 1207623 h 6380470"/>
              <a:gd name="connsiteX4731" fmla="*/ 526558 w 11625583"/>
              <a:gd name="connsiteY4731" fmla="*/ 1142959 h 6380470"/>
              <a:gd name="connsiteX4732" fmla="*/ 373903 w 11625583"/>
              <a:gd name="connsiteY4732" fmla="*/ 1142959 h 6380470"/>
              <a:gd name="connsiteX4733" fmla="*/ 438568 w 11625583"/>
              <a:gd name="connsiteY4733" fmla="*/ 1207623 h 6380470"/>
              <a:gd name="connsiteX4734" fmla="*/ 373903 w 11625583"/>
              <a:gd name="connsiteY4734" fmla="*/ 1272290 h 6380470"/>
              <a:gd name="connsiteX4735" fmla="*/ 309237 w 11625583"/>
              <a:gd name="connsiteY4735" fmla="*/ 1207623 h 6380470"/>
              <a:gd name="connsiteX4736" fmla="*/ 373903 w 11625583"/>
              <a:gd name="connsiteY4736" fmla="*/ 1142959 h 6380470"/>
              <a:gd name="connsiteX4737" fmla="*/ 217332 w 11625583"/>
              <a:gd name="connsiteY4737" fmla="*/ 1142959 h 6380470"/>
              <a:gd name="connsiteX4738" fmla="*/ 281997 w 11625583"/>
              <a:gd name="connsiteY4738" fmla="*/ 1207623 h 6380470"/>
              <a:gd name="connsiteX4739" fmla="*/ 217332 w 11625583"/>
              <a:gd name="connsiteY4739" fmla="*/ 1272290 h 6380470"/>
              <a:gd name="connsiteX4740" fmla="*/ 152667 w 11625583"/>
              <a:gd name="connsiteY4740" fmla="*/ 1207623 h 6380470"/>
              <a:gd name="connsiteX4741" fmla="*/ 217332 w 11625583"/>
              <a:gd name="connsiteY4741" fmla="*/ 1142959 h 6380470"/>
              <a:gd name="connsiteX4742" fmla="*/ 64674 w 11625583"/>
              <a:gd name="connsiteY4742" fmla="*/ 1142959 h 6380470"/>
              <a:gd name="connsiteX4743" fmla="*/ 129339 w 11625583"/>
              <a:gd name="connsiteY4743" fmla="*/ 1207623 h 6380470"/>
              <a:gd name="connsiteX4744" fmla="*/ 64674 w 11625583"/>
              <a:gd name="connsiteY4744" fmla="*/ 1272290 h 6380470"/>
              <a:gd name="connsiteX4745" fmla="*/ 9 w 11625583"/>
              <a:gd name="connsiteY4745" fmla="*/ 1207623 h 6380470"/>
              <a:gd name="connsiteX4746" fmla="*/ 64674 w 11625583"/>
              <a:gd name="connsiteY4746" fmla="*/ 1142959 h 6380470"/>
              <a:gd name="connsiteX4747" fmla="*/ 11095111 w 11625583"/>
              <a:gd name="connsiteY4747" fmla="*/ 1002044 h 6380470"/>
              <a:gd name="connsiteX4748" fmla="*/ 11159777 w 11625583"/>
              <a:gd name="connsiteY4748" fmla="*/ 1066709 h 6380470"/>
              <a:gd name="connsiteX4749" fmla="*/ 11095111 w 11625583"/>
              <a:gd name="connsiteY4749" fmla="*/ 1131375 h 6380470"/>
              <a:gd name="connsiteX4750" fmla="*/ 11030445 w 11625583"/>
              <a:gd name="connsiteY4750" fmla="*/ 1066709 h 6380470"/>
              <a:gd name="connsiteX4751" fmla="*/ 11095111 w 11625583"/>
              <a:gd name="connsiteY4751" fmla="*/ 1002044 h 6380470"/>
              <a:gd name="connsiteX4752" fmla="*/ 10938538 w 11625583"/>
              <a:gd name="connsiteY4752" fmla="*/ 1002044 h 6380470"/>
              <a:gd name="connsiteX4753" fmla="*/ 11003204 w 11625583"/>
              <a:gd name="connsiteY4753" fmla="*/ 1066709 h 6380470"/>
              <a:gd name="connsiteX4754" fmla="*/ 10938538 w 11625583"/>
              <a:gd name="connsiteY4754" fmla="*/ 1131375 h 6380470"/>
              <a:gd name="connsiteX4755" fmla="*/ 10873872 w 11625583"/>
              <a:gd name="connsiteY4755" fmla="*/ 1066709 h 6380470"/>
              <a:gd name="connsiteX4756" fmla="*/ 10938538 w 11625583"/>
              <a:gd name="connsiteY4756" fmla="*/ 1002044 h 6380470"/>
              <a:gd name="connsiteX4757" fmla="*/ 10778051 w 11625583"/>
              <a:gd name="connsiteY4757" fmla="*/ 1002044 h 6380470"/>
              <a:gd name="connsiteX4758" fmla="*/ 10842717 w 11625583"/>
              <a:gd name="connsiteY4758" fmla="*/ 1066709 h 6380470"/>
              <a:gd name="connsiteX4759" fmla="*/ 10778051 w 11625583"/>
              <a:gd name="connsiteY4759" fmla="*/ 1131375 h 6380470"/>
              <a:gd name="connsiteX4760" fmla="*/ 10713385 w 11625583"/>
              <a:gd name="connsiteY4760" fmla="*/ 1066709 h 6380470"/>
              <a:gd name="connsiteX4761" fmla="*/ 10778051 w 11625583"/>
              <a:gd name="connsiteY4761" fmla="*/ 1002044 h 6380470"/>
              <a:gd name="connsiteX4762" fmla="*/ 10625392 w 11625583"/>
              <a:gd name="connsiteY4762" fmla="*/ 1002044 h 6380470"/>
              <a:gd name="connsiteX4763" fmla="*/ 10690058 w 11625583"/>
              <a:gd name="connsiteY4763" fmla="*/ 1066709 h 6380470"/>
              <a:gd name="connsiteX4764" fmla="*/ 10625392 w 11625583"/>
              <a:gd name="connsiteY4764" fmla="*/ 1131375 h 6380470"/>
              <a:gd name="connsiteX4765" fmla="*/ 10560726 w 11625583"/>
              <a:gd name="connsiteY4765" fmla="*/ 1066709 h 6380470"/>
              <a:gd name="connsiteX4766" fmla="*/ 10625392 w 11625583"/>
              <a:gd name="connsiteY4766" fmla="*/ 1002044 h 6380470"/>
              <a:gd name="connsiteX4767" fmla="*/ 10468818 w 11625583"/>
              <a:gd name="connsiteY4767" fmla="*/ 1002044 h 6380470"/>
              <a:gd name="connsiteX4768" fmla="*/ 10533484 w 11625583"/>
              <a:gd name="connsiteY4768" fmla="*/ 1066709 h 6380470"/>
              <a:gd name="connsiteX4769" fmla="*/ 10468818 w 11625583"/>
              <a:gd name="connsiteY4769" fmla="*/ 1131375 h 6380470"/>
              <a:gd name="connsiteX4770" fmla="*/ 10404152 w 11625583"/>
              <a:gd name="connsiteY4770" fmla="*/ 1066709 h 6380470"/>
              <a:gd name="connsiteX4771" fmla="*/ 10468818 w 11625583"/>
              <a:gd name="connsiteY4771" fmla="*/ 1002044 h 6380470"/>
              <a:gd name="connsiteX4772" fmla="*/ 10312244 w 11625583"/>
              <a:gd name="connsiteY4772" fmla="*/ 1002044 h 6380470"/>
              <a:gd name="connsiteX4773" fmla="*/ 10376910 w 11625583"/>
              <a:gd name="connsiteY4773" fmla="*/ 1066709 h 6380470"/>
              <a:gd name="connsiteX4774" fmla="*/ 10312244 w 11625583"/>
              <a:gd name="connsiteY4774" fmla="*/ 1131375 h 6380470"/>
              <a:gd name="connsiteX4775" fmla="*/ 10247578 w 11625583"/>
              <a:gd name="connsiteY4775" fmla="*/ 1066709 h 6380470"/>
              <a:gd name="connsiteX4776" fmla="*/ 10312244 w 11625583"/>
              <a:gd name="connsiteY4776" fmla="*/ 1002044 h 6380470"/>
              <a:gd name="connsiteX4777" fmla="*/ 10159586 w 11625583"/>
              <a:gd name="connsiteY4777" fmla="*/ 1002044 h 6380470"/>
              <a:gd name="connsiteX4778" fmla="*/ 10224252 w 11625583"/>
              <a:gd name="connsiteY4778" fmla="*/ 1066709 h 6380470"/>
              <a:gd name="connsiteX4779" fmla="*/ 10159586 w 11625583"/>
              <a:gd name="connsiteY4779" fmla="*/ 1131375 h 6380470"/>
              <a:gd name="connsiteX4780" fmla="*/ 10094920 w 11625583"/>
              <a:gd name="connsiteY4780" fmla="*/ 1066709 h 6380470"/>
              <a:gd name="connsiteX4781" fmla="*/ 10159586 w 11625583"/>
              <a:gd name="connsiteY4781" fmla="*/ 1002044 h 6380470"/>
              <a:gd name="connsiteX4782" fmla="*/ 10003015 w 11625583"/>
              <a:gd name="connsiteY4782" fmla="*/ 1002044 h 6380470"/>
              <a:gd name="connsiteX4783" fmla="*/ 10067681 w 11625583"/>
              <a:gd name="connsiteY4783" fmla="*/ 1066709 h 6380470"/>
              <a:gd name="connsiteX4784" fmla="*/ 10003015 w 11625583"/>
              <a:gd name="connsiteY4784" fmla="*/ 1131375 h 6380470"/>
              <a:gd name="connsiteX4785" fmla="*/ 9938349 w 11625583"/>
              <a:gd name="connsiteY4785" fmla="*/ 1066709 h 6380470"/>
              <a:gd name="connsiteX4786" fmla="*/ 10003015 w 11625583"/>
              <a:gd name="connsiteY4786" fmla="*/ 1002044 h 6380470"/>
              <a:gd name="connsiteX4787" fmla="*/ 9850355 w 11625583"/>
              <a:gd name="connsiteY4787" fmla="*/ 1002044 h 6380470"/>
              <a:gd name="connsiteX4788" fmla="*/ 9915021 w 11625583"/>
              <a:gd name="connsiteY4788" fmla="*/ 1066709 h 6380470"/>
              <a:gd name="connsiteX4789" fmla="*/ 9850355 w 11625583"/>
              <a:gd name="connsiteY4789" fmla="*/ 1131375 h 6380470"/>
              <a:gd name="connsiteX4790" fmla="*/ 9785689 w 11625583"/>
              <a:gd name="connsiteY4790" fmla="*/ 1066709 h 6380470"/>
              <a:gd name="connsiteX4791" fmla="*/ 9850355 w 11625583"/>
              <a:gd name="connsiteY4791" fmla="*/ 1002044 h 6380470"/>
              <a:gd name="connsiteX4792" fmla="*/ 9693780 w 11625583"/>
              <a:gd name="connsiteY4792" fmla="*/ 1002044 h 6380470"/>
              <a:gd name="connsiteX4793" fmla="*/ 9758446 w 11625583"/>
              <a:gd name="connsiteY4793" fmla="*/ 1066709 h 6380470"/>
              <a:gd name="connsiteX4794" fmla="*/ 9693780 w 11625583"/>
              <a:gd name="connsiteY4794" fmla="*/ 1131375 h 6380470"/>
              <a:gd name="connsiteX4795" fmla="*/ 9629114 w 11625583"/>
              <a:gd name="connsiteY4795" fmla="*/ 1066709 h 6380470"/>
              <a:gd name="connsiteX4796" fmla="*/ 9693780 w 11625583"/>
              <a:gd name="connsiteY4796" fmla="*/ 1002044 h 6380470"/>
              <a:gd name="connsiteX4797" fmla="*/ 9541122 w 11625583"/>
              <a:gd name="connsiteY4797" fmla="*/ 1002044 h 6380470"/>
              <a:gd name="connsiteX4798" fmla="*/ 9605788 w 11625583"/>
              <a:gd name="connsiteY4798" fmla="*/ 1066709 h 6380470"/>
              <a:gd name="connsiteX4799" fmla="*/ 9541122 w 11625583"/>
              <a:gd name="connsiteY4799" fmla="*/ 1131375 h 6380470"/>
              <a:gd name="connsiteX4800" fmla="*/ 9476456 w 11625583"/>
              <a:gd name="connsiteY4800" fmla="*/ 1066709 h 6380470"/>
              <a:gd name="connsiteX4801" fmla="*/ 9541122 w 11625583"/>
              <a:gd name="connsiteY4801" fmla="*/ 1002044 h 6380470"/>
              <a:gd name="connsiteX4802" fmla="*/ 9384549 w 11625583"/>
              <a:gd name="connsiteY4802" fmla="*/ 1002044 h 6380470"/>
              <a:gd name="connsiteX4803" fmla="*/ 9449215 w 11625583"/>
              <a:gd name="connsiteY4803" fmla="*/ 1066709 h 6380470"/>
              <a:gd name="connsiteX4804" fmla="*/ 9384549 w 11625583"/>
              <a:gd name="connsiteY4804" fmla="*/ 1131375 h 6380470"/>
              <a:gd name="connsiteX4805" fmla="*/ 9319883 w 11625583"/>
              <a:gd name="connsiteY4805" fmla="*/ 1066709 h 6380470"/>
              <a:gd name="connsiteX4806" fmla="*/ 9384549 w 11625583"/>
              <a:gd name="connsiteY4806" fmla="*/ 1002044 h 6380470"/>
              <a:gd name="connsiteX4807" fmla="*/ 9227976 w 11625583"/>
              <a:gd name="connsiteY4807" fmla="*/ 1002044 h 6380470"/>
              <a:gd name="connsiteX4808" fmla="*/ 9292642 w 11625583"/>
              <a:gd name="connsiteY4808" fmla="*/ 1066709 h 6380470"/>
              <a:gd name="connsiteX4809" fmla="*/ 9227976 w 11625583"/>
              <a:gd name="connsiteY4809" fmla="*/ 1131375 h 6380470"/>
              <a:gd name="connsiteX4810" fmla="*/ 9163310 w 11625583"/>
              <a:gd name="connsiteY4810" fmla="*/ 1066709 h 6380470"/>
              <a:gd name="connsiteX4811" fmla="*/ 9227976 w 11625583"/>
              <a:gd name="connsiteY4811" fmla="*/ 1002044 h 6380470"/>
              <a:gd name="connsiteX4812" fmla="*/ 9075316 w 11625583"/>
              <a:gd name="connsiteY4812" fmla="*/ 1002044 h 6380470"/>
              <a:gd name="connsiteX4813" fmla="*/ 9139982 w 11625583"/>
              <a:gd name="connsiteY4813" fmla="*/ 1066709 h 6380470"/>
              <a:gd name="connsiteX4814" fmla="*/ 9075316 w 11625583"/>
              <a:gd name="connsiteY4814" fmla="*/ 1131375 h 6380470"/>
              <a:gd name="connsiteX4815" fmla="*/ 9010650 w 11625583"/>
              <a:gd name="connsiteY4815" fmla="*/ 1066709 h 6380470"/>
              <a:gd name="connsiteX4816" fmla="*/ 9075316 w 11625583"/>
              <a:gd name="connsiteY4816" fmla="*/ 1002044 h 6380470"/>
              <a:gd name="connsiteX4817" fmla="*/ 8914829 w 11625583"/>
              <a:gd name="connsiteY4817" fmla="*/ 1002044 h 6380470"/>
              <a:gd name="connsiteX4818" fmla="*/ 8979495 w 11625583"/>
              <a:gd name="connsiteY4818" fmla="*/ 1066709 h 6380470"/>
              <a:gd name="connsiteX4819" fmla="*/ 8914829 w 11625583"/>
              <a:gd name="connsiteY4819" fmla="*/ 1131375 h 6380470"/>
              <a:gd name="connsiteX4820" fmla="*/ 8850163 w 11625583"/>
              <a:gd name="connsiteY4820" fmla="*/ 1066709 h 6380470"/>
              <a:gd name="connsiteX4821" fmla="*/ 8914829 w 11625583"/>
              <a:gd name="connsiteY4821" fmla="*/ 1002044 h 6380470"/>
              <a:gd name="connsiteX4822" fmla="*/ 8766084 w 11625583"/>
              <a:gd name="connsiteY4822" fmla="*/ 1002044 h 6380470"/>
              <a:gd name="connsiteX4823" fmla="*/ 8830750 w 11625583"/>
              <a:gd name="connsiteY4823" fmla="*/ 1066709 h 6380470"/>
              <a:gd name="connsiteX4824" fmla="*/ 8766084 w 11625583"/>
              <a:gd name="connsiteY4824" fmla="*/ 1131375 h 6380470"/>
              <a:gd name="connsiteX4825" fmla="*/ 8701418 w 11625583"/>
              <a:gd name="connsiteY4825" fmla="*/ 1066709 h 6380470"/>
              <a:gd name="connsiteX4826" fmla="*/ 8766084 w 11625583"/>
              <a:gd name="connsiteY4826" fmla="*/ 1002044 h 6380470"/>
              <a:gd name="connsiteX4827" fmla="*/ 8601682 w 11625583"/>
              <a:gd name="connsiteY4827" fmla="*/ 1002044 h 6380470"/>
              <a:gd name="connsiteX4828" fmla="*/ 8666348 w 11625583"/>
              <a:gd name="connsiteY4828" fmla="*/ 1066709 h 6380470"/>
              <a:gd name="connsiteX4829" fmla="*/ 8601682 w 11625583"/>
              <a:gd name="connsiteY4829" fmla="*/ 1131375 h 6380470"/>
              <a:gd name="connsiteX4830" fmla="*/ 8537016 w 11625583"/>
              <a:gd name="connsiteY4830" fmla="*/ 1066709 h 6380470"/>
              <a:gd name="connsiteX4831" fmla="*/ 8601682 w 11625583"/>
              <a:gd name="connsiteY4831" fmla="*/ 1002044 h 6380470"/>
              <a:gd name="connsiteX4832" fmla="*/ 8449023 w 11625583"/>
              <a:gd name="connsiteY4832" fmla="*/ 1002044 h 6380470"/>
              <a:gd name="connsiteX4833" fmla="*/ 8513689 w 11625583"/>
              <a:gd name="connsiteY4833" fmla="*/ 1066709 h 6380470"/>
              <a:gd name="connsiteX4834" fmla="*/ 8449023 w 11625583"/>
              <a:gd name="connsiteY4834" fmla="*/ 1131375 h 6380470"/>
              <a:gd name="connsiteX4835" fmla="*/ 8384357 w 11625583"/>
              <a:gd name="connsiteY4835" fmla="*/ 1066709 h 6380470"/>
              <a:gd name="connsiteX4836" fmla="*/ 8449023 w 11625583"/>
              <a:gd name="connsiteY4836" fmla="*/ 1002044 h 6380470"/>
              <a:gd name="connsiteX4837" fmla="*/ 8296367 w 11625583"/>
              <a:gd name="connsiteY4837" fmla="*/ 1002044 h 6380470"/>
              <a:gd name="connsiteX4838" fmla="*/ 8361033 w 11625583"/>
              <a:gd name="connsiteY4838" fmla="*/ 1066709 h 6380470"/>
              <a:gd name="connsiteX4839" fmla="*/ 8296367 w 11625583"/>
              <a:gd name="connsiteY4839" fmla="*/ 1131375 h 6380470"/>
              <a:gd name="connsiteX4840" fmla="*/ 8231701 w 11625583"/>
              <a:gd name="connsiteY4840" fmla="*/ 1066709 h 6380470"/>
              <a:gd name="connsiteX4841" fmla="*/ 8296367 w 11625583"/>
              <a:gd name="connsiteY4841" fmla="*/ 1002044 h 6380470"/>
              <a:gd name="connsiteX4842" fmla="*/ 8139792 w 11625583"/>
              <a:gd name="connsiteY4842" fmla="*/ 1002044 h 6380470"/>
              <a:gd name="connsiteX4843" fmla="*/ 8204458 w 11625583"/>
              <a:gd name="connsiteY4843" fmla="*/ 1066709 h 6380470"/>
              <a:gd name="connsiteX4844" fmla="*/ 8139792 w 11625583"/>
              <a:gd name="connsiteY4844" fmla="*/ 1131375 h 6380470"/>
              <a:gd name="connsiteX4845" fmla="*/ 8075126 w 11625583"/>
              <a:gd name="connsiteY4845" fmla="*/ 1066709 h 6380470"/>
              <a:gd name="connsiteX4846" fmla="*/ 8139792 w 11625583"/>
              <a:gd name="connsiteY4846" fmla="*/ 1002044 h 6380470"/>
              <a:gd name="connsiteX4847" fmla="*/ 7987132 w 11625583"/>
              <a:gd name="connsiteY4847" fmla="*/ 1002044 h 6380470"/>
              <a:gd name="connsiteX4848" fmla="*/ 8051798 w 11625583"/>
              <a:gd name="connsiteY4848" fmla="*/ 1066709 h 6380470"/>
              <a:gd name="connsiteX4849" fmla="*/ 7987132 w 11625583"/>
              <a:gd name="connsiteY4849" fmla="*/ 1131375 h 6380470"/>
              <a:gd name="connsiteX4850" fmla="*/ 7922466 w 11625583"/>
              <a:gd name="connsiteY4850" fmla="*/ 1066709 h 6380470"/>
              <a:gd name="connsiteX4851" fmla="*/ 7987132 w 11625583"/>
              <a:gd name="connsiteY4851" fmla="*/ 1002044 h 6380470"/>
              <a:gd name="connsiteX4852" fmla="*/ 7830560 w 11625583"/>
              <a:gd name="connsiteY4852" fmla="*/ 1002044 h 6380470"/>
              <a:gd name="connsiteX4853" fmla="*/ 7895226 w 11625583"/>
              <a:gd name="connsiteY4853" fmla="*/ 1066709 h 6380470"/>
              <a:gd name="connsiteX4854" fmla="*/ 7830560 w 11625583"/>
              <a:gd name="connsiteY4854" fmla="*/ 1131375 h 6380470"/>
              <a:gd name="connsiteX4855" fmla="*/ 7765894 w 11625583"/>
              <a:gd name="connsiteY4855" fmla="*/ 1066709 h 6380470"/>
              <a:gd name="connsiteX4856" fmla="*/ 7830560 w 11625583"/>
              <a:gd name="connsiteY4856" fmla="*/ 1002044 h 6380470"/>
              <a:gd name="connsiteX4857" fmla="*/ 7677902 w 11625583"/>
              <a:gd name="connsiteY4857" fmla="*/ 1002044 h 6380470"/>
              <a:gd name="connsiteX4858" fmla="*/ 7742568 w 11625583"/>
              <a:gd name="connsiteY4858" fmla="*/ 1066709 h 6380470"/>
              <a:gd name="connsiteX4859" fmla="*/ 7677902 w 11625583"/>
              <a:gd name="connsiteY4859" fmla="*/ 1131375 h 6380470"/>
              <a:gd name="connsiteX4860" fmla="*/ 7613236 w 11625583"/>
              <a:gd name="connsiteY4860" fmla="*/ 1066709 h 6380470"/>
              <a:gd name="connsiteX4861" fmla="*/ 7677902 w 11625583"/>
              <a:gd name="connsiteY4861" fmla="*/ 1002044 h 6380470"/>
              <a:gd name="connsiteX4862" fmla="*/ 7521329 w 11625583"/>
              <a:gd name="connsiteY4862" fmla="*/ 1002044 h 6380470"/>
              <a:gd name="connsiteX4863" fmla="*/ 7585995 w 11625583"/>
              <a:gd name="connsiteY4863" fmla="*/ 1066709 h 6380470"/>
              <a:gd name="connsiteX4864" fmla="*/ 7521329 w 11625583"/>
              <a:gd name="connsiteY4864" fmla="*/ 1131375 h 6380470"/>
              <a:gd name="connsiteX4865" fmla="*/ 7456663 w 11625583"/>
              <a:gd name="connsiteY4865" fmla="*/ 1066709 h 6380470"/>
              <a:gd name="connsiteX4866" fmla="*/ 7521329 w 11625583"/>
              <a:gd name="connsiteY4866" fmla="*/ 1002044 h 6380470"/>
              <a:gd name="connsiteX4867" fmla="*/ 7368667 w 11625583"/>
              <a:gd name="connsiteY4867" fmla="*/ 1002044 h 6380470"/>
              <a:gd name="connsiteX4868" fmla="*/ 7433333 w 11625583"/>
              <a:gd name="connsiteY4868" fmla="*/ 1066709 h 6380470"/>
              <a:gd name="connsiteX4869" fmla="*/ 7368667 w 11625583"/>
              <a:gd name="connsiteY4869" fmla="*/ 1131375 h 6380470"/>
              <a:gd name="connsiteX4870" fmla="*/ 7304001 w 11625583"/>
              <a:gd name="connsiteY4870" fmla="*/ 1066709 h 6380470"/>
              <a:gd name="connsiteX4871" fmla="*/ 7368667 w 11625583"/>
              <a:gd name="connsiteY4871" fmla="*/ 1002044 h 6380470"/>
              <a:gd name="connsiteX4872" fmla="*/ 7212094 w 11625583"/>
              <a:gd name="connsiteY4872" fmla="*/ 1002044 h 6380470"/>
              <a:gd name="connsiteX4873" fmla="*/ 7276760 w 11625583"/>
              <a:gd name="connsiteY4873" fmla="*/ 1066709 h 6380470"/>
              <a:gd name="connsiteX4874" fmla="*/ 7212094 w 11625583"/>
              <a:gd name="connsiteY4874" fmla="*/ 1131375 h 6380470"/>
              <a:gd name="connsiteX4875" fmla="*/ 7147428 w 11625583"/>
              <a:gd name="connsiteY4875" fmla="*/ 1066709 h 6380470"/>
              <a:gd name="connsiteX4876" fmla="*/ 7212094 w 11625583"/>
              <a:gd name="connsiteY4876" fmla="*/ 1002044 h 6380470"/>
              <a:gd name="connsiteX4877" fmla="*/ 7055521 w 11625583"/>
              <a:gd name="connsiteY4877" fmla="*/ 1002044 h 6380470"/>
              <a:gd name="connsiteX4878" fmla="*/ 7120187 w 11625583"/>
              <a:gd name="connsiteY4878" fmla="*/ 1066709 h 6380470"/>
              <a:gd name="connsiteX4879" fmla="*/ 7055521 w 11625583"/>
              <a:gd name="connsiteY4879" fmla="*/ 1131375 h 6380470"/>
              <a:gd name="connsiteX4880" fmla="*/ 6990855 w 11625583"/>
              <a:gd name="connsiteY4880" fmla="*/ 1066709 h 6380470"/>
              <a:gd name="connsiteX4881" fmla="*/ 7055521 w 11625583"/>
              <a:gd name="connsiteY4881" fmla="*/ 1002044 h 6380470"/>
              <a:gd name="connsiteX4882" fmla="*/ 6895035 w 11625583"/>
              <a:gd name="connsiteY4882" fmla="*/ 1002044 h 6380470"/>
              <a:gd name="connsiteX4883" fmla="*/ 6959701 w 11625583"/>
              <a:gd name="connsiteY4883" fmla="*/ 1066709 h 6380470"/>
              <a:gd name="connsiteX4884" fmla="*/ 6895035 w 11625583"/>
              <a:gd name="connsiteY4884" fmla="*/ 1131375 h 6380470"/>
              <a:gd name="connsiteX4885" fmla="*/ 6830369 w 11625583"/>
              <a:gd name="connsiteY4885" fmla="*/ 1066709 h 6380470"/>
              <a:gd name="connsiteX4886" fmla="*/ 6895035 w 11625583"/>
              <a:gd name="connsiteY4886" fmla="*/ 1002044 h 6380470"/>
              <a:gd name="connsiteX4887" fmla="*/ 6742375 w 11625583"/>
              <a:gd name="connsiteY4887" fmla="*/ 1002044 h 6380470"/>
              <a:gd name="connsiteX4888" fmla="*/ 6807041 w 11625583"/>
              <a:gd name="connsiteY4888" fmla="*/ 1066709 h 6380470"/>
              <a:gd name="connsiteX4889" fmla="*/ 6742375 w 11625583"/>
              <a:gd name="connsiteY4889" fmla="*/ 1131375 h 6380470"/>
              <a:gd name="connsiteX4890" fmla="*/ 6677709 w 11625583"/>
              <a:gd name="connsiteY4890" fmla="*/ 1066709 h 6380470"/>
              <a:gd name="connsiteX4891" fmla="*/ 6742375 w 11625583"/>
              <a:gd name="connsiteY4891" fmla="*/ 1002044 h 6380470"/>
              <a:gd name="connsiteX4892" fmla="*/ 6585802 w 11625583"/>
              <a:gd name="connsiteY4892" fmla="*/ 1002044 h 6380470"/>
              <a:gd name="connsiteX4893" fmla="*/ 6650468 w 11625583"/>
              <a:gd name="connsiteY4893" fmla="*/ 1066709 h 6380470"/>
              <a:gd name="connsiteX4894" fmla="*/ 6585802 w 11625583"/>
              <a:gd name="connsiteY4894" fmla="*/ 1131375 h 6380470"/>
              <a:gd name="connsiteX4895" fmla="*/ 6521136 w 11625583"/>
              <a:gd name="connsiteY4895" fmla="*/ 1066709 h 6380470"/>
              <a:gd name="connsiteX4896" fmla="*/ 6585802 w 11625583"/>
              <a:gd name="connsiteY4896" fmla="*/ 1002044 h 6380470"/>
              <a:gd name="connsiteX4897" fmla="*/ 6429229 w 11625583"/>
              <a:gd name="connsiteY4897" fmla="*/ 1002044 h 6380470"/>
              <a:gd name="connsiteX4898" fmla="*/ 6493895 w 11625583"/>
              <a:gd name="connsiteY4898" fmla="*/ 1066709 h 6380470"/>
              <a:gd name="connsiteX4899" fmla="*/ 6429229 w 11625583"/>
              <a:gd name="connsiteY4899" fmla="*/ 1131375 h 6380470"/>
              <a:gd name="connsiteX4900" fmla="*/ 6364563 w 11625583"/>
              <a:gd name="connsiteY4900" fmla="*/ 1066709 h 6380470"/>
              <a:gd name="connsiteX4901" fmla="*/ 6429229 w 11625583"/>
              <a:gd name="connsiteY4901" fmla="*/ 1002044 h 6380470"/>
              <a:gd name="connsiteX4902" fmla="*/ 6276569 w 11625583"/>
              <a:gd name="connsiteY4902" fmla="*/ 1002044 h 6380470"/>
              <a:gd name="connsiteX4903" fmla="*/ 6341235 w 11625583"/>
              <a:gd name="connsiteY4903" fmla="*/ 1066709 h 6380470"/>
              <a:gd name="connsiteX4904" fmla="*/ 6276569 w 11625583"/>
              <a:gd name="connsiteY4904" fmla="*/ 1131375 h 6380470"/>
              <a:gd name="connsiteX4905" fmla="*/ 6211903 w 11625583"/>
              <a:gd name="connsiteY4905" fmla="*/ 1066709 h 6380470"/>
              <a:gd name="connsiteX4906" fmla="*/ 6276569 w 11625583"/>
              <a:gd name="connsiteY4906" fmla="*/ 1002044 h 6380470"/>
              <a:gd name="connsiteX4907" fmla="*/ 6119998 w 11625583"/>
              <a:gd name="connsiteY4907" fmla="*/ 1002044 h 6380470"/>
              <a:gd name="connsiteX4908" fmla="*/ 6184664 w 11625583"/>
              <a:gd name="connsiteY4908" fmla="*/ 1066709 h 6380470"/>
              <a:gd name="connsiteX4909" fmla="*/ 6119998 w 11625583"/>
              <a:gd name="connsiteY4909" fmla="*/ 1131375 h 6380470"/>
              <a:gd name="connsiteX4910" fmla="*/ 6055332 w 11625583"/>
              <a:gd name="connsiteY4910" fmla="*/ 1066709 h 6380470"/>
              <a:gd name="connsiteX4911" fmla="*/ 6119998 w 11625583"/>
              <a:gd name="connsiteY4911" fmla="*/ 1002044 h 6380470"/>
              <a:gd name="connsiteX4912" fmla="*/ 5967338 w 11625583"/>
              <a:gd name="connsiteY4912" fmla="*/ 1002044 h 6380470"/>
              <a:gd name="connsiteX4913" fmla="*/ 6032004 w 11625583"/>
              <a:gd name="connsiteY4913" fmla="*/ 1066709 h 6380470"/>
              <a:gd name="connsiteX4914" fmla="*/ 5967338 w 11625583"/>
              <a:gd name="connsiteY4914" fmla="*/ 1131375 h 6380470"/>
              <a:gd name="connsiteX4915" fmla="*/ 5902672 w 11625583"/>
              <a:gd name="connsiteY4915" fmla="*/ 1066709 h 6380470"/>
              <a:gd name="connsiteX4916" fmla="*/ 5967338 w 11625583"/>
              <a:gd name="connsiteY4916" fmla="*/ 1002044 h 6380470"/>
              <a:gd name="connsiteX4917" fmla="*/ 4875265 w 11625583"/>
              <a:gd name="connsiteY4917" fmla="*/ 1002044 h 6380470"/>
              <a:gd name="connsiteX4918" fmla="*/ 4939939 w 11625583"/>
              <a:gd name="connsiteY4918" fmla="*/ 1066709 h 6380470"/>
              <a:gd name="connsiteX4919" fmla="*/ 4875265 w 11625583"/>
              <a:gd name="connsiteY4919" fmla="*/ 1131375 h 6380470"/>
              <a:gd name="connsiteX4920" fmla="*/ 4810599 w 11625583"/>
              <a:gd name="connsiteY4920" fmla="*/ 1066709 h 6380470"/>
              <a:gd name="connsiteX4921" fmla="*/ 4875265 w 11625583"/>
              <a:gd name="connsiteY4921" fmla="*/ 1002044 h 6380470"/>
              <a:gd name="connsiteX4922" fmla="*/ 4256823 w 11625583"/>
              <a:gd name="connsiteY4922" fmla="*/ 1002044 h 6380470"/>
              <a:gd name="connsiteX4923" fmla="*/ 4321467 w 11625583"/>
              <a:gd name="connsiteY4923" fmla="*/ 1066709 h 6380470"/>
              <a:gd name="connsiteX4924" fmla="*/ 4256823 w 11625583"/>
              <a:gd name="connsiteY4924" fmla="*/ 1131375 h 6380470"/>
              <a:gd name="connsiteX4925" fmla="*/ 4192125 w 11625583"/>
              <a:gd name="connsiteY4925" fmla="*/ 1066709 h 6380470"/>
              <a:gd name="connsiteX4926" fmla="*/ 4256823 w 11625583"/>
              <a:gd name="connsiteY4926" fmla="*/ 1002044 h 6380470"/>
              <a:gd name="connsiteX4927" fmla="*/ 4100249 w 11625583"/>
              <a:gd name="connsiteY4927" fmla="*/ 1002044 h 6380470"/>
              <a:gd name="connsiteX4928" fmla="*/ 4164920 w 11625583"/>
              <a:gd name="connsiteY4928" fmla="*/ 1066709 h 6380470"/>
              <a:gd name="connsiteX4929" fmla="*/ 4100249 w 11625583"/>
              <a:gd name="connsiteY4929" fmla="*/ 1131375 h 6380470"/>
              <a:gd name="connsiteX4930" fmla="*/ 4035594 w 11625583"/>
              <a:gd name="connsiteY4930" fmla="*/ 1066709 h 6380470"/>
              <a:gd name="connsiteX4931" fmla="*/ 4100249 w 11625583"/>
              <a:gd name="connsiteY4931" fmla="*/ 1002044 h 6380470"/>
              <a:gd name="connsiteX4932" fmla="*/ 3947573 w 11625583"/>
              <a:gd name="connsiteY4932" fmla="*/ 1002044 h 6380470"/>
              <a:gd name="connsiteX4933" fmla="*/ 4012257 w 11625583"/>
              <a:gd name="connsiteY4933" fmla="*/ 1066709 h 6380470"/>
              <a:gd name="connsiteX4934" fmla="*/ 3947573 w 11625583"/>
              <a:gd name="connsiteY4934" fmla="*/ 1131375 h 6380470"/>
              <a:gd name="connsiteX4935" fmla="*/ 3883039 w 11625583"/>
              <a:gd name="connsiteY4935" fmla="*/ 1066709 h 6380470"/>
              <a:gd name="connsiteX4936" fmla="*/ 3947573 w 11625583"/>
              <a:gd name="connsiteY4936" fmla="*/ 1002044 h 6380470"/>
              <a:gd name="connsiteX4937" fmla="*/ 3321427 w 11625583"/>
              <a:gd name="connsiteY4937" fmla="*/ 1002044 h 6380470"/>
              <a:gd name="connsiteX4938" fmla="*/ 3386066 w 11625583"/>
              <a:gd name="connsiteY4938" fmla="*/ 1066709 h 6380470"/>
              <a:gd name="connsiteX4939" fmla="*/ 3321427 w 11625583"/>
              <a:gd name="connsiteY4939" fmla="*/ 1131375 h 6380470"/>
              <a:gd name="connsiteX4940" fmla="*/ 3256763 w 11625583"/>
              <a:gd name="connsiteY4940" fmla="*/ 1066709 h 6380470"/>
              <a:gd name="connsiteX4941" fmla="*/ 3321427 w 11625583"/>
              <a:gd name="connsiteY4941" fmla="*/ 1002044 h 6380470"/>
              <a:gd name="connsiteX4942" fmla="*/ 3172672 w 11625583"/>
              <a:gd name="connsiteY4942" fmla="*/ 1002044 h 6380470"/>
              <a:gd name="connsiteX4943" fmla="*/ 3237345 w 11625583"/>
              <a:gd name="connsiteY4943" fmla="*/ 1066709 h 6380470"/>
              <a:gd name="connsiteX4944" fmla="*/ 3172672 w 11625583"/>
              <a:gd name="connsiteY4944" fmla="*/ 1131375 h 6380470"/>
              <a:gd name="connsiteX4945" fmla="*/ 3107984 w 11625583"/>
              <a:gd name="connsiteY4945" fmla="*/ 1066709 h 6380470"/>
              <a:gd name="connsiteX4946" fmla="*/ 3172672 w 11625583"/>
              <a:gd name="connsiteY4946" fmla="*/ 1002044 h 6380470"/>
              <a:gd name="connsiteX4947" fmla="*/ 3012149 w 11625583"/>
              <a:gd name="connsiteY4947" fmla="*/ 1002044 h 6380470"/>
              <a:gd name="connsiteX4948" fmla="*/ 3076821 w 11625583"/>
              <a:gd name="connsiteY4948" fmla="*/ 1066709 h 6380470"/>
              <a:gd name="connsiteX4949" fmla="*/ 3012149 w 11625583"/>
              <a:gd name="connsiteY4949" fmla="*/ 1131375 h 6380470"/>
              <a:gd name="connsiteX4950" fmla="*/ 2947494 w 11625583"/>
              <a:gd name="connsiteY4950" fmla="*/ 1066709 h 6380470"/>
              <a:gd name="connsiteX4951" fmla="*/ 3012149 w 11625583"/>
              <a:gd name="connsiteY4951" fmla="*/ 1002044 h 6380470"/>
              <a:gd name="connsiteX4952" fmla="*/ 2699057 w 11625583"/>
              <a:gd name="connsiteY4952" fmla="*/ 1002044 h 6380470"/>
              <a:gd name="connsiteX4953" fmla="*/ 2763710 w 11625583"/>
              <a:gd name="connsiteY4953" fmla="*/ 1066709 h 6380470"/>
              <a:gd name="connsiteX4954" fmla="*/ 2699057 w 11625583"/>
              <a:gd name="connsiteY4954" fmla="*/ 1131375 h 6380470"/>
              <a:gd name="connsiteX4955" fmla="*/ 2634401 w 11625583"/>
              <a:gd name="connsiteY4955" fmla="*/ 1066709 h 6380470"/>
              <a:gd name="connsiteX4956" fmla="*/ 2699057 w 11625583"/>
              <a:gd name="connsiteY4956" fmla="*/ 1002044 h 6380470"/>
              <a:gd name="connsiteX4957" fmla="*/ 2546420 w 11625583"/>
              <a:gd name="connsiteY4957" fmla="*/ 1002044 h 6380470"/>
              <a:gd name="connsiteX4958" fmla="*/ 2611080 w 11625583"/>
              <a:gd name="connsiteY4958" fmla="*/ 1066709 h 6380470"/>
              <a:gd name="connsiteX4959" fmla="*/ 2546420 w 11625583"/>
              <a:gd name="connsiteY4959" fmla="*/ 1131375 h 6380470"/>
              <a:gd name="connsiteX4960" fmla="*/ 2481765 w 11625583"/>
              <a:gd name="connsiteY4960" fmla="*/ 1066709 h 6380470"/>
              <a:gd name="connsiteX4961" fmla="*/ 2546420 w 11625583"/>
              <a:gd name="connsiteY4961" fmla="*/ 1002044 h 6380470"/>
              <a:gd name="connsiteX4962" fmla="*/ 2389845 w 11625583"/>
              <a:gd name="connsiteY4962" fmla="*/ 1002044 h 6380470"/>
              <a:gd name="connsiteX4963" fmla="*/ 2454531 w 11625583"/>
              <a:gd name="connsiteY4963" fmla="*/ 1066709 h 6380470"/>
              <a:gd name="connsiteX4964" fmla="*/ 2389845 w 11625583"/>
              <a:gd name="connsiteY4964" fmla="*/ 1131375 h 6380470"/>
              <a:gd name="connsiteX4965" fmla="*/ 2325192 w 11625583"/>
              <a:gd name="connsiteY4965" fmla="*/ 1066709 h 6380470"/>
              <a:gd name="connsiteX4966" fmla="*/ 2389845 w 11625583"/>
              <a:gd name="connsiteY4966" fmla="*/ 1002044 h 6380470"/>
              <a:gd name="connsiteX4967" fmla="*/ 2237166 w 11625583"/>
              <a:gd name="connsiteY4967" fmla="*/ 1002044 h 6380470"/>
              <a:gd name="connsiteX4968" fmla="*/ 2301856 w 11625583"/>
              <a:gd name="connsiteY4968" fmla="*/ 1066709 h 6380470"/>
              <a:gd name="connsiteX4969" fmla="*/ 2237166 w 11625583"/>
              <a:gd name="connsiteY4969" fmla="*/ 1131375 h 6380470"/>
              <a:gd name="connsiteX4970" fmla="*/ 2172482 w 11625583"/>
              <a:gd name="connsiteY4970" fmla="*/ 1066709 h 6380470"/>
              <a:gd name="connsiteX4971" fmla="*/ 2237166 w 11625583"/>
              <a:gd name="connsiteY4971" fmla="*/ 1002044 h 6380470"/>
              <a:gd name="connsiteX4972" fmla="*/ 2084488 w 11625583"/>
              <a:gd name="connsiteY4972" fmla="*/ 1002044 h 6380470"/>
              <a:gd name="connsiteX4973" fmla="*/ 2149149 w 11625583"/>
              <a:gd name="connsiteY4973" fmla="*/ 1066709 h 6380470"/>
              <a:gd name="connsiteX4974" fmla="*/ 2084488 w 11625583"/>
              <a:gd name="connsiteY4974" fmla="*/ 1131375 h 6380470"/>
              <a:gd name="connsiteX4975" fmla="*/ 2019843 w 11625583"/>
              <a:gd name="connsiteY4975" fmla="*/ 1066709 h 6380470"/>
              <a:gd name="connsiteX4976" fmla="*/ 2084488 w 11625583"/>
              <a:gd name="connsiteY4976" fmla="*/ 1002044 h 6380470"/>
              <a:gd name="connsiteX4977" fmla="*/ 1927899 w 11625583"/>
              <a:gd name="connsiteY4977" fmla="*/ 1002044 h 6380470"/>
              <a:gd name="connsiteX4978" fmla="*/ 1992589 w 11625583"/>
              <a:gd name="connsiteY4978" fmla="*/ 1066709 h 6380470"/>
              <a:gd name="connsiteX4979" fmla="*/ 1927899 w 11625583"/>
              <a:gd name="connsiteY4979" fmla="*/ 1131375 h 6380470"/>
              <a:gd name="connsiteX4980" fmla="*/ 1863266 w 11625583"/>
              <a:gd name="connsiteY4980" fmla="*/ 1066709 h 6380470"/>
              <a:gd name="connsiteX4981" fmla="*/ 1927899 w 11625583"/>
              <a:gd name="connsiteY4981" fmla="*/ 1002044 h 6380470"/>
              <a:gd name="connsiteX4982" fmla="*/ 1775247 w 11625583"/>
              <a:gd name="connsiteY4982" fmla="*/ 1002044 h 6380470"/>
              <a:gd name="connsiteX4983" fmla="*/ 1839934 w 11625583"/>
              <a:gd name="connsiteY4983" fmla="*/ 1066709 h 6380470"/>
              <a:gd name="connsiteX4984" fmla="*/ 1775247 w 11625583"/>
              <a:gd name="connsiteY4984" fmla="*/ 1131375 h 6380470"/>
              <a:gd name="connsiteX4985" fmla="*/ 1710575 w 11625583"/>
              <a:gd name="connsiteY4985" fmla="*/ 1066709 h 6380470"/>
              <a:gd name="connsiteX4986" fmla="*/ 1775247 w 11625583"/>
              <a:gd name="connsiteY4986" fmla="*/ 1002044 h 6380470"/>
              <a:gd name="connsiteX4987" fmla="*/ 1618661 w 11625583"/>
              <a:gd name="connsiteY4987" fmla="*/ 1002044 h 6380470"/>
              <a:gd name="connsiteX4988" fmla="*/ 1683332 w 11625583"/>
              <a:gd name="connsiteY4988" fmla="*/ 1066709 h 6380470"/>
              <a:gd name="connsiteX4989" fmla="*/ 1618661 w 11625583"/>
              <a:gd name="connsiteY4989" fmla="*/ 1131375 h 6380470"/>
              <a:gd name="connsiteX4990" fmla="*/ 1554000 w 11625583"/>
              <a:gd name="connsiteY4990" fmla="*/ 1066709 h 6380470"/>
              <a:gd name="connsiteX4991" fmla="*/ 1618661 w 11625583"/>
              <a:gd name="connsiteY4991" fmla="*/ 1002044 h 6380470"/>
              <a:gd name="connsiteX4992" fmla="*/ 1466007 w 11625583"/>
              <a:gd name="connsiteY4992" fmla="*/ 1002044 h 6380470"/>
              <a:gd name="connsiteX4993" fmla="*/ 1530672 w 11625583"/>
              <a:gd name="connsiteY4993" fmla="*/ 1066709 h 6380470"/>
              <a:gd name="connsiteX4994" fmla="*/ 1466007 w 11625583"/>
              <a:gd name="connsiteY4994" fmla="*/ 1131375 h 6380470"/>
              <a:gd name="connsiteX4995" fmla="*/ 1401343 w 11625583"/>
              <a:gd name="connsiteY4995" fmla="*/ 1066709 h 6380470"/>
              <a:gd name="connsiteX4996" fmla="*/ 1466007 w 11625583"/>
              <a:gd name="connsiteY4996" fmla="*/ 1002044 h 6380470"/>
              <a:gd name="connsiteX4997" fmla="*/ 1309433 w 11625583"/>
              <a:gd name="connsiteY4997" fmla="*/ 1002044 h 6380470"/>
              <a:gd name="connsiteX4998" fmla="*/ 1374099 w 11625583"/>
              <a:gd name="connsiteY4998" fmla="*/ 1066709 h 6380470"/>
              <a:gd name="connsiteX4999" fmla="*/ 1309433 w 11625583"/>
              <a:gd name="connsiteY4999" fmla="*/ 1131375 h 6380470"/>
              <a:gd name="connsiteX5000" fmla="*/ 1244768 w 11625583"/>
              <a:gd name="connsiteY5000" fmla="*/ 1066709 h 6380470"/>
              <a:gd name="connsiteX5001" fmla="*/ 1309433 w 11625583"/>
              <a:gd name="connsiteY5001" fmla="*/ 1002044 h 6380470"/>
              <a:gd name="connsiteX5002" fmla="*/ 1148949 w 11625583"/>
              <a:gd name="connsiteY5002" fmla="*/ 1002044 h 6380470"/>
              <a:gd name="connsiteX5003" fmla="*/ 1213614 w 11625583"/>
              <a:gd name="connsiteY5003" fmla="*/ 1066709 h 6380470"/>
              <a:gd name="connsiteX5004" fmla="*/ 1148949 w 11625583"/>
              <a:gd name="connsiteY5004" fmla="*/ 1131375 h 6380470"/>
              <a:gd name="connsiteX5005" fmla="*/ 1084284 w 11625583"/>
              <a:gd name="connsiteY5005" fmla="*/ 1066709 h 6380470"/>
              <a:gd name="connsiteX5006" fmla="*/ 1148949 w 11625583"/>
              <a:gd name="connsiteY5006" fmla="*/ 1002044 h 6380470"/>
              <a:gd name="connsiteX5007" fmla="*/ 992376 w 11625583"/>
              <a:gd name="connsiteY5007" fmla="*/ 1002044 h 6380470"/>
              <a:gd name="connsiteX5008" fmla="*/ 1057041 w 11625583"/>
              <a:gd name="connsiteY5008" fmla="*/ 1066709 h 6380470"/>
              <a:gd name="connsiteX5009" fmla="*/ 992376 w 11625583"/>
              <a:gd name="connsiteY5009" fmla="*/ 1131375 h 6380470"/>
              <a:gd name="connsiteX5010" fmla="*/ 927711 w 11625583"/>
              <a:gd name="connsiteY5010" fmla="*/ 1066709 h 6380470"/>
              <a:gd name="connsiteX5011" fmla="*/ 992376 w 11625583"/>
              <a:gd name="connsiteY5011" fmla="*/ 1002044 h 6380470"/>
              <a:gd name="connsiteX5012" fmla="*/ 839721 w 11625583"/>
              <a:gd name="connsiteY5012" fmla="*/ 1002044 h 6380470"/>
              <a:gd name="connsiteX5013" fmla="*/ 904386 w 11625583"/>
              <a:gd name="connsiteY5013" fmla="*/ 1066709 h 6380470"/>
              <a:gd name="connsiteX5014" fmla="*/ 839721 w 11625583"/>
              <a:gd name="connsiteY5014" fmla="*/ 1131375 h 6380470"/>
              <a:gd name="connsiteX5015" fmla="*/ 775056 w 11625583"/>
              <a:gd name="connsiteY5015" fmla="*/ 1066709 h 6380470"/>
              <a:gd name="connsiteX5016" fmla="*/ 839721 w 11625583"/>
              <a:gd name="connsiteY5016" fmla="*/ 1002044 h 6380470"/>
              <a:gd name="connsiteX5017" fmla="*/ 683148 w 11625583"/>
              <a:gd name="connsiteY5017" fmla="*/ 1002044 h 6380470"/>
              <a:gd name="connsiteX5018" fmla="*/ 747813 w 11625583"/>
              <a:gd name="connsiteY5018" fmla="*/ 1066709 h 6380470"/>
              <a:gd name="connsiteX5019" fmla="*/ 683148 w 11625583"/>
              <a:gd name="connsiteY5019" fmla="*/ 1131375 h 6380470"/>
              <a:gd name="connsiteX5020" fmla="*/ 618483 w 11625583"/>
              <a:gd name="connsiteY5020" fmla="*/ 1066709 h 6380470"/>
              <a:gd name="connsiteX5021" fmla="*/ 683148 w 11625583"/>
              <a:gd name="connsiteY5021" fmla="*/ 1002044 h 6380470"/>
              <a:gd name="connsiteX5022" fmla="*/ 11560917 w 11625583"/>
              <a:gd name="connsiteY5022" fmla="*/ 1002040 h 6380470"/>
              <a:gd name="connsiteX5023" fmla="*/ 11625583 w 11625583"/>
              <a:gd name="connsiteY5023" fmla="*/ 1066706 h 6380470"/>
              <a:gd name="connsiteX5024" fmla="*/ 11560917 w 11625583"/>
              <a:gd name="connsiteY5024" fmla="*/ 1131374 h 6380470"/>
              <a:gd name="connsiteX5025" fmla="*/ 11496251 w 11625583"/>
              <a:gd name="connsiteY5025" fmla="*/ 1066706 h 6380470"/>
              <a:gd name="connsiteX5026" fmla="*/ 11560917 w 11625583"/>
              <a:gd name="connsiteY5026" fmla="*/ 1002040 h 6380470"/>
              <a:gd name="connsiteX5027" fmla="*/ 11404343 w 11625583"/>
              <a:gd name="connsiteY5027" fmla="*/ 1002040 h 6380470"/>
              <a:gd name="connsiteX5028" fmla="*/ 11469009 w 11625583"/>
              <a:gd name="connsiteY5028" fmla="*/ 1066706 h 6380470"/>
              <a:gd name="connsiteX5029" fmla="*/ 11404343 w 11625583"/>
              <a:gd name="connsiteY5029" fmla="*/ 1131374 h 6380470"/>
              <a:gd name="connsiteX5030" fmla="*/ 11339677 w 11625583"/>
              <a:gd name="connsiteY5030" fmla="*/ 1066706 h 6380470"/>
              <a:gd name="connsiteX5031" fmla="*/ 11404343 w 11625583"/>
              <a:gd name="connsiteY5031" fmla="*/ 1002040 h 6380470"/>
              <a:gd name="connsiteX5032" fmla="*/ 11251683 w 11625583"/>
              <a:gd name="connsiteY5032" fmla="*/ 1002040 h 6380470"/>
              <a:gd name="connsiteX5033" fmla="*/ 11316349 w 11625583"/>
              <a:gd name="connsiteY5033" fmla="*/ 1066706 h 6380470"/>
              <a:gd name="connsiteX5034" fmla="*/ 11251683 w 11625583"/>
              <a:gd name="connsiteY5034" fmla="*/ 1131374 h 6380470"/>
              <a:gd name="connsiteX5035" fmla="*/ 11187017 w 11625583"/>
              <a:gd name="connsiteY5035" fmla="*/ 1066706 h 6380470"/>
              <a:gd name="connsiteX5036" fmla="*/ 11251683 w 11625583"/>
              <a:gd name="connsiteY5036" fmla="*/ 1002040 h 6380470"/>
              <a:gd name="connsiteX5037" fmla="*/ 526568 w 11625583"/>
              <a:gd name="connsiteY5037" fmla="*/ 1002040 h 6380470"/>
              <a:gd name="connsiteX5038" fmla="*/ 591233 w 11625583"/>
              <a:gd name="connsiteY5038" fmla="*/ 1066706 h 6380470"/>
              <a:gd name="connsiteX5039" fmla="*/ 526568 w 11625583"/>
              <a:gd name="connsiteY5039" fmla="*/ 1131374 h 6380470"/>
              <a:gd name="connsiteX5040" fmla="*/ 461903 w 11625583"/>
              <a:gd name="connsiteY5040" fmla="*/ 1066706 h 6380470"/>
              <a:gd name="connsiteX5041" fmla="*/ 526568 w 11625583"/>
              <a:gd name="connsiteY5041" fmla="*/ 1002040 h 6380470"/>
              <a:gd name="connsiteX5042" fmla="*/ 373912 w 11625583"/>
              <a:gd name="connsiteY5042" fmla="*/ 1002040 h 6380470"/>
              <a:gd name="connsiteX5043" fmla="*/ 438577 w 11625583"/>
              <a:gd name="connsiteY5043" fmla="*/ 1066706 h 6380470"/>
              <a:gd name="connsiteX5044" fmla="*/ 373912 w 11625583"/>
              <a:gd name="connsiteY5044" fmla="*/ 1131374 h 6380470"/>
              <a:gd name="connsiteX5045" fmla="*/ 309247 w 11625583"/>
              <a:gd name="connsiteY5045" fmla="*/ 1066706 h 6380470"/>
              <a:gd name="connsiteX5046" fmla="*/ 373912 w 11625583"/>
              <a:gd name="connsiteY5046" fmla="*/ 1002040 h 6380470"/>
              <a:gd name="connsiteX5047" fmla="*/ 217342 w 11625583"/>
              <a:gd name="connsiteY5047" fmla="*/ 1002040 h 6380470"/>
              <a:gd name="connsiteX5048" fmla="*/ 282007 w 11625583"/>
              <a:gd name="connsiteY5048" fmla="*/ 1066706 h 6380470"/>
              <a:gd name="connsiteX5049" fmla="*/ 217342 w 11625583"/>
              <a:gd name="connsiteY5049" fmla="*/ 1131374 h 6380470"/>
              <a:gd name="connsiteX5050" fmla="*/ 152676 w 11625583"/>
              <a:gd name="connsiteY5050" fmla="*/ 1066706 h 6380470"/>
              <a:gd name="connsiteX5051" fmla="*/ 217342 w 11625583"/>
              <a:gd name="connsiteY5051" fmla="*/ 1002040 h 6380470"/>
              <a:gd name="connsiteX5052" fmla="*/ 992384 w 11625583"/>
              <a:gd name="connsiteY5052" fmla="*/ 849416 h 6380470"/>
              <a:gd name="connsiteX5053" fmla="*/ 1057050 w 11625583"/>
              <a:gd name="connsiteY5053" fmla="*/ 914081 h 6380470"/>
              <a:gd name="connsiteX5054" fmla="*/ 992384 w 11625583"/>
              <a:gd name="connsiteY5054" fmla="*/ 978717 h 6380470"/>
              <a:gd name="connsiteX5055" fmla="*/ 927719 w 11625583"/>
              <a:gd name="connsiteY5055" fmla="*/ 914081 h 6380470"/>
              <a:gd name="connsiteX5056" fmla="*/ 992384 w 11625583"/>
              <a:gd name="connsiteY5056" fmla="*/ 849416 h 6380470"/>
              <a:gd name="connsiteX5057" fmla="*/ 839729 w 11625583"/>
              <a:gd name="connsiteY5057" fmla="*/ 849416 h 6380470"/>
              <a:gd name="connsiteX5058" fmla="*/ 904394 w 11625583"/>
              <a:gd name="connsiteY5058" fmla="*/ 914081 h 6380470"/>
              <a:gd name="connsiteX5059" fmla="*/ 839729 w 11625583"/>
              <a:gd name="connsiteY5059" fmla="*/ 978717 h 6380470"/>
              <a:gd name="connsiteX5060" fmla="*/ 775064 w 11625583"/>
              <a:gd name="connsiteY5060" fmla="*/ 914081 h 6380470"/>
              <a:gd name="connsiteX5061" fmla="*/ 839729 w 11625583"/>
              <a:gd name="connsiteY5061" fmla="*/ 849416 h 6380470"/>
              <a:gd name="connsiteX5062" fmla="*/ 683158 w 11625583"/>
              <a:gd name="connsiteY5062" fmla="*/ 849416 h 6380470"/>
              <a:gd name="connsiteX5063" fmla="*/ 747824 w 11625583"/>
              <a:gd name="connsiteY5063" fmla="*/ 914081 h 6380470"/>
              <a:gd name="connsiteX5064" fmla="*/ 683158 w 11625583"/>
              <a:gd name="connsiteY5064" fmla="*/ 978717 h 6380470"/>
              <a:gd name="connsiteX5065" fmla="*/ 618493 w 11625583"/>
              <a:gd name="connsiteY5065" fmla="*/ 914081 h 6380470"/>
              <a:gd name="connsiteX5066" fmla="*/ 683158 w 11625583"/>
              <a:gd name="connsiteY5066" fmla="*/ 849416 h 6380470"/>
              <a:gd name="connsiteX5067" fmla="*/ 7677904 w 11625583"/>
              <a:gd name="connsiteY5067" fmla="*/ 849415 h 6380470"/>
              <a:gd name="connsiteX5068" fmla="*/ 7742570 w 11625583"/>
              <a:gd name="connsiteY5068" fmla="*/ 914080 h 6380470"/>
              <a:gd name="connsiteX5069" fmla="*/ 7677904 w 11625583"/>
              <a:gd name="connsiteY5069" fmla="*/ 978717 h 6380470"/>
              <a:gd name="connsiteX5070" fmla="*/ 7613238 w 11625583"/>
              <a:gd name="connsiteY5070" fmla="*/ 914080 h 6380470"/>
              <a:gd name="connsiteX5071" fmla="*/ 7677904 w 11625583"/>
              <a:gd name="connsiteY5071" fmla="*/ 849415 h 6380470"/>
              <a:gd name="connsiteX5072" fmla="*/ 7521331 w 11625583"/>
              <a:gd name="connsiteY5072" fmla="*/ 849415 h 6380470"/>
              <a:gd name="connsiteX5073" fmla="*/ 7585997 w 11625583"/>
              <a:gd name="connsiteY5073" fmla="*/ 914080 h 6380470"/>
              <a:gd name="connsiteX5074" fmla="*/ 7521331 w 11625583"/>
              <a:gd name="connsiteY5074" fmla="*/ 978717 h 6380470"/>
              <a:gd name="connsiteX5075" fmla="*/ 7456665 w 11625583"/>
              <a:gd name="connsiteY5075" fmla="*/ 914080 h 6380470"/>
              <a:gd name="connsiteX5076" fmla="*/ 7521331 w 11625583"/>
              <a:gd name="connsiteY5076" fmla="*/ 849415 h 6380470"/>
              <a:gd name="connsiteX5077" fmla="*/ 7368669 w 11625583"/>
              <a:gd name="connsiteY5077" fmla="*/ 849415 h 6380470"/>
              <a:gd name="connsiteX5078" fmla="*/ 7433335 w 11625583"/>
              <a:gd name="connsiteY5078" fmla="*/ 914080 h 6380470"/>
              <a:gd name="connsiteX5079" fmla="*/ 7368669 w 11625583"/>
              <a:gd name="connsiteY5079" fmla="*/ 978717 h 6380470"/>
              <a:gd name="connsiteX5080" fmla="*/ 7304003 w 11625583"/>
              <a:gd name="connsiteY5080" fmla="*/ 914080 h 6380470"/>
              <a:gd name="connsiteX5081" fmla="*/ 7368669 w 11625583"/>
              <a:gd name="connsiteY5081" fmla="*/ 849415 h 6380470"/>
              <a:gd name="connsiteX5082" fmla="*/ 7212096 w 11625583"/>
              <a:gd name="connsiteY5082" fmla="*/ 849415 h 6380470"/>
              <a:gd name="connsiteX5083" fmla="*/ 7276762 w 11625583"/>
              <a:gd name="connsiteY5083" fmla="*/ 914080 h 6380470"/>
              <a:gd name="connsiteX5084" fmla="*/ 7212096 w 11625583"/>
              <a:gd name="connsiteY5084" fmla="*/ 978717 h 6380470"/>
              <a:gd name="connsiteX5085" fmla="*/ 7147430 w 11625583"/>
              <a:gd name="connsiteY5085" fmla="*/ 914080 h 6380470"/>
              <a:gd name="connsiteX5086" fmla="*/ 7212096 w 11625583"/>
              <a:gd name="connsiteY5086" fmla="*/ 849415 h 6380470"/>
              <a:gd name="connsiteX5087" fmla="*/ 6585804 w 11625583"/>
              <a:gd name="connsiteY5087" fmla="*/ 849415 h 6380470"/>
              <a:gd name="connsiteX5088" fmla="*/ 6650470 w 11625583"/>
              <a:gd name="connsiteY5088" fmla="*/ 914080 h 6380470"/>
              <a:gd name="connsiteX5089" fmla="*/ 6585804 w 11625583"/>
              <a:gd name="connsiteY5089" fmla="*/ 978717 h 6380470"/>
              <a:gd name="connsiteX5090" fmla="*/ 6521138 w 11625583"/>
              <a:gd name="connsiteY5090" fmla="*/ 914080 h 6380470"/>
              <a:gd name="connsiteX5091" fmla="*/ 6585804 w 11625583"/>
              <a:gd name="connsiteY5091" fmla="*/ 849415 h 6380470"/>
              <a:gd name="connsiteX5092" fmla="*/ 6429229 w 11625583"/>
              <a:gd name="connsiteY5092" fmla="*/ 849415 h 6380470"/>
              <a:gd name="connsiteX5093" fmla="*/ 6493895 w 11625583"/>
              <a:gd name="connsiteY5093" fmla="*/ 914080 h 6380470"/>
              <a:gd name="connsiteX5094" fmla="*/ 6429229 w 11625583"/>
              <a:gd name="connsiteY5094" fmla="*/ 978717 h 6380470"/>
              <a:gd name="connsiteX5095" fmla="*/ 6364563 w 11625583"/>
              <a:gd name="connsiteY5095" fmla="*/ 914080 h 6380470"/>
              <a:gd name="connsiteX5096" fmla="*/ 6429229 w 11625583"/>
              <a:gd name="connsiteY5096" fmla="*/ 849415 h 6380470"/>
              <a:gd name="connsiteX5097" fmla="*/ 6276571 w 11625583"/>
              <a:gd name="connsiteY5097" fmla="*/ 849415 h 6380470"/>
              <a:gd name="connsiteX5098" fmla="*/ 6341237 w 11625583"/>
              <a:gd name="connsiteY5098" fmla="*/ 914080 h 6380470"/>
              <a:gd name="connsiteX5099" fmla="*/ 6276571 w 11625583"/>
              <a:gd name="connsiteY5099" fmla="*/ 978717 h 6380470"/>
              <a:gd name="connsiteX5100" fmla="*/ 6211905 w 11625583"/>
              <a:gd name="connsiteY5100" fmla="*/ 914080 h 6380470"/>
              <a:gd name="connsiteX5101" fmla="*/ 6276571 w 11625583"/>
              <a:gd name="connsiteY5101" fmla="*/ 849415 h 6380470"/>
              <a:gd name="connsiteX5102" fmla="*/ 6119999 w 11625583"/>
              <a:gd name="connsiteY5102" fmla="*/ 849415 h 6380470"/>
              <a:gd name="connsiteX5103" fmla="*/ 6184665 w 11625583"/>
              <a:gd name="connsiteY5103" fmla="*/ 914080 h 6380470"/>
              <a:gd name="connsiteX5104" fmla="*/ 6119999 w 11625583"/>
              <a:gd name="connsiteY5104" fmla="*/ 978717 h 6380470"/>
              <a:gd name="connsiteX5105" fmla="*/ 6055333 w 11625583"/>
              <a:gd name="connsiteY5105" fmla="*/ 914080 h 6380470"/>
              <a:gd name="connsiteX5106" fmla="*/ 6119999 w 11625583"/>
              <a:gd name="connsiteY5106" fmla="*/ 849415 h 6380470"/>
              <a:gd name="connsiteX5107" fmla="*/ 5967339 w 11625583"/>
              <a:gd name="connsiteY5107" fmla="*/ 849415 h 6380470"/>
              <a:gd name="connsiteX5108" fmla="*/ 6032005 w 11625583"/>
              <a:gd name="connsiteY5108" fmla="*/ 914080 h 6380470"/>
              <a:gd name="connsiteX5109" fmla="*/ 5967339 w 11625583"/>
              <a:gd name="connsiteY5109" fmla="*/ 978717 h 6380470"/>
              <a:gd name="connsiteX5110" fmla="*/ 5902673 w 11625583"/>
              <a:gd name="connsiteY5110" fmla="*/ 914080 h 6380470"/>
              <a:gd name="connsiteX5111" fmla="*/ 5967339 w 11625583"/>
              <a:gd name="connsiteY5111" fmla="*/ 849415 h 6380470"/>
              <a:gd name="connsiteX5112" fmla="*/ 4566030 w 11625583"/>
              <a:gd name="connsiteY5112" fmla="*/ 849415 h 6380470"/>
              <a:gd name="connsiteX5113" fmla="*/ 4630712 w 11625583"/>
              <a:gd name="connsiteY5113" fmla="*/ 914081 h 6380470"/>
              <a:gd name="connsiteX5114" fmla="*/ 4566030 w 11625583"/>
              <a:gd name="connsiteY5114" fmla="*/ 978717 h 6380470"/>
              <a:gd name="connsiteX5115" fmla="*/ 4501345 w 11625583"/>
              <a:gd name="connsiteY5115" fmla="*/ 914081 h 6380470"/>
              <a:gd name="connsiteX5116" fmla="*/ 4566030 w 11625583"/>
              <a:gd name="connsiteY5116" fmla="*/ 849415 h 6380470"/>
              <a:gd name="connsiteX5117" fmla="*/ 4409471 w 11625583"/>
              <a:gd name="connsiteY5117" fmla="*/ 849415 h 6380470"/>
              <a:gd name="connsiteX5118" fmla="*/ 4474113 w 11625583"/>
              <a:gd name="connsiteY5118" fmla="*/ 914081 h 6380470"/>
              <a:gd name="connsiteX5119" fmla="*/ 4409471 w 11625583"/>
              <a:gd name="connsiteY5119" fmla="*/ 978717 h 6380470"/>
              <a:gd name="connsiteX5120" fmla="*/ 4344809 w 11625583"/>
              <a:gd name="connsiteY5120" fmla="*/ 914081 h 6380470"/>
              <a:gd name="connsiteX5121" fmla="*/ 4409471 w 11625583"/>
              <a:gd name="connsiteY5121" fmla="*/ 849415 h 6380470"/>
              <a:gd name="connsiteX5122" fmla="*/ 4256823 w 11625583"/>
              <a:gd name="connsiteY5122" fmla="*/ 849415 h 6380470"/>
              <a:gd name="connsiteX5123" fmla="*/ 4321471 w 11625583"/>
              <a:gd name="connsiteY5123" fmla="*/ 914081 h 6380470"/>
              <a:gd name="connsiteX5124" fmla="*/ 4256823 w 11625583"/>
              <a:gd name="connsiteY5124" fmla="*/ 978717 h 6380470"/>
              <a:gd name="connsiteX5125" fmla="*/ 4192125 w 11625583"/>
              <a:gd name="connsiteY5125" fmla="*/ 914081 h 6380470"/>
              <a:gd name="connsiteX5126" fmla="*/ 4256823 w 11625583"/>
              <a:gd name="connsiteY5126" fmla="*/ 849415 h 6380470"/>
              <a:gd name="connsiteX5127" fmla="*/ 4100249 w 11625583"/>
              <a:gd name="connsiteY5127" fmla="*/ 849415 h 6380470"/>
              <a:gd name="connsiteX5128" fmla="*/ 4164920 w 11625583"/>
              <a:gd name="connsiteY5128" fmla="*/ 914081 h 6380470"/>
              <a:gd name="connsiteX5129" fmla="*/ 4100249 w 11625583"/>
              <a:gd name="connsiteY5129" fmla="*/ 978717 h 6380470"/>
              <a:gd name="connsiteX5130" fmla="*/ 4035594 w 11625583"/>
              <a:gd name="connsiteY5130" fmla="*/ 914081 h 6380470"/>
              <a:gd name="connsiteX5131" fmla="*/ 4100249 w 11625583"/>
              <a:gd name="connsiteY5131" fmla="*/ 849415 h 6380470"/>
              <a:gd name="connsiteX5132" fmla="*/ 3947579 w 11625583"/>
              <a:gd name="connsiteY5132" fmla="*/ 849415 h 6380470"/>
              <a:gd name="connsiteX5133" fmla="*/ 4012257 w 11625583"/>
              <a:gd name="connsiteY5133" fmla="*/ 914081 h 6380470"/>
              <a:gd name="connsiteX5134" fmla="*/ 3947579 w 11625583"/>
              <a:gd name="connsiteY5134" fmla="*/ 978717 h 6380470"/>
              <a:gd name="connsiteX5135" fmla="*/ 3883050 w 11625583"/>
              <a:gd name="connsiteY5135" fmla="*/ 914081 h 6380470"/>
              <a:gd name="connsiteX5136" fmla="*/ 3947579 w 11625583"/>
              <a:gd name="connsiteY5136" fmla="*/ 849415 h 6380470"/>
              <a:gd name="connsiteX5137" fmla="*/ 3321438 w 11625583"/>
              <a:gd name="connsiteY5137" fmla="*/ 849415 h 6380470"/>
              <a:gd name="connsiteX5138" fmla="*/ 3386080 w 11625583"/>
              <a:gd name="connsiteY5138" fmla="*/ 914081 h 6380470"/>
              <a:gd name="connsiteX5139" fmla="*/ 3321438 w 11625583"/>
              <a:gd name="connsiteY5139" fmla="*/ 978717 h 6380470"/>
              <a:gd name="connsiteX5140" fmla="*/ 3256776 w 11625583"/>
              <a:gd name="connsiteY5140" fmla="*/ 914081 h 6380470"/>
              <a:gd name="connsiteX5141" fmla="*/ 3321438 w 11625583"/>
              <a:gd name="connsiteY5141" fmla="*/ 849415 h 6380470"/>
              <a:gd name="connsiteX5142" fmla="*/ 3172684 w 11625583"/>
              <a:gd name="connsiteY5142" fmla="*/ 849415 h 6380470"/>
              <a:gd name="connsiteX5143" fmla="*/ 3237355 w 11625583"/>
              <a:gd name="connsiteY5143" fmla="*/ 914081 h 6380470"/>
              <a:gd name="connsiteX5144" fmla="*/ 3172684 w 11625583"/>
              <a:gd name="connsiteY5144" fmla="*/ 978717 h 6380470"/>
              <a:gd name="connsiteX5145" fmla="*/ 3107997 w 11625583"/>
              <a:gd name="connsiteY5145" fmla="*/ 914081 h 6380470"/>
              <a:gd name="connsiteX5146" fmla="*/ 3172684 w 11625583"/>
              <a:gd name="connsiteY5146" fmla="*/ 849415 h 6380470"/>
              <a:gd name="connsiteX5147" fmla="*/ 3012161 w 11625583"/>
              <a:gd name="connsiteY5147" fmla="*/ 849415 h 6380470"/>
              <a:gd name="connsiteX5148" fmla="*/ 3076833 w 11625583"/>
              <a:gd name="connsiteY5148" fmla="*/ 914081 h 6380470"/>
              <a:gd name="connsiteX5149" fmla="*/ 3012161 w 11625583"/>
              <a:gd name="connsiteY5149" fmla="*/ 978717 h 6380470"/>
              <a:gd name="connsiteX5150" fmla="*/ 2947506 w 11625583"/>
              <a:gd name="connsiteY5150" fmla="*/ 914081 h 6380470"/>
              <a:gd name="connsiteX5151" fmla="*/ 3012161 w 11625583"/>
              <a:gd name="connsiteY5151" fmla="*/ 849415 h 6380470"/>
              <a:gd name="connsiteX5152" fmla="*/ 2855618 w 11625583"/>
              <a:gd name="connsiteY5152" fmla="*/ 849415 h 6380470"/>
              <a:gd name="connsiteX5153" fmla="*/ 2920269 w 11625583"/>
              <a:gd name="connsiteY5153" fmla="*/ 914081 h 6380470"/>
              <a:gd name="connsiteX5154" fmla="*/ 2855618 w 11625583"/>
              <a:gd name="connsiteY5154" fmla="*/ 978717 h 6380470"/>
              <a:gd name="connsiteX5155" fmla="*/ 2790958 w 11625583"/>
              <a:gd name="connsiteY5155" fmla="*/ 914081 h 6380470"/>
              <a:gd name="connsiteX5156" fmla="*/ 2855618 w 11625583"/>
              <a:gd name="connsiteY5156" fmla="*/ 849415 h 6380470"/>
              <a:gd name="connsiteX5157" fmla="*/ 2699069 w 11625583"/>
              <a:gd name="connsiteY5157" fmla="*/ 849415 h 6380470"/>
              <a:gd name="connsiteX5158" fmla="*/ 2763723 w 11625583"/>
              <a:gd name="connsiteY5158" fmla="*/ 914081 h 6380470"/>
              <a:gd name="connsiteX5159" fmla="*/ 2699069 w 11625583"/>
              <a:gd name="connsiteY5159" fmla="*/ 978717 h 6380470"/>
              <a:gd name="connsiteX5160" fmla="*/ 2634414 w 11625583"/>
              <a:gd name="connsiteY5160" fmla="*/ 914081 h 6380470"/>
              <a:gd name="connsiteX5161" fmla="*/ 2699069 w 11625583"/>
              <a:gd name="connsiteY5161" fmla="*/ 849415 h 6380470"/>
              <a:gd name="connsiteX5162" fmla="*/ 2546436 w 11625583"/>
              <a:gd name="connsiteY5162" fmla="*/ 849415 h 6380470"/>
              <a:gd name="connsiteX5163" fmla="*/ 2611091 w 11625583"/>
              <a:gd name="connsiteY5163" fmla="*/ 914081 h 6380470"/>
              <a:gd name="connsiteX5164" fmla="*/ 2546436 w 11625583"/>
              <a:gd name="connsiteY5164" fmla="*/ 978717 h 6380470"/>
              <a:gd name="connsiteX5165" fmla="*/ 2481777 w 11625583"/>
              <a:gd name="connsiteY5165" fmla="*/ 914081 h 6380470"/>
              <a:gd name="connsiteX5166" fmla="*/ 2546436 w 11625583"/>
              <a:gd name="connsiteY5166" fmla="*/ 849415 h 6380470"/>
              <a:gd name="connsiteX5167" fmla="*/ 2389845 w 11625583"/>
              <a:gd name="connsiteY5167" fmla="*/ 849415 h 6380470"/>
              <a:gd name="connsiteX5168" fmla="*/ 2454543 w 11625583"/>
              <a:gd name="connsiteY5168" fmla="*/ 914081 h 6380470"/>
              <a:gd name="connsiteX5169" fmla="*/ 2389845 w 11625583"/>
              <a:gd name="connsiteY5169" fmla="*/ 978717 h 6380470"/>
              <a:gd name="connsiteX5170" fmla="*/ 2325205 w 11625583"/>
              <a:gd name="connsiteY5170" fmla="*/ 914081 h 6380470"/>
              <a:gd name="connsiteX5171" fmla="*/ 2389845 w 11625583"/>
              <a:gd name="connsiteY5171" fmla="*/ 849415 h 6380470"/>
              <a:gd name="connsiteX5172" fmla="*/ 2237181 w 11625583"/>
              <a:gd name="connsiteY5172" fmla="*/ 849415 h 6380470"/>
              <a:gd name="connsiteX5173" fmla="*/ 2301870 w 11625583"/>
              <a:gd name="connsiteY5173" fmla="*/ 914081 h 6380470"/>
              <a:gd name="connsiteX5174" fmla="*/ 2237181 w 11625583"/>
              <a:gd name="connsiteY5174" fmla="*/ 978717 h 6380470"/>
              <a:gd name="connsiteX5175" fmla="*/ 2172494 w 11625583"/>
              <a:gd name="connsiteY5175" fmla="*/ 914081 h 6380470"/>
              <a:gd name="connsiteX5176" fmla="*/ 2237181 w 11625583"/>
              <a:gd name="connsiteY5176" fmla="*/ 849415 h 6380470"/>
              <a:gd name="connsiteX5177" fmla="*/ 2084492 w 11625583"/>
              <a:gd name="connsiteY5177" fmla="*/ 849415 h 6380470"/>
              <a:gd name="connsiteX5178" fmla="*/ 2149161 w 11625583"/>
              <a:gd name="connsiteY5178" fmla="*/ 914081 h 6380470"/>
              <a:gd name="connsiteX5179" fmla="*/ 2084492 w 11625583"/>
              <a:gd name="connsiteY5179" fmla="*/ 978717 h 6380470"/>
              <a:gd name="connsiteX5180" fmla="*/ 2019859 w 11625583"/>
              <a:gd name="connsiteY5180" fmla="*/ 914081 h 6380470"/>
              <a:gd name="connsiteX5181" fmla="*/ 2084492 w 11625583"/>
              <a:gd name="connsiteY5181" fmla="*/ 849415 h 6380470"/>
              <a:gd name="connsiteX5182" fmla="*/ 1927912 w 11625583"/>
              <a:gd name="connsiteY5182" fmla="*/ 849415 h 6380470"/>
              <a:gd name="connsiteX5183" fmla="*/ 1992599 w 11625583"/>
              <a:gd name="connsiteY5183" fmla="*/ 914081 h 6380470"/>
              <a:gd name="connsiteX5184" fmla="*/ 1927912 w 11625583"/>
              <a:gd name="connsiteY5184" fmla="*/ 978717 h 6380470"/>
              <a:gd name="connsiteX5185" fmla="*/ 1863278 w 11625583"/>
              <a:gd name="connsiteY5185" fmla="*/ 914081 h 6380470"/>
              <a:gd name="connsiteX5186" fmla="*/ 1927912 w 11625583"/>
              <a:gd name="connsiteY5186" fmla="*/ 849415 h 6380470"/>
              <a:gd name="connsiteX5187" fmla="*/ 1775257 w 11625583"/>
              <a:gd name="connsiteY5187" fmla="*/ 849415 h 6380470"/>
              <a:gd name="connsiteX5188" fmla="*/ 1839946 w 11625583"/>
              <a:gd name="connsiteY5188" fmla="*/ 914081 h 6380470"/>
              <a:gd name="connsiteX5189" fmla="*/ 1775257 w 11625583"/>
              <a:gd name="connsiteY5189" fmla="*/ 978717 h 6380470"/>
              <a:gd name="connsiteX5190" fmla="*/ 1710583 w 11625583"/>
              <a:gd name="connsiteY5190" fmla="*/ 914081 h 6380470"/>
              <a:gd name="connsiteX5191" fmla="*/ 1775257 w 11625583"/>
              <a:gd name="connsiteY5191" fmla="*/ 849415 h 6380470"/>
              <a:gd name="connsiteX5192" fmla="*/ 1618671 w 11625583"/>
              <a:gd name="connsiteY5192" fmla="*/ 849415 h 6380470"/>
              <a:gd name="connsiteX5193" fmla="*/ 1683342 w 11625583"/>
              <a:gd name="connsiteY5193" fmla="*/ 914081 h 6380470"/>
              <a:gd name="connsiteX5194" fmla="*/ 1618671 w 11625583"/>
              <a:gd name="connsiteY5194" fmla="*/ 978717 h 6380470"/>
              <a:gd name="connsiteX5195" fmla="*/ 1554009 w 11625583"/>
              <a:gd name="connsiteY5195" fmla="*/ 914081 h 6380470"/>
              <a:gd name="connsiteX5196" fmla="*/ 1618671 w 11625583"/>
              <a:gd name="connsiteY5196" fmla="*/ 849415 h 6380470"/>
              <a:gd name="connsiteX5197" fmla="*/ 1466016 w 11625583"/>
              <a:gd name="connsiteY5197" fmla="*/ 849415 h 6380470"/>
              <a:gd name="connsiteX5198" fmla="*/ 1530681 w 11625583"/>
              <a:gd name="connsiteY5198" fmla="*/ 914081 h 6380470"/>
              <a:gd name="connsiteX5199" fmla="*/ 1466016 w 11625583"/>
              <a:gd name="connsiteY5199" fmla="*/ 978717 h 6380470"/>
              <a:gd name="connsiteX5200" fmla="*/ 1401353 w 11625583"/>
              <a:gd name="connsiteY5200" fmla="*/ 914081 h 6380470"/>
              <a:gd name="connsiteX5201" fmla="*/ 1466016 w 11625583"/>
              <a:gd name="connsiteY5201" fmla="*/ 849415 h 6380470"/>
              <a:gd name="connsiteX5202" fmla="*/ 1309444 w 11625583"/>
              <a:gd name="connsiteY5202" fmla="*/ 849415 h 6380470"/>
              <a:gd name="connsiteX5203" fmla="*/ 1374109 w 11625583"/>
              <a:gd name="connsiteY5203" fmla="*/ 914081 h 6380470"/>
              <a:gd name="connsiteX5204" fmla="*/ 1309444 w 11625583"/>
              <a:gd name="connsiteY5204" fmla="*/ 978717 h 6380470"/>
              <a:gd name="connsiteX5205" fmla="*/ 1244778 w 11625583"/>
              <a:gd name="connsiteY5205" fmla="*/ 914081 h 6380470"/>
              <a:gd name="connsiteX5206" fmla="*/ 1309444 w 11625583"/>
              <a:gd name="connsiteY5206" fmla="*/ 849415 h 6380470"/>
              <a:gd name="connsiteX5207" fmla="*/ 1148959 w 11625583"/>
              <a:gd name="connsiteY5207" fmla="*/ 849415 h 6380470"/>
              <a:gd name="connsiteX5208" fmla="*/ 1213624 w 11625583"/>
              <a:gd name="connsiteY5208" fmla="*/ 914081 h 6380470"/>
              <a:gd name="connsiteX5209" fmla="*/ 1148959 w 11625583"/>
              <a:gd name="connsiteY5209" fmla="*/ 978717 h 6380470"/>
              <a:gd name="connsiteX5210" fmla="*/ 1084294 w 11625583"/>
              <a:gd name="connsiteY5210" fmla="*/ 914081 h 6380470"/>
              <a:gd name="connsiteX5211" fmla="*/ 1148959 w 11625583"/>
              <a:gd name="connsiteY5211" fmla="*/ 849415 h 6380470"/>
              <a:gd name="connsiteX5212" fmla="*/ 10625392 w 11625583"/>
              <a:gd name="connsiteY5212" fmla="*/ 849414 h 6380470"/>
              <a:gd name="connsiteX5213" fmla="*/ 10690058 w 11625583"/>
              <a:gd name="connsiteY5213" fmla="*/ 914079 h 6380470"/>
              <a:gd name="connsiteX5214" fmla="*/ 10625392 w 11625583"/>
              <a:gd name="connsiteY5214" fmla="*/ 978717 h 6380470"/>
              <a:gd name="connsiteX5215" fmla="*/ 10560726 w 11625583"/>
              <a:gd name="connsiteY5215" fmla="*/ 914079 h 6380470"/>
              <a:gd name="connsiteX5216" fmla="*/ 10625392 w 11625583"/>
              <a:gd name="connsiteY5216" fmla="*/ 849414 h 6380470"/>
              <a:gd name="connsiteX5217" fmla="*/ 10468818 w 11625583"/>
              <a:gd name="connsiteY5217" fmla="*/ 849414 h 6380470"/>
              <a:gd name="connsiteX5218" fmla="*/ 10533484 w 11625583"/>
              <a:gd name="connsiteY5218" fmla="*/ 914079 h 6380470"/>
              <a:gd name="connsiteX5219" fmla="*/ 10468818 w 11625583"/>
              <a:gd name="connsiteY5219" fmla="*/ 978717 h 6380470"/>
              <a:gd name="connsiteX5220" fmla="*/ 10404152 w 11625583"/>
              <a:gd name="connsiteY5220" fmla="*/ 914079 h 6380470"/>
              <a:gd name="connsiteX5221" fmla="*/ 10468818 w 11625583"/>
              <a:gd name="connsiteY5221" fmla="*/ 849414 h 6380470"/>
              <a:gd name="connsiteX5222" fmla="*/ 10312244 w 11625583"/>
              <a:gd name="connsiteY5222" fmla="*/ 849414 h 6380470"/>
              <a:gd name="connsiteX5223" fmla="*/ 10376910 w 11625583"/>
              <a:gd name="connsiteY5223" fmla="*/ 914079 h 6380470"/>
              <a:gd name="connsiteX5224" fmla="*/ 10312244 w 11625583"/>
              <a:gd name="connsiteY5224" fmla="*/ 978717 h 6380470"/>
              <a:gd name="connsiteX5225" fmla="*/ 10247578 w 11625583"/>
              <a:gd name="connsiteY5225" fmla="*/ 914079 h 6380470"/>
              <a:gd name="connsiteX5226" fmla="*/ 10312244 w 11625583"/>
              <a:gd name="connsiteY5226" fmla="*/ 849414 h 6380470"/>
              <a:gd name="connsiteX5227" fmla="*/ 10159586 w 11625583"/>
              <a:gd name="connsiteY5227" fmla="*/ 849414 h 6380470"/>
              <a:gd name="connsiteX5228" fmla="*/ 10224252 w 11625583"/>
              <a:gd name="connsiteY5228" fmla="*/ 914079 h 6380470"/>
              <a:gd name="connsiteX5229" fmla="*/ 10159586 w 11625583"/>
              <a:gd name="connsiteY5229" fmla="*/ 978717 h 6380470"/>
              <a:gd name="connsiteX5230" fmla="*/ 10094920 w 11625583"/>
              <a:gd name="connsiteY5230" fmla="*/ 914079 h 6380470"/>
              <a:gd name="connsiteX5231" fmla="*/ 10159586 w 11625583"/>
              <a:gd name="connsiteY5231" fmla="*/ 849414 h 6380470"/>
              <a:gd name="connsiteX5232" fmla="*/ 10003016 w 11625583"/>
              <a:gd name="connsiteY5232" fmla="*/ 849414 h 6380470"/>
              <a:gd name="connsiteX5233" fmla="*/ 10067682 w 11625583"/>
              <a:gd name="connsiteY5233" fmla="*/ 914079 h 6380470"/>
              <a:gd name="connsiteX5234" fmla="*/ 10003016 w 11625583"/>
              <a:gd name="connsiteY5234" fmla="*/ 978717 h 6380470"/>
              <a:gd name="connsiteX5235" fmla="*/ 9938350 w 11625583"/>
              <a:gd name="connsiteY5235" fmla="*/ 914079 h 6380470"/>
              <a:gd name="connsiteX5236" fmla="*/ 10003016 w 11625583"/>
              <a:gd name="connsiteY5236" fmla="*/ 849414 h 6380470"/>
              <a:gd name="connsiteX5237" fmla="*/ 9850358 w 11625583"/>
              <a:gd name="connsiteY5237" fmla="*/ 849414 h 6380470"/>
              <a:gd name="connsiteX5238" fmla="*/ 9915024 w 11625583"/>
              <a:gd name="connsiteY5238" fmla="*/ 914079 h 6380470"/>
              <a:gd name="connsiteX5239" fmla="*/ 9850358 w 11625583"/>
              <a:gd name="connsiteY5239" fmla="*/ 978717 h 6380470"/>
              <a:gd name="connsiteX5240" fmla="*/ 9785692 w 11625583"/>
              <a:gd name="connsiteY5240" fmla="*/ 914079 h 6380470"/>
              <a:gd name="connsiteX5241" fmla="*/ 9850358 w 11625583"/>
              <a:gd name="connsiteY5241" fmla="*/ 849414 h 6380470"/>
              <a:gd name="connsiteX5242" fmla="*/ 9693783 w 11625583"/>
              <a:gd name="connsiteY5242" fmla="*/ 849414 h 6380470"/>
              <a:gd name="connsiteX5243" fmla="*/ 9758449 w 11625583"/>
              <a:gd name="connsiteY5243" fmla="*/ 914079 h 6380470"/>
              <a:gd name="connsiteX5244" fmla="*/ 9693783 w 11625583"/>
              <a:gd name="connsiteY5244" fmla="*/ 978717 h 6380470"/>
              <a:gd name="connsiteX5245" fmla="*/ 9629117 w 11625583"/>
              <a:gd name="connsiteY5245" fmla="*/ 914079 h 6380470"/>
              <a:gd name="connsiteX5246" fmla="*/ 9693783 w 11625583"/>
              <a:gd name="connsiteY5246" fmla="*/ 849414 h 6380470"/>
              <a:gd name="connsiteX5247" fmla="*/ 9541123 w 11625583"/>
              <a:gd name="connsiteY5247" fmla="*/ 849414 h 6380470"/>
              <a:gd name="connsiteX5248" fmla="*/ 9605789 w 11625583"/>
              <a:gd name="connsiteY5248" fmla="*/ 914079 h 6380470"/>
              <a:gd name="connsiteX5249" fmla="*/ 9541123 w 11625583"/>
              <a:gd name="connsiteY5249" fmla="*/ 978717 h 6380470"/>
              <a:gd name="connsiteX5250" fmla="*/ 9476457 w 11625583"/>
              <a:gd name="connsiteY5250" fmla="*/ 914079 h 6380470"/>
              <a:gd name="connsiteX5251" fmla="*/ 9541123 w 11625583"/>
              <a:gd name="connsiteY5251" fmla="*/ 849414 h 6380470"/>
              <a:gd name="connsiteX5252" fmla="*/ 9384550 w 11625583"/>
              <a:gd name="connsiteY5252" fmla="*/ 849414 h 6380470"/>
              <a:gd name="connsiteX5253" fmla="*/ 9449216 w 11625583"/>
              <a:gd name="connsiteY5253" fmla="*/ 914079 h 6380470"/>
              <a:gd name="connsiteX5254" fmla="*/ 9384550 w 11625583"/>
              <a:gd name="connsiteY5254" fmla="*/ 978717 h 6380470"/>
              <a:gd name="connsiteX5255" fmla="*/ 9319884 w 11625583"/>
              <a:gd name="connsiteY5255" fmla="*/ 914079 h 6380470"/>
              <a:gd name="connsiteX5256" fmla="*/ 9384550 w 11625583"/>
              <a:gd name="connsiteY5256" fmla="*/ 849414 h 6380470"/>
              <a:gd name="connsiteX5257" fmla="*/ 9227977 w 11625583"/>
              <a:gd name="connsiteY5257" fmla="*/ 849414 h 6380470"/>
              <a:gd name="connsiteX5258" fmla="*/ 9292643 w 11625583"/>
              <a:gd name="connsiteY5258" fmla="*/ 914079 h 6380470"/>
              <a:gd name="connsiteX5259" fmla="*/ 9227977 w 11625583"/>
              <a:gd name="connsiteY5259" fmla="*/ 978717 h 6380470"/>
              <a:gd name="connsiteX5260" fmla="*/ 9163311 w 11625583"/>
              <a:gd name="connsiteY5260" fmla="*/ 914079 h 6380470"/>
              <a:gd name="connsiteX5261" fmla="*/ 9227977 w 11625583"/>
              <a:gd name="connsiteY5261" fmla="*/ 849414 h 6380470"/>
              <a:gd name="connsiteX5262" fmla="*/ 9075319 w 11625583"/>
              <a:gd name="connsiteY5262" fmla="*/ 849414 h 6380470"/>
              <a:gd name="connsiteX5263" fmla="*/ 9139985 w 11625583"/>
              <a:gd name="connsiteY5263" fmla="*/ 914079 h 6380470"/>
              <a:gd name="connsiteX5264" fmla="*/ 9075319 w 11625583"/>
              <a:gd name="connsiteY5264" fmla="*/ 978717 h 6380470"/>
              <a:gd name="connsiteX5265" fmla="*/ 9010653 w 11625583"/>
              <a:gd name="connsiteY5265" fmla="*/ 914079 h 6380470"/>
              <a:gd name="connsiteX5266" fmla="*/ 9075319 w 11625583"/>
              <a:gd name="connsiteY5266" fmla="*/ 849414 h 6380470"/>
              <a:gd name="connsiteX5267" fmla="*/ 8914831 w 11625583"/>
              <a:gd name="connsiteY5267" fmla="*/ 849414 h 6380470"/>
              <a:gd name="connsiteX5268" fmla="*/ 8979497 w 11625583"/>
              <a:gd name="connsiteY5268" fmla="*/ 914079 h 6380470"/>
              <a:gd name="connsiteX5269" fmla="*/ 8914831 w 11625583"/>
              <a:gd name="connsiteY5269" fmla="*/ 978717 h 6380470"/>
              <a:gd name="connsiteX5270" fmla="*/ 8850165 w 11625583"/>
              <a:gd name="connsiteY5270" fmla="*/ 914079 h 6380470"/>
              <a:gd name="connsiteX5271" fmla="*/ 8914831 w 11625583"/>
              <a:gd name="connsiteY5271" fmla="*/ 849414 h 6380470"/>
              <a:gd name="connsiteX5272" fmla="*/ 8766086 w 11625583"/>
              <a:gd name="connsiteY5272" fmla="*/ 849414 h 6380470"/>
              <a:gd name="connsiteX5273" fmla="*/ 8830752 w 11625583"/>
              <a:gd name="connsiteY5273" fmla="*/ 914079 h 6380470"/>
              <a:gd name="connsiteX5274" fmla="*/ 8766086 w 11625583"/>
              <a:gd name="connsiteY5274" fmla="*/ 978717 h 6380470"/>
              <a:gd name="connsiteX5275" fmla="*/ 8701420 w 11625583"/>
              <a:gd name="connsiteY5275" fmla="*/ 914079 h 6380470"/>
              <a:gd name="connsiteX5276" fmla="*/ 8766086 w 11625583"/>
              <a:gd name="connsiteY5276" fmla="*/ 849414 h 6380470"/>
              <a:gd name="connsiteX5277" fmla="*/ 8601683 w 11625583"/>
              <a:gd name="connsiteY5277" fmla="*/ 849414 h 6380470"/>
              <a:gd name="connsiteX5278" fmla="*/ 8666349 w 11625583"/>
              <a:gd name="connsiteY5278" fmla="*/ 914079 h 6380470"/>
              <a:gd name="connsiteX5279" fmla="*/ 8601683 w 11625583"/>
              <a:gd name="connsiteY5279" fmla="*/ 978717 h 6380470"/>
              <a:gd name="connsiteX5280" fmla="*/ 8537017 w 11625583"/>
              <a:gd name="connsiteY5280" fmla="*/ 914079 h 6380470"/>
              <a:gd name="connsiteX5281" fmla="*/ 8601683 w 11625583"/>
              <a:gd name="connsiteY5281" fmla="*/ 849414 h 6380470"/>
              <a:gd name="connsiteX5282" fmla="*/ 8449025 w 11625583"/>
              <a:gd name="connsiteY5282" fmla="*/ 849414 h 6380470"/>
              <a:gd name="connsiteX5283" fmla="*/ 8513691 w 11625583"/>
              <a:gd name="connsiteY5283" fmla="*/ 914079 h 6380470"/>
              <a:gd name="connsiteX5284" fmla="*/ 8449025 w 11625583"/>
              <a:gd name="connsiteY5284" fmla="*/ 978717 h 6380470"/>
              <a:gd name="connsiteX5285" fmla="*/ 8384359 w 11625583"/>
              <a:gd name="connsiteY5285" fmla="*/ 914079 h 6380470"/>
              <a:gd name="connsiteX5286" fmla="*/ 8449025 w 11625583"/>
              <a:gd name="connsiteY5286" fmla="*/ 849414 h 6380470"/>
              <a:gd name="connsiteX5287" fmla="*/ 8296368 w 11625583"/>
              <a:gd name="connsiteY5287" fmla="*/ 849414 h 6380470"/>
              <a:gd name="connsiteX5288" fmla="*/ 8361034 w 11625583"/>
              <a:gd name="connsiteY5288" fmla="*/ 914079 h 6380470"/>
              <a:gd name="connsiteX5289" fmla="*/ 8296368 w 11625583"/>
              <a:gd name="connsiteY5289" fmla="*/ 978717 h 6380470"/>
              <a:gd name="connsiteX5290" fmla="*/ 8231702 w 11625583"/>
              <a:gd name="connsiteY5290" fmla="*/ 914079 h 6380470"/>
              <a:gd name="connsiteX5291" fmla="*/ 8296368 w 11625583"/>
              <a:gd name="connsiteY5291" fmla="*/ 849414 h 6380470"/>
              <a:gd name="connsiteX5292" fmla="*/ 8139793 w 11625583"/>
              <a:gd name="connsiteY5292" fmla="*/ 849414 h 6380470"/>
              <a:gd name="connsiteX5293" fmla="*/ 8204459 w 11625583"/>
              <a:gd name="connsiteY5293" fmla="*/ 914079 h 6380470"/>
              <a:gd name="connsiteX5294" fmla="*/ 8139793 w 11625583"/>
              <a:gd name="connsiteY5294" fmla="*/ 978717 h 6380470"/>
              <a:gd name="connsiteX5295" fmla="*/ 8075127 w 11625583"/>
              <a:gd name="connsiteY5295" fmla="*/ 914079 h 6380470"/>
              <a:gd name="connsiteX5296" fmla="*/ 8139793 w 11625583"/>
              <a:gd name="connsiteY5296" fmla="*/ 849414 h 6380470"/>
              <a:gd name="connsiteX5297" fmla="*/ 7987133 w 11625583"/>
              <a:gd name="connsiteY5297" fmla="*/ 849414 h 6380470"/>
              <a:gd name="connsiteX5298" fmla="*/ 8051799 w 11625583"/>
              <a:gd name="connsiteY5298" fmla="*/ 914079 h 6380470"/>
              <a:gd name="connsiteX5299" fmla="*/ 7987133 w 11625583"/>
              <a:gd name="connsiteY5299" fmla="*/ 978717 h 6380470"/>
              <a:gd name="connsiteX5300" fmla="*/ 7922467 w 11625583"/>
              <a:gd name="connsiteY5300" fmla="*/ 914079 h 6380470"/>
              <a:gd name="connsiteX5301" fmla="*/ 7987133 w 11625583"/>
              <a:gd name="connsiteY5301" fmla="*/ 849414 h 6380470"/>
              <a:gd name="connsiteX5302" fmla="*/ 7830562 w 11625583"/>
              <a:gd name="connsiteY5302" fmla="*/ 849414 h 6380470"/>
              <a:gd name="connsiteX5303" fmla="*/ 7895228 w 11625583"/>
              <a:gd name="connsiteY5303" fmla="*/ 914079 h 6380470"/>
              <a:gd name="connsiteX5304" fmla="*/ 7830562 w 11625583"/>
              <a:gd name="connsiteY5304" fmla="*/ 978717 h 6380470"/>
              <a:gd name="connsiteX5305" fmla="*/ 7765896 w 11625583"/>
              <a:gd name="connsiteY5305" fmla="*/ 914079 h 6380470"/>
              <a:gd name="connsiteX5306" fmla="*/ 7830562 w 11625583"/>
              <a:gd name="connsiteY5306" fmla="*/ 849414 h 6380470"/>
              <a:gd name="connsiteX5307" fmla="*/ 11404343 w 11625583"/>
              <a:gd name="connsiteY5307" fmla="*/ 849412 h 6380470"/>
              <a:gd name="connsiteX5308" fmla="*/ 11469009 w 11625583"/>
              <a:gd name="connsiteY5308" fmla="*/ 914079 h 6380470"/>
              <a:gd name="connsiteX5309" fmla="*/ 11404343 w 11625583"/>
              <a:gd name="connsiteY5309" fmla="*/ 978717 h 6380470"/>
              <a:gd name="connsiteX5310" fmla="*/ 11339677 w 11625583"/>
              <a:gd name="connsiteY5310" fmla="*/ 914079 h 6380470"/>
              <a:gd name="connsiteX5311" fmla="*/ 11404343 w 11625583"/>
              <a:gd name="connsiteY5311" fmla="*/ 849412 h 6380470"/>
              <a:gd name="connsiteX5312" fmla="*/ 11251684 w 11625583"/>
              <a:gd name="connsiteY5312" fmla="*/ 849412 h 6380470"/>
              <a:gd name="connsiteX5313" fmla="*/ 11316350 w 11625583"/>
              <a:gd name="connsiteY5313" fmla="*/ 914079 h 6380470"/>
              <a:gd name="connsiteX5314" fmla="*/ 11251684 w 11625583"/>
              <a:gd name="connsiteY5314" fmla="*/ 978717 h 6380470"/>
              <a:gd name="connsiteX5315" fmla="*/ 11187018 w 11625583"/>
              <a:gd name="connsiteY5315" fmla="*/ 914079 h 6380470"/>
              <a:gd name="connsiteX5316" fmla="*/ 11251684 w 11625583"/>
              <a:gd name="connsiteY5316" fmla="*/ 849412 h 6380470"/>
              <a:gd name="connsiteX5317" fmla="*/ 11095111 w 11625583"/>
              <a:gd name="connsiteY5317" fmla="*/ 849412 h 6380470"/>
              <a:gd name="connsiteX5318" fmla="*/ 11159777 w 11625583"/>
              <a:gd name="connsiteY5318" fmla="*/ 914079 h 6380470"/>
              <a:gd name="connsiteX5319" fmla="*/ 11095111 w 11625583"/>
              <a:gd name="connsiteY5319" fmla="*/ 978717 h 6380470"/>
              <a:gd name="connsiteX5320" fmla="*/ 11030445 w 11625583"/>
              <a:gd name="connsiteY5320" fmla="*/ 914079 h 6380470"/>
              <a:gd name="connsiteX5321" fmla="*/ 11095111 w 11625583"/>
              <a:gd name="connsiteY5321" fmla="*/ 849412 h 6380470"/>
              <a:gd name="connsiteX5322" fmla="*/ 10938538 w 11625583"/>
              <a:gd name="connsiteY5322" fmla="*/ 849412 h 6380470"/>
              <a:gd name="connsiteX5323" fmla="*/ 11003204 w 11625583"/>
              <a:gd name="connsiteY5323" fmla="*/ 914079 h 6380470"/>
              <a:gd name="connsiteX5324" fmla="*/ 10938538 w 11625583"/>
              <a:gd name="connsiteY5324" fmla="*/ 978717 h 6380470"/>
              <a:gd name="connsiteX5325" fmla="*/ 10873872 w 11625583"/>
              <a:gd name="connsiteY5325" fmla="*/ 914079 h 6380470"/>
              <a:gd name="connsiteX5326" fmla="*/ 10938538 w 11625583"/>
              <a:gd name="connsiteY5326" fmla="*/ 849412 h 6380470"/>
              <a:gd name="connsiteX5327" fmla="*/ 10778051 w 11625583"/>
              <a:gd name="connsiteY5327" fmla="*/ 849412 h 6380470"/>
              <a:gd name="connsiteX5328" fmla="*/ 10842717 w 11625583"/>
              <a:gd name="connsiteY5328" fmla="*/ 914079 h 6380470"/>
              <a:gd name="connsiteX5329" fmla="*/ 10778051 w 11625583"/>
              <a:gd name="connsiteY5329" fmla="*/ 978717 h 6380470"/>
              <a:gd name="connsiteX5330" fmla="*/ 10713385 w 11625583"/>
              <a:gd name="connsiteY5330" fmla="*/ 914079 h 6380470"/>
              <a:gd name="connsiteX5331" fmla="*/ 10778051 w 11625583"/>
              <a:gd name="connsiteY5331" fmla="*/ 849412 h 6380470"/>
              <a:gd name="connsiteX5332" fmla="*/ 526578 w 11625583"/>
              <a:gd name="connsiteY5332" fmla="*/ 849412 h 6380470"/>
              <a:gd name="connsiteX5333" fmla="*/ 591243 w 11625583"/>
              <a:gd name="connsiteY5333" fmla="*/ 914079 h 6380470"/>
              <a:gd name="connsiteX5334" fmla="*/ 526578 w 11625583"/>
              <a:gd name="connsiteY5334" fmla="*/ 978717 h 6380470"/>
              <a:gd name="connsiteX5335" fmla="*/ 461913 w 11625583"/>
              <a:gd name="connsiteY5335" fmla="*/ 914079 h 6380470"/>
              <a:gd name="connsiteX5336" fmla="*/ 526578 w 11625583"/>
              <a:gd name="connsiteY5336" fmla="*/ 849412 h 6380470"/>
              <a:gd name="connsiteX5337" fmla="*/ 373922 w 11625583"/>
              <a:gd name="connsiteY5337" fmla="*/ 849412 h 6380470"/>
              <a:gd name="connsiteX5338" fmla="*/ 438587 w 11625583"/>
              <a:gd name="connsiteY5338" fmla="*/ 914079 h 6380470"/>
              <a:gd name="connsiteX5339" fmla="*/ 373922 w 11625583"/>
              <a:gd name="connsiteY5339" fmla="*/ 978717 h 6380470"/>
              <a:gd name="connsiteX5340" fmla="*/ 309257 w 11625583"/>
              <a:gd name="connsiteY5340" fmla="*/ 914079 h 6380470"/>
              <a:gd name="connsiteX5341" fmla="*/ 373922 w 11625583"/>
              <a:gd name="connsiteY5341" fmla="*/ 849412 h 6380470"/>
              <a:gd name="connsiteX5342" fmla="*/ 217353 w 11625583"/>
              <a:gd name="connsiteY5342" fmla="*/ 849412 h 6380470"/>
              <a:gd name="connsiteX5343" fmla="*/ 282019 w 11625583"/>
              <a:gd name="connsiteY5343" fmla="*/ 914079 h 6380470"/>
              <a:gd name="connsiteX5344" fmla="*/ 217353 w 11625583"/>
              <a:gd name="connsiteY5344" fmla="*/ 978717 h 6380470"/>
              <a:gd name="connsiteX5345" fmla="*/ 152688 w 11625583"/>
              <a:gd name="connsiteY5345" fmla="*/ 914079 h 6380470"/>
              <a:gd name="connsiteX5346" fmla="*/ 217353 w 11625583"/>
              <a:gd name="connsiteY5346" fmla="*/ 849412 h 6380470"/>
              <a:gd name="connsiteX5347" fmla="*/ 9384550 w 11625583"/>
              <a:gd name="connsiteY5347" fmla="*/ 712411 h 6380470"/>
              <a:gd name="connsiteX5348" fmla="*/ 9449216 w 11625583"/>
              <a:gd name="connsiteY5348" fmla="*/ 777076 h 6380470"/>
              <a:gd name="connsiteX5349" fmla="*/ 9384550 w 11625583"/>
              <a:gd name="connsiteY5349" fmla="*/ 841744 h 6380470"/>
              <a:gd name="connsiteX5350" fmla="*/ 9319884 w 11625583"/>
              <a:gd name="connsiteY5350" fmla="*/ 777076 h 6380470"/>
              <a:gd name="connsiteX5351" fmla="*/ 9384550 w 11625583"/>
              <a:gd name="connsiteY5351" fmla="*/ 712411 h 6380470"/>
              <a:gd name="connsiteX5352" fmla="*/ 9227977 w 11625583"/>
              <a:gd name="connsiteY5352" fmla="*/ 712411 h 6380470"/>
              <a:gd name="connsiteX5353" fmla="*/ 9292643 w 11625583"/>
              <a:gd name="connsiteY5353" fmla="*/ 777076 h 6380470"/>
              <a:gd name="connsiteX5354" fmla="*/ 9227977 w 11625583"/>
              <a:gd name="connsiteY5354" fmla="*/ 841744 h 6380470"/>
              <a:gd name="connsiteX5355" fmla="*/ 9163311 w 11625583"/>
              <a:gd name="connsiteY5355" fmla="*/ 777076 h 6380470"/>
              <a:gd name="connsiteX5356" fmla="*/ 9227977 w 11625583"/>
              <a:gd name="connsiteY5356" fmla="*/ 712411 h 6380470"/>
              <a:gd name="connsiteX5357" fmla="*/ 9075319 w 11625583"/>
              <a:gd name="connsiteY5357" fmla="*/ 712411 h 6380470"/>
              <a:gd name="connsiteX5358" fmla="*/ 9139985 w 11625583"/>
              <a:gd name="connsiteY5358" fmla="*/ 777076 h 6380470"/>
              <a:gd name="connsiteX5359" fmla="*/ 9075319 w 11625583"/>
              <a:gd name="connsiteY5359" fmla="*/ 841744 h 6380470"/>
              <a:gd name="connsiteX5360" fmla="*/ 9010653 w 11625583"/>
              <a:gd name="connsiteY5360" fmla="*/ 777076 h 6380470"/>
              <a:gd name="connsiteX5361" fmla="*/ 9075319 w 11625583"/>
              <a:gd name="connsiteY5361" fmla="*/ 712411 h 6380470"/>
              <a:gd name="connsiteX5362" fmla="*/ 8914831 w 11625583"/>
              <a:gd name="connsiteY5362" fmla="*/ 712411 h 6380470"/>
              <a:gd name="connsiteX5363" fmla="*/ 8979497 w 11625583"/>
              <a:gd name="connsiteY5363" fmla="*/ 777076 h 6380470"/>
              <a:gd name="connsiteX5364" fmla="*/ 8914831 w 11625583"/>
              <a:gd name="connsiteY5364" fmla="*/ 841744 h 6380470"/>
              <a:gd name="connsiteX5365" fmla="*/ 8850165 w 11625583"/>
              <a:gd name="connsiteY5365" fmla="*/ 777076 h 6380470"/>
              <a:gd name="connsiteX5366" fmla="*/ 8914831 w 11625583"/>
              <a:gd name="connsiteY5366" fmla="*/ 712411 h 6380470"/>
              <a:gd name="connsiteX5367" fmla="*/ 8766086 w 11625583"/>
              <a:gd name="connsiteY5367" fmla="*/ 712411 h 6380470"/>
              <a:gd name="connsiteX5368" fmla="*/ 8830752 w 11625583"/>
              <a:gd name="connsiteY5368" fmla="*/ 777076 h 6380470"/>
              <a:gd name="connsiteX5369" fmla="*/ 8766086 w 11625583"/>
              <a:gd name="connsiteY5369" fmla="*/ 841744 h 6380470"/>
              <a:gd name="connsiteX5370" fmla="*/ 8701420 w 11625583"/>
              <a:gd name="connsiteY5370" fmla="*/ 777076 h 6380470"/>
              <a:gd name="connsiteX5371" fmla="*/ 8766086 w 11625583"/>
              <a:gd name="connsiteY5371" fmla="*/ 712411 h 6380470"/>
              <a:gd name="connsiteX5372" fmla="*/ 8601683 w 11625583"/>
              <a:gd name="connsiteY5372" fmla="*/ 712411 h 6380470"/>
              <a:gd name="connsiteX5373" fmla="*/ 8666349 w 11625583"/>
              <a:gd name="connsiteY5373" fmla="*/ 777076 h 6380470"/>
              <a:gd name="connsiteX5374" fmla="*/ 8601683 w 11625583"/>
              <a:gd name="connsiteY5374" fmla="*/ 841744 h 6380470"/>
              <a:gd name="connsiteX5375" fmla="*/ 8537017 w 11625583"/>
              <a:gd name="connsiteY5375" fmla="*/ 777076 h 6380470"/>
              <a:gd name="connsiteX5376" fmla="*/ 8601683 w 11625583"/>
              <a:gd name="connsiteY5376" fmla="*/ 712411 h 6380470"/>
              <a:gd name="connsiteX5377" fmla="*/ 8449025 w 11625583"/>
              <a:gd name="connsiteY5377" fmla="*/ 712411 h 6380470"/>
              <a:gd name="connsiteX5378" fmla="*/ 8513691 w 11625583"/>
              <a:gd name="connsiteY5378" fmla="*/ 777076 h 6380470"/>
              <a:gd name="connsiteX5379" fmla="*/ 8449025 w 11625583"/>
              <a:gd name="connsiteY5379" fmla="*/ 841744 h 6380470"/>
              <a:gd name="connsiteX5380" fmla="*/ 8384359 w 11625583"/>
              <a:gd name="connsiteY5380" fmla="*/ 777076 h 6380470"/>
              <a:gd name="connsiteX5381" fmla="*/ 8449025 w 11625583"/>
              <a:gd name="connsiteY5381" fmla="*/ 712411 h 6380470"/>
              <a:gd name="connsiteX5382" fmla="*/ 8296368 w 11625583"/>
              <a:gd name="connsiteY5382" fmla="*/ 712411 h 6380470"/>
              <a:gd name="connsiteX5383" fmla="*/ 8361034 w 11625583"/>
              <a:gd name="connsiteY5383" fmla="*/ 777076 h 6380470"/>
              <a:gd name="connsiteX5384" fmla="*/ 8296368 w 11625583"/>
              <a:gd name="connsiteY5384" fmla="*/ 841744 h 6380470"/>
              <a:gd name="connsiteX5385" fmla="*/ 8231702 w 11625583"/>
              <a:gd name="connsiteY5385" fmla="*/ 777076 h 6380470"/>
              <a:gd name="connsiteX5386" fmla="*/ 8296368 w 11625583"/>
              <a:gd name="connsiteY5386" fmla="*/ 712411 h 6380470"/>
              <a:gd name="connsiteX5387" fmla="*/ 8139793 w 11625583"/>
              <a:gd name="connsiteY5387" fmla="*/ 712411 h 6380470"/>
              <a:gd name="connsiteX5388" fmla="*/ 8204459 w 11625583"/>
              <a:gd name="connsiteY5388" fmla="*/ 777076 h 6380470"/>
              <a:gd name="connsiteX5389" fmla="*/ 8139793 w 11625583"/>
              <a:gd name="connsiteY5389" fmla="*/ 841744 h 6380470"/>
              <a:gd name="connsiteX5390" fmla="*/ 8075127 w 11625583"/>
              <a:gd name="connsiteY5390" fmla="*/ 777076 h 6380470"/>
              <a:gd name="connsiteX5391" fmla="*/ 8139793 w 11625583"/>
              <a:gd name="connsiteY5391" fmla="*/ 712411 h 6380470"/>
              <a:gd name="connsiteX5392" fmla="*/ 7987133 w 11625583"/>
              <a:gd name="connsiteY5392" fmla="*/ 712411 h 6380470"/>
              <a:gd name="connsiteX5393" fmla="*/ 8051799 w 11625583"/>
              <a:gd name="connsiteY5393" fmla="*/ 777076 h 6380470"/>
              <a:gd name="connsiteX5394" fmla="*/ 7987133 w 11625583"/>
              <a:gd name="connsiteY5394" fmla="*/ 841744 h 6380470"/>
              <a:gd name="connsiteX5395" fmla="*/ 7922467 w 11625583"/>
              <a:gd name="connsiteY5395" fmla="*/ 777076 h 6380470"/>
              <a:gd name="connsiteX5396" fmla="*/ 7987133 w 11625583"/>
              <a:gd name="connsiteY5396" fmla="*/ 712411 h 6380470"/>
              <a:gd name="connsiteX5397" fmla="*/ 7830562 w 11625583"/>
              <a:gd name="connsiteY5397" fmla="*/ 712411 h 6380470"/>
              <a:gd name="connsiteX5398" fmla="*/ 7895228 w 11625583"/>
              <a:gd name="connsiteY5398" fmla="*/ 777076 h 6380470"/>
              <a:gd name="connsiteX5399" fmla="*/ 7830562 w 11625583"/>
              <a:gd name="connsiteY5399" fmla="*/ 841744 h 6380470"/>
              <a:gd name="connsiteX5400" fmla="*/ 7765896 w 11625583"/>
              <a:gd name="connsiteY5400" fmla="*/ 777076 h 6380470"/>
              <a:gd name="connsiteX5401" fmla="*/ 7830562 w 11625583"/>
              <a:gd name="connsiteY5401" fmla="*/ 712411 h 6380470"/>
              <a:gd name="connsiteX5402" fmla="*/ 7212096 w 11625583"/>
              <a:gd name="connsiteY5402" fmla="*/ 712411 h 6380470"/>
              <a:gd name="connsiteX5403" fmla="*/ 7276762 w 11625583"/>
              <a:gd name="connsiteY5403" fmla="*/ 777076 h 6380470"/>
              <a:gd name="connsiteX5404" fmla="*/ 7212096 w 11625583"/>
              <a:gd name="connsiteY5404" fmla="*/ 841744 h 6380470"/>
              <a:gd name="connsiteX5405" fmla="*/ 7147430 w 11625583"/>
              <a:gd name="connsiteY5405" fmla="*/ 777076 h 6380470"/>
              <a:gd name="connsiteX5406" fmla="*/ 7212096 w 11625583"/>
              <a:gd name="connsiteY5406" fmla="*/ 712411 h 6380470"/>
              <a:gd name="connsiteX5407" fmla="*/ 6429229 w 11625583"/>
              <a:gd name="connsiteY5407" fmla="*/ 712411 h 6380470"/>
              <a:gd name="connsiteX5408" fmla="*/ 6493895 w 11625583"/>
              <a:gd name="connsiteY5408" fmla="*/ 777076 h 6380470"/>
              <a:gd name="connsiteX5409" fmla="*/ 6429229 w 11625583"/>
              <a:gd name="connsiteY5409" fmla="*/ 841745 h 6380470"/>
              <a:gd name="connsiteX5410" fmla="*/ 6364563 w 11625583"/>
              <a:gd name="connsiteY5410" fmla="*/ 777076 h 6380470"/>
              <a:gd name="connsiteX5411" fmla="*/ 6429229 w 11625583"/>
              <a:gd name="connsiteY5411" fmla="*/ 712411 h 6380470"/>
              <a:gd name="connsiteX5412" fmla="*/ 6276571 w 11625583"/>
              <a:gd name="connsiteY5412" fmla="*/ 712411 h 6380470"/>
              <a:gd name="connsiteX5413" fmla="*/ 6341237 w 11625583"/>
              <a:gd name="connsiteY5413" fmla="*/ 777076 h 6380470"/>
              <a:gd name="connsiteX5414" fmla="*/ 6276571 w 11625583"/>
              <a:gd name="connsiteY5414" fmla="*/ 841745 h 6380470"/>
              <a:gd name="connsiteX5415" fmla="*/ 6211905 w 11625583"/>
              <a:gd name="connsiteY5415" fmla="*/ 777076 h 6380470"/>
              <a:gd name="connsiteX5416" fmla="*/ 6276571 w 11625583"/>
              <a:gd name="connsiteY5416" fmla="*/ 712411 h 6380470"/>
              <a:gd name="connsiteX5417" fmla="*/ 10312248 w 11625583"/>
              <a:gd name="connsiteY5417" fmla="*/ 712410 h 6380470"/>
              <a:gd name="connsiteX5418" fmla="*/ 10376914 w 11625583"/>
              <a:gd name="connsiteY5418" fmla="*/ 777076 h 6380470"/>
              <a:gd name="connsiteX5419" fmla="*/ 10312248 w 11625583"/>
              <a:gd name="connsiteY5419" fmla="*/ 841743 h 6380470"/>
              <a:gd name="connsiteX5420" fmla="*/ 10247582 w 11625583"/>
              <a:gd name="connsiteY5420" fmla="*/ 777076 h 6380470"/>
              <a:gd name="connsiteX5421" fmla="*/ 10312248 w 11625583"/>
              <a:gd name="connsiteY5421" fmla="*/ 712410 h 6380470"/>
              <a:gd name="connsiteX5422" fmla="*/ 10159588 w 11625583"/>
              <a:gd name="connsiteY5422" fmla="*/ 712410 h 6380470"/>
              <a:gd name="connsiteX5423" fmla="*/ 10224254 w 11625583"/>
              <a:gd name="connsiteY5423" fmla="*/ 777076 h 6380470"/>
              <a:gd name="connsiteX5424" fmla="*/ 10159588 w 11625583"/>
              <a:gd name="connsiteY5424" fmla="*/ 841744 h 6380470"/>
              <a:gd name="connsiteX5425" fmla="*/ 10094922 w 11625583"/>
              <a:gd name="connsiteY5425" fmla="*/ 777076 h 6380470"/>
              <a:gd name="connsiteX5426" fmla="*/ 10159588 w 11625583"/>
              <a:gd name="connsiteY5426" fmla="*/ 712410 h 6380470"/>
              <a:gd name="connsiteX5427" fmla="*/ 10003016 w 11625583"/>
              <a:gd name="connsiteY5427" fmla="*/ 712410 h 6380470"/>
              <a:gd name="connsiteX5428" fmla="*/ 10067682 w 11625583"/>
              <a:gd name="connsiteY5428" fmla="*/ 777076 h 6380470"/>
              <a:gd name="connsiteX5429" fmla="*/ 10003016 w 11625583"/>
              <a:gd name="connsiteY5429" fmla="*/ 841744 h 6380470"/>
              <a:gd name="connsiteX5430" fmla="*/ 9938350 w 11625583"/>
              <a:gd name="connsiteY5430" fmla="*/ 777076 h 6380470"/>
              <a:gd name="connsiteX5431" fmla="*/ 10003016 w 11625583"/>
              <a:gd name="connsiteY5431" fmla="*/ 712410 h 6380470"/>
              <a:gd name="connsiteX5432" fmla="*/ 9850358 w 11625583"/>
              <a:gd name="connsiteY5432" fmla="*/ 712410 h 6380470"/>
              <a:gd name="connsiteX5433" fmla="*/ 9915024 w 11625583"/>
              <a:gd name="connsiteY5433" fmla="*/ 777076 h 6380470"/>
              <a:gd name="connsiteX5434" fmla="*/ 9850358 w 11625583"/>
              <a:gd name="connsiteY5434" fmla="*/ 841744 h 6380470"/>
              <a:gd name="connsiteX5435" fmla="*/ 9785692 w 11625583"/>
              <a:gd name="connsiteY5435" fmla="*/ 777076 h 6380470"/>
              <a:gd name="connsiteX5436" fmla="*/ 9850358 w 11625583"/>
              <a:gd name="connsiteY5436" fmla="*/ 712410 h 6380470"/>
              <a:gd name="connsiteX5437" fmla="*/ 9693783 w 11625583"/>
              <a:gd name="connsiteY5437" fmla="*/ 712410 h 6380470"/>
              <a:gd name="connsiteX5438" fmla="*/ 9758449 w 11625583"/>
              <a:gd name="connsiteY5438" fmla="*/ 777076 h 6380470"/>
              <a:gd name="connsiteX5439" fmla="*/ 9693783 w 11625583"/>
              <a:gd name="connsiteY5439" fmla="*/ 841744 h 6380470"/>
              <a:gd name="connsiteX5440" fmla="*/ 9629117 w 11625583"/>
              <a:gd name="connsiteY5440" fmla="*/ 777076 h 6380470"/>
              <a:gd name="connsiteX5441" fmla="*/ 9693783 w 11625583"/>
              <a:gd name="connsiteY5441" fmla="*/ 712410 h 6380470"/>
              <a:gd name="connsiteX5442" fmla="*/ 9541123 w 11625583"/>
              <a:gd name="connsiteY5442" fmla="*/ 712410 h 6380470"/>
              <a:gd name="connsiteX5443" fmla="*/ 9605789 w 11625583"/>
              <a:gd name="connsiteY5443" fmla="*/ 777076 h 6380470"/>
              <a:gd name="connsiteX5444" fmla="*/ 9541123 w 11625583"/>
              <a:gd name="connsiteY5444" fmla="*/ 841744 h 6380470"/>
              <a:gd name="connsiteX5445" fmla="*/ 9476457 w 11625583"/>
              <a:gd name="connsiteY5445" fmla="*/ 777076 h 6380470"/>
              <a:gd name="connsiteX5446" fmla="*/ 9541123 w 11625583"/>
              <a:gd name="connsiteY5446" fmla="*/ 712410 h 6380470"/>
              <a:gd name="connsiteX5447" fmla="*/ 4409471 w 11625583"/>
              <a:gd name="connsiteY5447" fmla="*/ 712409 h 6380470"/>
              <a:gd name="connsiteX5448" fmla="*/ 4474113 w 11625583"/>
              <a:gd name="connsiteY5448" fmla="*/ 777074 h 6380470"/>
              <a:gd name="connsiteX5449" fmla="*/ 4409471 w 11625583"/>
              <a:gd name="connsiteY5449" fmla="*/ 841743 h 6380470"/>
              <a:gd name="connsiteX5450" fmla="*/ 4344809 w 11625583"/>
              <a:gd name="connsiteY5450" fmla="*/ 777074 h 6380470"/>
              <a:gd name="connsiteX5451" fmla="*/ 4409471 w 11625583"/>
              <a:gd name="connsiteY5451" fmla="*/ 712409 h 6380470"/>
              <a:gd name="connsiteX5452" fmla="*/ 4256823 w 11625583"/>
              <a:gd name="connsiteY5452" fmla="*/ 712409 h 6380470"/>
              <a:gd name="connsiteX5453" fmla="*/ 4321471 w 11625583"/>
              <a:gd name="connsiteY5453" fmla="*/ 777074 h 6380470"/>
              <a:gd name="connsiteX5454" fmla="*/ 4256823 w 11625583"/>
              <a:gd name="connsiteY5454" fmla="*/ 841743 h 6380470"/>
              <a:gd name="connsiteX5455" fmla="*/ 4192125 w 11625583"/>
              <a:gd name="connsiteY5455" fmla="*/ 777074 h 6380470"/>
              <a:gd name="connsiteX5456" fmla="*/ 4256823 w 11625583"/>
              <a:gd name="connsiteY5456" fmla="*/ 712409 h 6380470"/>
              <a:gd name="connsiteX5457" fmla="*/ 4100255 w 11625583"/>
              <a:gd name="connsiteY5457" fmla="*/ 712409 h 6380470"/>
              <a:gd name="connsiteX5458" fmla="*/ 4164923 w 11625583"/>
              <a:gd name="connsiteY5458" fmla="*/ 777074 h 6380470"/>
              <a:gd name="connsiteX5459" fmla="*/ 4100255 w 11625583"/>
              <a:gd name="connsiteY5459" fmla="*/ 841743 h 6380470"/>
              <a:gd name="connsiteX5460" fmla="*/ 4035594 w 11625583"/>
              <a:gd name="connsiteY5460" fmla="*/ 777074 h 6380470"/>
              <a:gd name="connsiteX5461" fmla="*/ 4100255 w 11625583"/>
              <a:gd name="connsiteY5461" fmla="*/ 712409 h 6380470"/>
              <a:gd name="connsiteX5462" fmla="*/ 3947579 w 11625583"/>
              <a:gd name="connsiteY5462" fmla="*/ 712409 h 6380470"/>
              <a:gd name="connsiteX5463" fmla="*/ 4012257 w 11625583"/>
              <a:gd name="connsiteY5463" fmla="*/ 777074 h 6380470"/>
              <a:gd name="connsiteX5464" fmla="*/ 3947579 w 11625583"/>
              <a:gd name="connsiteY5464" fmla="*/ 841743 h 6380470"/>
              <a:gd name="connsiteX5465" fmla="*/ 3883058 w 11625583"/>
              <a:gd name="connsiteY5465" fmla="*/ 777074 h 6380470"/>
              <a:gd name="connsiteX5466" fmla="*/ 3947579 w 11625583"/>
              <a:gd name="connsiteY5466" fmla="*/ 712409 h 6380470"/>
              <a:gd name="connsiteX5467" fmla="*/ 3791150 w 11625583"/>
              <a:gd name="connsiteY5467" fmla="*/ 712409 h 6380470"/>
              <a:gd name="connsiteX5468" fmla="*/ 3855819 w 11625583"/>
              <a:gd name="connsiteY5468" fmla="*/ 777074 h 6380470"/>
              <a:gd name="connsiteX5469" fmla="*/ 3791150 w 11625583"/>
              <a:gd name="connsiteY5469" fmla="*/ 841743 h 6380470"/>
              <a:gd name="connsiteX5470" fmla="*/ 3726477 w 11625583"/>
              <a:gd name="connsiteY5470" fmla="*/ 777074 h 6380470"/>
              <a:gd name="connsiteX5471" fmla="*/ 3791150 w 11625583"/>
              <a:gd name="connsiteY5471" fmla="*/ 712409 h 6380470"/>
              <a:gd name="connsiteX5472" fmla="*/ 3012174 w 11625583"/>
              <a:gd name="connsiteY5472" fmla="*/ 712409 h 6380470"/>
              <a:gd name="connsiteX5473" fmla="*/ 3076841 w 11625583"/>
              <a:gd name="connsiteY5473" fmla="*/ 777074 h 6380470"/>
              <a:gd name="connsiteX5474" fmla="*/ 3012174 w 11625583"/>
              <a:gd name="connsiteY5474" fmla="*/ 841743 h 6380470"/>
              <a:gd name="connsiteX5475" fmla="*/ 2947515 w 11625583"/>
              <a:gd name="connsiteY5475" fmla="*/ 777074 h 6380470"/>
              <a:gd name="connsiteX5476" fmla="*/ 3012174 w 11625583"/>
              <a:gd name="connsiteY5476" fmla="*/ 712409 h 6380470"/>
              <a:gd name="connsiteX5477" fmla="*/ 2855626 w 11625583"/>
              <a:gd name="connsiteY5477" fmla="*/ 712409 h 6380470"/>
              <a:gd name="connsiteX5478" fmla="*/ 2920277 w 11625583"/>
              <a:gd name="connsiteY5478" fmla="*/ 777074 h 6380470"/>
              <a:gd name="connsiteX5479" fmla="*/ 2855626 w 11625583"/>
              <a:gd name="connsiteY5479" fmla="*/ 841743 h 6380470"/>
              <a:gd name="connsiteX5480" fmla="*/ 2790967 w 11625583"/>
              <a:gd name="connsiteY5480" fmla="*/ 777074 h 6380470"/>
              <a:gd name="connsiteX5481" fmla="*/ 2855626 w 11625583"/>
              <a:gd name="connsiteY5481" fmla="*/ 712409 h 6380470"/>
              <a:gd name="connsiteX5482" fmla="*/ 2699077 w 11625583"/>
              <a:gd name="connsiteY5482" fmla="*/ 712409 h 6380470"/>
              <a:gd name="connsiteX5483" fmla="*/ 2763730 w 11625583"/>
              <a:gd name="connsiteY5483" fmla="*/ 777074 h 6380470"/>
              <a:gd name="connsiteX5484" fmla="*/ 2699077 w 11625583"/>
              <a:gd name="connsiteY5484" fmla="*/ 841743 h 6380470"/>
              <a:gd name="connsiteX5485" fmla="*/ 2634422 w 11625583"/>
              <a:gd name="connsiteY5485" fmla="*/ 777074 h 6380470"/>
              <a:gd name="connsiteX5486" fmla="*/ 2699077 w 11625583"/>
              <a:gd name="connsiteY5486" fmla="*/ 712409 h 6380470"/>
              <a:gd name="connsiteX5487" fmla="*/ 2546443 w 11625583"/>
              <a:gd name="connsiteY5487" fmla="*/ 712409 h 6380470"/>
              <a:gd name="connsiteX5488" fmla="*/ 2611099 w 11625583"/>
              <a:gd name="connsiteY5488" fmla="*/ 777074 h 6380470"/>
              <a:gd name="connsiteX5489" fmla="*/ 2546443 w 11625583"/>
              <a:gd name="connsiteY5489" fmla="*/ 841743 h 6380470"/>
              <a:gd name="connsiteX5490" fmla="*/ 2481784 w 11625583"/>
              <a:gd name="connsiteY5490" fmla="*/ 777074 h 6380470"/>
              <a:gd name="connsiteX5491" fmla="*/ 2546443 w 11625583"/>
              <a:gd name="connsiteY5491" fmla="*/ 712409 h 6380470"/>
              <a:gd name="connsiteX5492" fmla="*/ 2389866 w 11625583"/>
              <a:gd name="connsiteY5492" fmla="*/ 712409 h 6380470"/>
              <a:gd name="connsiteX5493" fmla="*/ 2454550 w 11625583"/>
              <a:gd name="connsiteY5493" fmla="*/ 777074 h 6380470"/>
              <a:gd name="connsiteX5494" fmla="*/ 2389866 w 11625583"/>
              <a:gd name="connsiteY5494" fmla="*/ 841743 h 6380470"/>
              <a:gd name="connsiteX5495" fmla="*/ 2325211 w 11625583"/>
              <a:gd name="connsiteY5495" fmla="*/ 777074 h 6380470"/>
              <a:gd name="connsiteX5496" fmla="*/ 2389866 w 11625583"/>
              <a:gd name="connsiteY5496" fmla="*/ 712409 h 6380470"/>
              <a:gd name="connsiteX5497" fmla="*/ 2237188 w 11625583"/>
              <a:gd name="connsiteY5497" fmla="*/ 712409 h 6380470"/>
              <a:gd name="connsiteX5498" fmla="*/ 2301876 w 11625583"/>
              <a:gd name="connsiteY5498" fmla="*/ 777075 h 6380470"/>
              <a:gd name="connsiteX5499" fmla="*/ 2237188 w 11625583"/>
              <a:gd name="connsiteY5499" fmla="*/ 841743 h 6380470"/>
              <a:gd name="connsiteX5500" fmla="*/ 2172504 w 11625583"/>
              <a:gd name="connsiteY5500" fmla="*/ 777075 h 6380470"/>
              <a:gd name="connsiteX5501" fmla="*/ 2237188 w 11625583"/>
              <a:gd name="connsiteY5501" fmla="*/ 712409 h 6380470"/>
              <a:gd name="connsiteX5502" fmla="*/ 2084508 w 11625583"/>
              <a:gd name="connsiteY5502" fmla="*/ 712409 h 6380470"/>
              <a:gd name="connsiteX5503" fmla="*/ 2149169 w 11625583"/>
              <a:gd name="connsiteY5503" fmla="*/ 777075 h 6380470"/>
              <a:gd name="connsiteX5504" fmla="*/ 2084508 w 11625583"/>
              <a:gd name="connsiteY5504" fmla="*/ 841743 h 6380470"/>
              <a:gd name="connsiteX5505" fmla="*/ 2019865 w 11625583"/>
              <a:gd name="connsiteY5505" fmla="*/ 777075 h 6380470"/>
              <a:gd name="connsiteX5506" fmla="*/ 2084508 w 11625583"/>
              <a:gd name="connsiteY5506" fmla="*/ 712409 h 6380470"/>
              <a:gd name="connsiteX5507" fmla="*/ 1927912 w 11625583"/>
              <a:gd name="connsiteY5507" fmla="*/ 712409 h 6380470"/>
              <a:gd name="connsiteX5508" fmla="*/ 1992606 w 11625583"/>
              <a:gd name="connsiteY5508" fmla="*/ 777075 h 6380470"/>
              <a:gd name="connsiteX5509" fmla="*/ 1927912 w 11625583"/>
              <a:gd name="connsiteY5509" fmla="*/ 841743 h 6380470"/>
              <a:gd name="connsiteX5510" fmla="*/ 1863284 w 11625583"/>
              <a:gd name="connsiteY5510" fmla="*/ 777075 h 6380470"/>
              <a:gd name="connsiteX5511" fmla="*/ 1927912 w 11625583"/>
              <a:gd name="connsiteY5511" fmla="*/ 712409 h 6380470"/>
              <a:gd name="connsiteX5512" fmla="*/ 1775266 w 11625583"/>
              <a:gd name="connsiteY5512" fmla="*/ 712409 h 6380470"/>
              <a:gd name="connsiteX5513" fmla="*/ 1839957 w 11625583"/>
              <a:gd name="connsiteY5513" fmla="*/ 777075 h 6380470"/>
              <a:gd name="connsiteX5514" fmla="*/ 1775266 w 11625583"/>
              <a:gd name="connsiteY5514" fmla="*/ 841743 h 6380470"/>
              <a:gd name="connsiteX5515" fmla="*/ 1710593 w 11625583"/>
              <a:gd name="connsiteY5515" fmla="*/ 777075 h 6380470"/>
              <a:gd name="connsiteX5516" fmla="*/ 1775266 w 11625583"/>
              <a:gd name="connsiteY5516" fmla="*/ 712409 h 6380470"/>
              <a:gd name="connsiteX5517" fmla="*/ 1618680 w 11625583"/>
              <a:gd name="connsiteY5517" fmla="*/ 712409 h 6380470"/>
              <a:gd name="connsiteX5518" fmla="*/ 1683351 w 11625583"/>
              <a:gd name="connsiteY5518" fmla="*/ 777075 h 6380470"/>
              <a:gd name="connsiteX5519" fmla="*/ 1618680 w 11625583"/>
              <a:gd name="connsiteY5519" fmla="*/ 841743 h 6380470"/>
              <a:gd name="connsiteX5520" fmla="*/ 1554018 w 11625583"/>
              <a:gd name="connsiteY5520" fmla="*/ 777075 h 6380470"/>
              <a:gd name="connsiteX5521" fmla="*/ 1618680 w 11625583"/>
              <a:gd name="connsiteY5521" fmla="*/ 712409 h 6380470"/>
              <a:gd name="connsiteX5522" fmla="*/ 1466022 w 11625583"/>
              <a:gd name="connsiteY5522" fmla="*/ 712409 h 6380470"/>
              <a:gd name="connsiteX5523" fmla="*/ 1530689 w 11625583"/>
              <a:gd name="connsiteY5523" fmla="*/ 777075 h 6380470"/>
              <a:gd name="connsiteX5524" fmla="*/ 1466022 w 11625583"/>
              <a:gd name="connsiteY5524" fmla="*/ 841743 h 6380470"/>
              <a:gd name="connsiteX5525" fmla="*/ 1401359 w 11625583"/>
              <a:gd name="connsiteY5525" fmla="*/ 777075 h 6380470"/>
              <a:gd name="connsiteX5526" fmla="*/ 1466022 w 11625583"/>
              <a:gd name="connsiteY5526" fmla="*/ 712409 h 6380470"/>
              <a:gd name="connsiteX5527" fmla="*/ 6119999 w 11625583"/>
              <a:gd name="connsiteY5527" fmla="*/ 712409 h 6380470"/>
              <a:gd name="connsiteX5528" fmla="*/ 6184665 w 11625583"/>
              <a:gd name="connsiteY5528" fmla="*/ 777074 h 6380470"/>
              <a:gd name="connsiteX5529" fmla="*/ 6119999 w 11625583"/>
              <a:gd name="connsiteY5529" fmla="*/ 841743 h 6380470"/>
              <a:gd name="connsiteX5530" fmla="*/ 6055333 w 11625583"/>
              <a:gd name="connsiteY5530" fmla="*/ 777074 h 6380470"/>
              <a:gd name="connsiteX5531" fmla="*/ 6119999 w 11625583"/>
              <a:gd name="connsiteY5531" fmla="*/ 712409 h 6380470"/>
              <a:gd name="connsiteX5532" fmla="*/ 4722614 w 11625583"/>
              <a:gd name="connsiteY5532" fmla="*/ 712409 h 6380470"/>
              <a:gd name="connsiteX5533" fmla="*/ 4787277 w 11625583"/>
              <a:gd name="connsiteY5533" fmla="*/ 777074 h 6380470"/>
              <a:gd name="connsiteX5534" fmla="*/ 4722614 w 11625583"/>
              <a:gd name="connsiteY5534" fmla="*/ 841743 h 6380470"/>
              <a:gd name="connsiteX5535" fmla="*/ 4657957 w 11625583"/>
              <a:gd name="connsiteY5535" fmla="*/ 777074 h 6380470"/>
              <a:gd name="connsiteX5536" fmla="*/ 4722614 w 11625583"/>
              <a:gd name="connsiteY5536" fmla="*/ 712409 h 6380470"/>
              <a:gd name="connsiteX5537" fmla="*/ 4566030 w 11625583"/>
              <a:gd name="connsiteY5537" fmla="*/ 712409 h 6380470"/>
              <a:gd name="connsiteX5538" fmla="*/ 4630712 w 11625583"/>
              <a:gd name="connsiteY5538" fmla="*/ 777074 h 6380470"/>
              <a:gd name="connsiteX5539" fmla="*/ 4566030 w 11625583"/>
              <a:gd name="connsiteY5539" fmla="*/ 841743 h 6380470"/>
              <a:gd name="connsiteX5540" fmla="*/ 4501345 w 11625583"/>
              <a:gd name="connsiteY5540" fmla="*/ 777074 h 6380470"/>
              <a:gd name="connsiteX5541" fmla="*/ 4566030 w 11625583"/>
              <a:gd name="connsiteY5541" fmla="*/ 712409 h 6380470"/>
              <a:gd name="connsiteX5542" fmla="*/ 9541123 w 11625583"/>
              <a:gd name="connsiteY5542" fmla="*/ 579326 h 6380470"/>
              <a:gd name="connsiteX5543" fmla="*/ 9605789 w 11625583"/>
              <a:gd name="connsiteY5543" fmla="*/ 643991 h 6380470"/>
              <a:gd name="connsiteX5544" fmla="*/ 9541123 w 11625583"/>
              <a:gd name="connsiteY5544" fmla="*/ 708656 h 6380470"/>
              <a:gd name="connsiteX5545" fmla="*/ 9476457 w 11625583"/>
              <a:gd name="connsiteY5545" fmla="*/ 643991 h 6380470"/>
              <a:gd name="connsiteX5546" fmla="*/ 9541123 w 11625583"/>
              <a:gd name="connsiteY5546" fmla="*/ 579326 h 6380470"/>
              <a:gd name="connsiteX5547" fmla="*/ 9384550 w 11625583"/>
              <a:gd name="connsiteY5547" fmla="*/ 579326 h 6380470"/>
              <a:gd name="connsiteX5548" fmla="*/ 9449216 w 11625583"/>
              <a:gd name="connsiteY5548" fmla="*/ 643991 h 6380470"/>
              <a:gd name="connsiteX5549" fmla="*/ 9384550 w 11625583"/>
              <a:gd name="connsiteY5549" fmla="*/ 708656 h 6380470"/>
              <a:gd name="connsiteX5550" fmla="*/ 9319884 w 11625583"/>
              <a:gd name="connsiteY5550" fmla="*/ 643991 h 6380470"/>
              <a:gd name="connsiteX5551" fmla="*/ 9384550 w 11625583"/>
              <a:gd name="connsiteY5551" fmla="*/ 579326 h 6380470"/>
              <a:gd name="connsiteX5552" fmla="*/ 9227977 w 11625583"/>
              <a:gd name="connsiteY5552" fmla="*/ 579326 h 6380470"/>
              <a:gd name="connsiteX5553" fmla="*/ 9292643 w 11625583"/>
              <a:gd name="connsiteY5553" fmla="*/ 643991 h 6380470"/>
              <a:gd name="connsiteX5554" fmla="*/ 9227977 w 11625583"/>
              <a:gd name="connsiteY5554" fmla="*/ 708656 h 6380470"/>
              <a:gd name="connsiteX5555" fmla="*/ 9163311 w 11625583"/>
              <a:gd name="connsiteY5555" fmla="*/ 643991 h 6380470"/>
              <a:gd name="connsiteX5556" fmla="*/ 9227977 w 11625583"/>
              <a:gd name="connsiteY5556" fmla="*/ 579326 h 6380470"/>
              <a:gd name="connsiteX5557" fmla="*/ 9075319 w 11625583"/>
              <a:gd name="connsiteY5557" fmla="*/ 579326 h 6380470"/>
              <a:gd name="connsiteX5558" fmla="*/ 9139985 w 11625583"/>
              <a:gd name="connsiteY5558" fmla="*/ 643992 h 6380470"/>
              <a:gd name="connsiteX5559" fmla="*/ 9075319 w 11625583"/>
              <a:gd name="connsiteY5559" fmla="*/ 708656 h 6380470"/>
              <a:gd name="connsiteX5560" fmla="*/ 9010653 w 11625583"/>
              <a:gd name="connsiteY5560" fmla="*/ 643992 h 6380470"/>
              <a:gd name="connsiteX5561" fmla="*/ 9075319 w 11625583"/>
              <a:gd name="connsiteY5561" fmla="*/ 579326 h 6380470"/>
              <a:gd name="connsiteX5562" fmla="*/ 8914831 w 11625583"/>
              <a:gd name="connsiteY5562" fmla="*/ 579326 h 6380470"/>
              <a:gd name="connsiteX5563" fmla="*/ 8979497 w 11625583"/>
              <a:gd name="connsiteY5563" fmla="*/ 643992 h 6380470"/>
              <a:gd name="connsiteX5564" fmla="*/ 8914831 w 11625583"/>
              <a:gd name="connsiteY5564" fmla="*/ 708656 h 6380470"/>
              <a:gd name="connsiteX5565" fmla="*/ 8850165 w 11625583"/>
              <a:gd name="connsiteY5565" fmla="*/ 643992 h 6380470"/>
              <a:gd name="connsiteX5566" fmla="*/ 8914831 w 11625583"/>
              <a:gd name="connsiteY5566" fmla="*/ 579326 h 6380470"/>
              <a:gd name="connsiteX5567" fmla="*/ 8766086 w 11625583"/>
              <a:gd name="connsiteY5567" fmla="*/ 579326 h 6380470"/>
              <a:gd name="connsiteX5568" fmla="*/ 8830752 w 11625583"/>
              <a:gd name="connsiteY5568" fmla="*/ 643992 h 6380470"/>
              <a:gd name="connsiteX5569" fmla="*/ 8766086 w 11625583"/>
              <a:gd name="connsiteY5569" fmla="*/ 708656 h 6380470"/>
              <a:gd name="connsiteX5570" fmla="*/ 8701420 w 11625583"/>
              <a:gd name="connsiteY5570" fmla="*/ 643992 h 6380470"/>
              <a:gd name="connsiteX5571" fmla="*/ 8766086 w 11625583"/>
              <a:gd name="connsiteY5571" fmla="*/ 579326 h 6380470"/>
              <a:gd name="connsiteX5572" fmla="*/ 8601685 w 11625583"/>
              <a:gd name="connsiteY5572" fmla="*/ 579326 h 6380470"/>
              <a:gd name="connsiteX5573" fmla="*/ 8666351 w 11625583"/>
              <a:gd name="connsiteY5573" fmla="*/ 643992 h 6380470"/>
              <a:gd name="connsiteX5574" fmla="*/ 8601685 w 11625583"/>
              <a:gd name="connsiteY5574" fmla="*/ 708656 h 6380470"/>
              <a:gd name="connsiteX5575" fmla="*/ 8537019 w 11625583"/>
              <a:gd name="connsiteY5575" fmla="*/ 643992 h 6380470"/>
              <a:gd name="connsiteX5576" fmla="*/ 8601685 w 11625583"/>
              <a:gd name="connsiteY5576" fmla="*/ 579326 h 6380470"/>
              <a:gd name="connsiteX5577" fmla="*/ 8449025 w 11625583"/>
              <a:gd name="connsiteY5577" fmla="*/ 579326 h 6380470"/>
              <a:gd name="connsiteX5578" fmla="*/ 8513691 w 11625583"/>
              <a:gd name="connsiteY5578" fmla="*/ 643992 h 6380470"/>
              <a:gd name="connsiteX5579" fmla="*/ 8449025 w 11625583"/>
              <a:gd name="connsiteY5579" fmla="*/ 708656 h 6380470"/>
              <a:gd name="connsiteX5580" fmla="*/ 8384359 w 11625583"/>
              <a:gd name="connsiteY5580" fmla="*/ 643992 h 6380470"/>
              <a:gd name="connsiteX5581" fmla="*/ 8449025 w 11625583"/>
              <a:gd name="connsiteY5581" fmla="*/ 579326 h 6380470"/>
              <a:gd name="connsiteX5582" fmla="*/ 8296368 w 11625583"/>
              <a:gd name="connsiteY5582" fmla="*/ 579326 h 6380470"/>
              <a:gd name="connsiteX5583" fmla="*/ 8361034 w 11625583"/>
              <a:gd name="connsiteY5583" fmla="*/ 643992 h 6380470"/>
              <a:gd name="connsiteX5584" fmla="*/ 8296368 w 11625583"/>
              <a:gd name="connsiteY5584" fmla="*/ 708656 h 6380470"/>
              <a:gd name="connsiteX5585" fmla="*/ 8231702 w 11625583"/>
              <a:gd name="connsiteY5585" fmla="*/ 643992 h 6380470"/>
              <a:gd name="connsiteX5586" fmla="*/ 8296368 w 11625583"/>
              <a:gd name="connsiteY5586" fmla="*/ 579326 h 6380470"/>
              <a:gd name="connsiteX5587" fmla="*/ 8139793 w 11625583"/>
              <a:gd name="connsiteY5587" fmla="*/ 579326 h 6380470"/>
              <a:gd name="connsiteX5588" fmla="*/ 8204459 w 11625583"/>
              <a:gd name="connsiteY5588" fmla="*/ 643992 h 6380470"/>
              <a:gd name="connsiteX5589" fmla="*/ 8139793 w 11625583"/>
              <a:gd name="connsiteY5589" fmla="*/ 708656 h 6380470"/>
              <a:gd name="connsiteX5590" fmla="*/ 8075127 w 11625583"/>
              <a:gd name="connsiteY5590" fmla="*/ 643992 h 6380470"/>
              <a:gd name="connsiteX5591" fmla="*/ 8139793 w 11625583"/>
              <a:gd name="connsiteY5591" fmla="*/ 579326 h 6380470"/>
              <a:gd name="connsiteX5592" fmla="*/ 7368669 w 11625583"/>
              <a:gd name="connsiteY5592" fmla="*/ 579326 h 6380470"/>
              <a:gd name="connsiteX5593" fmla="*/ 7433335 w 11625583"/>
              <a:gd name="connsiteY5593" fmla="*/ 643992 h 6380470"/>
              <a:gd name="connsiteX5594" fmla="*/ 7368669 w 11625583"/>
              <a:gd name="connsiteY5594" fmla="*/ 708658 h 6380470"/>
              <a:gd name="connsiteX5595" fmla="*/ 7304003 w 11625583"/>
              <a:gd name="connsiteY5595" fmla="*/ 643992 h 6380470"/>
              <a:gd name="connsiteX5596" fmla="*/ 7368669 w 11625583"/>
              <a:gd name="connsiteY5596" fmla="*/ 579326 h 6380470"/>
              <a:gd name="connsiteX5597" fmla="*/ 4722614 w 11625583"/>
              <a:gd name="connsiteY5597" fmla="*/ 579326 h 6380470"/>
              <a:gd name="connsiteX5598" fmla="*/ 4787277 w 11625583"/>
              <a:gd name="connsiteY5598" fmla="*/ 643992 h 6380470"/>
              <a:gd name="connsiteX5599" fmla="*/ 4722614 w 11625583"/>
              <a:gd name="connsiteY5599" fmla="*/ 708658 h 6380470"/>
              <a:gd name="connsiteX5600" fmla="*/ 4657957 w 11625583"/>
              <a:gd name="connsiteY5600" fmla="*/ 643992 h 6380470"/>
              <a:gd name="connsiteX5601" fmla="*/ 4722614 w 11625583"/>
              <a:gd name="connsiteY5601" fmla="*/ 579326 h 6380470"/>
              <a:gd name="connsiteX5602" fmla="*/ 4566030 w 11625583"/>
              <a:gd name="connsiteY5602" fmla="*/ 579326 h 6380470"/>
              <a:gd name="connsiteX5603" fmla="*/ 4630712 w 11625583"/>
              <a:gd name="connsiteY5603" fmla="*/ 643992 h 6380470"/>
              <a:gd name="connsiteX5604" fmla="*/ 4566030 w 11625583"/>
              <a:gd name="connsiteY5604" fmla="*/ 708658 h 6380470"/>
              <a:gd name="connsiteX5605" fmla="*/ 4501345 w 11625583"/>
              <a:gd name="connsiteY5605" fmla="*/ 643992 h 6380470"/>
              <a:gd name="connsiteX5606" fmla="*/ 4566030 w 11625583"/>
              <a:gd name="connsiteY5606" fmla="*/ 579326 h 6380470"/>
              <a:gd name="connsiteX5607" fmla="*/ 4409471 w 11625583"/>
              <a:gd name="connsiteY5607" fmla="*/ 579326 h 6380470"/>
              <a:gd name="connsiteX5608" fmla="*/ 4474113 w 11625583"/>
              <a:gd name="connsiteY5608" fmla="*/ 643992 h 6380470"/>
              <a:gd name="connsiteX5609" fmla="*/ 4409471 w 11625583"/>
              <a:gd name="connsiteY5609" fmla="*/ 708658 h 6380470"/>
              <a:gd name="connsiteX5610" fmla="*/ 4344809 w 11625583"/>
              <a:gd name="connsiteY5610" fmla="*/ 643992 h 6380470"/>
              <a:gd name="connsiteX5611" fmla="*/ 4409471 w 11625583"/>
              <a:gd name="connsiteY5611" fmla="*/ 579326 h 6380470"/>
              <a:gd name="connsiteX5612" fmla="*/ 4256823 w 11625583"/>
              <a:gd name="connsiteY5612" fmla="*/ 579326 h 6380470"/>
              <a:gd name="connsiteX5613" fmla="*/ 4321471 w 11625583"/>
              <a:gd name="connsiteY5613" fmla="*/ 643992 h 6380470"/>
              <a:gd name="connsiteX5614" fmla="*/ 4256823 w 11625583"/>
              <a:gd name="connsiteY5614" fmla="*/ 708658 h 6380470"/>
              <a:gd name="connsiteX5615" fmla="*/ 4192125 w 11625583"/>
              <a:gd name="connsiteY5615" fmla="*/ 643992 h 6380470"/>
              <a:gd name="connsiteX5616" fmla="*/ 4256823 w 11625583"/>
              <a:gd name="connsiteY5616" fmla="*/ 579326 h 6380470"/>
              <a:gd name="connsiteX5617" fmla="*/ 4100255 w 11625583"/>
              <a:gd name="connsiteY5617" fmla="*/ 579326 h 6380470"/>
              <a:gd name="connsiteX5618" fmla="*/ 4164923 w 11625583"/>
              <a:gd name="connsiteY5618" fmla="*/ 643992 h 6380470"/>
              <a:gd name="connsiteX5619" fmla="*/ 4100255 w 11625583"/>
              <a:gd name="connsiteY5619" fmla="*/ 708658 h 6380470"/>
              <a:gd name="connsiteX5620" fmla="*/ 4035594 w 11625583"/>
              <a:gd name="connsiteY5620" fmla="*/ 643992 h 6380470"/>
              <a:gd name="connsiteX5621" fmla="*/ 4100255 w 11625583"/>
              <a:gd name="connsiteY5621" fmla="*/ 579326 h 6380470"/>
              <a:gd name="connsiteX5622" fmla="*/ 3947579 w 11625583"/>
              <a:gd name="connsiteY5622" fmla="*/ 579326 h 6380470"/>
              <a:gd name="connsiteX5623" fmla="*/ 4012257 w 11625583"/>
              <a:gd name="connsiteY5623" fmla="*/ 643992 h 6380470"/>
              <a:gd name="connsiteX5624" fmla="*/ 3947579 w 11625583"/>
              <a:gd name="connsiteY5624" fmla="*/ 708658 h 6380470"/>
              <a:gd name="connsiteX5625" fmla="*/ 3883063 w 11625583"/>
              <a:gd name="connsiteY5625" fmla="*/ 643992 h 6380470"/>
              <a:gd name="connsiteX5626" fmla="*/ 3947579 w 11625583"/>
              <a:gd name="connsiteY5626" fmla="*/ 579326 h 6380470"/>
              <a:gd name="connsiteX5627" fmla="*/ 3791157 w 11625583"/>
              <a:gd name="connsiteY5627" fmla="*/ 579326 h 6380470"/>
              <a:gd name="connsiteX5628" fmla="*/ 3855823 w 11625583"/>
              <a:gd name="connsiteY5628" fmla="*/ 643992 h 6380470"/>
              <a:gd name="connsiteX5629" fmla="*/ 3791157 w 11625583"/>
              <a:gd name="connsiteY5629" fmla="*/ 708658 h 6380470"/>
              <a:gd name="connsiteX5630" fmla="*/ 3726482 w 11625583"/>
              <a:gd name="connsiteY5630" fmla="*/ 643992 h 6380470"/>
              <a:gd name="connsiteX5631" fmla="*/ 3791157 w 11625583"/>
              <a:gd name="connsiteY5631" fmla="*/ 579326 h 6380470"/>
              <a:gd name="connsiteX5632" fmla="*/ 2855626 w 11625583"/>
              <a:gd name="connsiteY5632" fmla="*/ 579326 h 6380470"/>
              <a:gd name="connsiteX5633" fmla="*/ 2920280 w 11625583"/>
              <a:gd name="connsiteY5633" fmla="*/ 643992 h 6380470"/>
              <a:gd name="connsiteX5634" fmla="*/ 2855626 w 11625583"/>
              <a:gd name="connsiteY5634" fmla="*/ 708658 h 6380470"/>
              <a:gd name="connsiteX5635" fmla="*/ 2790969 w 11625583"/>
              <a:gd name="connsiteY5635" fmla="*/ 643992 h 6380470"/>
              <a:gd name="connsiteX5636" fmla="*/ 2855626 w 11625583"/>
              <a:gd name="connsiteY5636" fmla="*/ 579326 h 6380470"/>
              <a:gd name="connsiteX5637" fmla="*/ 2699081 w 11625583"/>
              <a:gd name="connsiteY5637" fmla="*/ 579326 h 6380470"/>
              <a:gd name="connsiteX5638" fmla="*/ 2763735 w 11625583"/>
              <a:gd name="connsiteY5638" fmla="*/ 643992 h 6380470"/>
              <a:gd name="connsiteX5639" fmla="*/ 2699081 w 11625583"/>
              <a:gd name="connsiteY5639" fmla="*/ 708658 h 6380470"/>
              <a:gd name="connsiteX5640" fmla="*/ 2634426 w 11625583"/>
              <a:gd name="connsiteY5640" fmla="*/ 643992 h 6380470"/>
              <a:gd name="connsiteX5641" fmla="*/ 2699081 w 11625583"/>
              <a:gd name="connsiteY5641" fmla="*/ 579326 h 6380470"/>
              <a:gd name="connsiteX5642" fmla="*/ 2546449 w 11625583"/>
              <a:gd name="connsiteY5642" fmla="*/ 579326 h 6380470"/>
              <a:gd name="connsiteX5643" fmla="*/ 2611104 w 11625583"/>
              <a:gd name="connsiteY5643" fmla="*/ 643992 h 6380470"/>
              <a:gd name="connsiteX5644" fmla="*/ 2546449 w 11625583"/>
              <a:gd name="connsiteY5644" fmla="*/ 708658 h 6380470"/>
              <a:gd name="connsiteX5645" fmla="*/ 2481790 w 11625583"/>
              <a:gd name="connsiteY5645" fmla="*/ 643992 h 6380470"/>
              <a:gd name="connsiteX5646" fmla="*/ 2546449 w 11625583"/>
              <a:gd name="connsiteY5646" fmla="*/ 579326 h 6380470"/>
              <a:gd name="connsiteX5647" fmla="*/ 2389866 w 11625583"/>
              <a:gd name="connsiteY5647" fmla="*/ 579326 h 6380470"/>
              <a:gd name="connsiteX5648" fmla="*/ 2454554 w 11625583"/>
              <a:gd name="connsiteY5648" fmla="*/ 643992 h 6380470"/>
              <a:gd name="connsiteX5649" fmla="*/ 2389866 w 11625583"/>
              <a:gd name="connsiteY5649" fmla="*/ 708658 h 6380470"/>
              <a:gd name="connsiteX5650" fmla="*/ 2325215 w 11625583"/>
              <a:gd name="connsiteY5650" fmla="*/ 643992 h 6380470"/>
              <a:gd name="connsiteX5651" fmla="*/ 2389866 w 11625583"/>
              <a:gd name="connsiteY5651" fmla="*/ 579326 h 6380470"/>
              <a:gd name="connsiteX5652" fmla="*/ 2237196 w 11625583"/>
              <a:gd name="connsiteY5652" fmla="*/ 579326 h 6380470"/>
              <a:gd name="connsiteX5653" fmla="*/ 2301879 w 11625583"/>
              <a:gd name="connsiteY5653" fmla="*/ 643992 h 6380470"/>
              <a:gd name="connsiteX5654" fmla="*/ 2237196 w 11625583"/>
              <a:gd name="connsiteY5654" fmla="*/ 708658 h 6380470"/>
              <a:gd name="connsiteX5655" fmla="*/ 2172508 w 11625583"/>
              <a:gd name="connsiteY5655" fmla="*/ 643992 h 6380470"/>
              <a:gd name="connsiteX5656" fmla="*/ 2237196 w 11625583"/>
              <a:gd name="connsiteY5656" fmla="*/ 579326 h 6380470"/>
              <a:gd name="connsiteX5657" fmla="*/ 2084510 w 11625583"/>
              <a:gd name="connsiteY5657" fmla="*/ 579326 h 6380470"/>
              <a:gd name="connsiteX5658" fmla="*/ 2149173 w 11625583"/>
              <a:gd name="connsiteY5658" fmla="*/ 643992 h 6380470"/>
              <a:gd name="connsiteX5659" fmla="*/ 2084510 w 11625583"/>
              <a:gd name="connsiteY5659" fmla="*/ 708658 h 6380470"/>
              <a:gd name="connsiteX5660" fmla="*/ 2019873 w 11625583"/>
              <a:gd name="connsiteY5660" fmla="*/ 643992 h 6380470"/>
              <a:gd name="connsiteX5661" fmla="*/ 2084510 w 11625583"/>
              <a:gd name="connsiteY5661" fmla="*/ 579326 h 6380470"/>
              <a:gd name="connsiteX5662" fmla="*/ 1927912 w 11625583"/>
              <a:gd name="connsiteY5662" fmla="*/ 579326 h 6380470"/>
              <a:gd name="connsiteX5663" fmla="*/ 1992614 w 11625583"/>
              <a:gd name="connsiteY5663" fmla="*/ 643992 h 6380470"/>
              <a:gd name="connsiteX5664" fmla="*/ 1927912 w 11625583"/>
              <a:gd name="connsiteY5664" fmla="*/ 708658 h 6380470"/>
              <a:gd name="connsiteX5665" fmla="*/ 1863289 w 11625583"/>
              <a:gd name="connsiteY5665" fmla="*/ 643992 h 6380470"/>
              <a:gd name="connsiteX5666" fmla="*/ 1927912 w 11625583"/>
              <a:gd name="connsiteY5666" fmla="*/ 579326 h 6380470"/>
              <a:gd name="connsiteX5667" fmla="*/ 1775269 w 11625583"/>
              <a:gd name="connsiteY5667" fmla="*/ 579326 h 6380470"/>
              <a:gd name="connsiteX5668" fmla="*/ 1839963 w 11625583"/>
              <a:gd name="connsiteY5668" fmla="*/ 643992 h 6380470"/>
              <a:gd name="connsiteX5669" fmla="*/ 1775269 w 11625583"/>
              <a:gd name="connsiteY5669" fmla="*/ 708658 h 6380470"/>
              <a:gd name="connsiteX5670" fmla="*/ 1710597 w 11625583"/>
              <a:gd name="connsiteY5670" fmla="*/ 643992 h 6380470"/>
              <a:gd name="connsiteX5671" fmla="*/ 1775269 w 11625583"/>
              <a:gd name="connsiteY5671" fmla="*/ 579326 h 6380470"/>
              <a:gd name="connsiteX5672" fmla="*/ 1618682 w 11625583"/>
              <a:gd name="connsiteY5672" fmla="*/ 579326 h 6380470"/>
              <a:gd name="connsiteX5673" fmla="*/ 1683355 w 11625583"/>
              <a:gd name="connsiteY5673" fmla="*/ 643992 h 6380470"/>
              <a:gd name="connsiteX5674" fmla="*/ 1618682 w 11625583"/>
              <a:gd name="connsiteY5674" fmla="*/ 708658 h 6380470"/>
              <a:gd name="connsiteX5675" fmla="*/ 1554022 w 11625583"/>
              <a:gd name="connsiteY5675" fmla="*/ 643992 h 6380470"/>
              <a:gd name="connsiteX5676" fmla="*/ 1618682 w 11625583"/>
              <a:gd name="connsiteY5676" fmla="*/ 579326 h 6380470"/>
              <a:gd name="connsiteX5677" fmla="*/ 1466025 w 11625583"/>
              <a:gd name="connsiteY5677" fmla="*/ 579326 h 6380470"/>
              <a:gd name="connsiteX5678" fmla="*/ 1530692 w 11625583"/>
              <a:gd name="connsiteY5678" fmla="*/ 643992 h 6380470"/>
              <a:gd name="connsiteX5679" fmla="*/ 1466025 w 11625583"/>
              <a:gd name="connsiteY5679" fmla="*/ 708658 h 6380470"/>
              <a:gd name="connsiteX5680" fmla="*/ 1401363 w 11625583"/>
              <a:gd name="connsiteY5680" fmla="*/ 643992 h 6380470"/>
              <a:gd name="connsiteX5681" fmla="*/ 1466025 w 11625583"/>
              <a:gd name="connsiteY5681" fmla="*/ 579326 h 6380470"/>
              <a:gd name="connsiteX5682" fmla="*/ 1466029 w 11625583"/>
              <a:gd name="connsiteY5682" fmla="*/ 426670 h 6380470"/>
              <a:gd name="connsiteX5683" fmla="*/ 1530694 w 11625583"/>
              <a:gd name="connsiteY5683" fmla="*/ 491334 h 6380470"/>
              <a:gd name="connsiteX5684" fmla="*/ 1466029 w 11625583"/>
              <a:gd name="connsiteY5684" fmla="*/ 555998 h 6380470"/>
              <a:gd name="connsiteX5685" fmla="*/ 1401363 w 11625583"/>
              <a:gd name="connsiteY5685" fmla="*/ 491334 h 6380470"/>
              <a:gd name="connsiteX5686" fmla="*/ 1466029 w 11625583"/>
              <a:gd name="connsiteY5686" fmla="*/ 426670 h 6380470"/>
              <a:gd name="connsiteX5687" fmla="*/ 2855634 w 11625583"/>
              <a:gd name="connsiteY5687" fmla="*/ 426670 h 6380470"/>
              <a:gd name="connsiteX5688" fmla="*/ 2920282 w 11625583"/>
              <a:gd name="connsiteY5688" fmla="*/ 491334 h 6380470"/>
              <a:gd name="connsiteX5689" fmla="*/ 2855634 w 11625583"/>
              <a:gd name="connsiteY5689" fmla="*/ 555997 h 6380470"/>
              <a:gd name="connsiteX5690" fmla="*/ 2790973 w 11625583"/>
              <a:gd name="connsiteY5690" fmla="*/ 491334 h 6380470"/>
              <a:gd name="connsiteX5691" fmla="*/ 2855634 w 11625583"/>
              <a:gd name="connsiteY5691" fmla="*/ 426670 h 6380470"/>
              <a:gd name="connsiteX5692" fmla="*/ 2699084 w 11625583"/>
              <a:gd name="connsiteY5692" fmla="*/ 426670 h 6380470"/>
              <a:gd name="connsiteX5693" fmla="*/ 2763736 w 11625583"/>
              <a:gd name="connsiteY5693" fmla="*/ 491334 h 6380470"/>
              <a:gd name="connsiteX5694" fmla="*/ 2699084 w 11625583"/>
              <a:gd name="connsiteY5694" fmla="*/ 555997 h 6380470"/>
              <a:gd name="connsiteX5695" fmla="*/ 2634429 w 11625583"/>
              <a:gd name="connsiteY5695" fmla="*/ 491334 h 6380470"/>
              <a:gd name="connsiteX5696" fmla="*/ 2699084 w 11625583"/>
              <a:gd name="connsiteY5696" fmla="*/ 426670 h 6380470"/>
              <a:gd name="connsiteX5697" fmla="*/ 2546449 w 11625583"/>
              <a:gd name="connsiteY5697" fmla="*/ 426670 h 6380470"/>
              <a:gd name="connsiteX5698" fmla="*/ 2611108 w 11625583"/>
              <a:gd name="connsiteY5698" fmla="*/ 491334 h 6380470"/>
              <a:gd name="connsiteX5699" fmla="*/ 2546449 w 11625583"/>
              <a:gd name="connsiteY5699" fmla="*/ 555997 h 6380470"/>
              <a:gd name="connsiteX5700" fmla="*/ 2481792 w 11625583"/>
              <a:gd name="connsiteY5700" fmla="*/ 491334 h 6380470"/>
              <a:gd name="connsiteX5701" fmla="*/ 2546449 w 11625583"/>
              <a:gd name="connsiteY5701" fmla="*/ 426670 h 6380470"/>
              <a:gd name="connsiteX5702" fmla="*/ 2389866 w 11625583"/>
              <a:gd name="connsiteY5702" fmla="*/ 426670 h 6380470"/>
              <a:gd name="connsiteX5703" fmla="*/ 2454554 w 11625583"/>
              <a:gd name="connsiteY5703" fmla="*/ 491334 h 6380470"/>
              <a:gd name="connsiteX5704" fmla="*/ 2389866 w 11625583"/>
              <a:gd name="connsiteY5704" fmla="*/ 555997 h 6380470"/>
              <a:gd name="connsiteX5705" fmla="*/ 2325217 w 11625583"/>
              <a:gd name="connsiteY5705" fmla="*/ 491334 h 6380470"/>
              <a:gd name="connsiteX5706" fmla="*/ 2389866 w 11625583"/>
              <a:gd name="connsiteY5706" fmla="*/ 426670 h 6380470"/>
              <a:gd name="connsiteX5707" fmla="*/ 2237196 w 11625583"/>
              <a:gd name="connsiteY5707" fmla="*/ 426670 h 6380470"/>
              <a:gd name="connsiteX5708" fmla="*/ 2301882 w 11625583"/>
              <a:gd name="connsiteY5708" fmla="*/ 491334 h 6380470"/>
              <a:gd name="connsiteX5709" fmla="*/ 2237196 w 11625583"/>
              <a:gd name="connsiteY5709" fmla="*/ 555998 h 6380470"/>
              <a:gd name="connsiteX5710" fmla="*/ 2172511 w 11625583"/>
              <a:gd name="connsiteY5710" fmla="*/ 491334 h 6380470"/>
              <a:gd name="connsiteX5711" fmla="*/ 2237196 w 11625583"/>
              <a:gd name="connsiteY5711" fmla="*/ 426670 h 6380470"/>
              <a:gd name="connsiteX5712" fmla="*/ 2084510 w 11625583"/>
              <a:gd name="connsiteY5712" fmla="*/ 426670 h 6380470"/>
              <a:gd name="connsiteX5713" fmla="*/ 2149176 w 11625583"/>
              <a:gd name="connsiteY5713" fmla="*/ 491334 h 6380470"/>
              <a:gd name="connsiteX5714" fmla="*/ 2084510 w 11625583"/>
              <a:gd name="connsiteY5714" fmla="*/ 555998 h 6380470"/>
              <a:gd name="connsiteX5715" fmla="*/ 2019873 w 11625583"/>
              <a:gd name="connsiteY5715" fmla="*/ 491334 h 6380470"/>
              <a:gd name="connsiteX5716" fmla="*/ 2084510 w 11625583"/>
              <a:gd name="connsiteY5716" fmla="*/ 426670 h 6380470"/>
              <a:gd name="connsiteX5717" fmla="*/ 1927912 w 11625583"/>
              <a:gd name="connsiteY5717" fmla="*/ 426670 h 6380470"/>
              <a:gd name="connsiteX5718" fmla="*/ 1992614 w 11625583"/>
              <a:gd name="connsiteY5718" fmla="*/ 491334 h 6380470"/>
              <a:gd name="connsiteX5719" fmla="*/ 1927912 w 11625583"/>
              <a:gd name="connsiteY5719" fmla="*/ 555998 h 6380470"/>
              <a:gd name="connsiteX5720" fmla="*/ 1863289 w 11625583"/>
              <a:gd name="connsiteY5720" fmla="*/ 491334 h 6380470"/>
              <a:gd name="connsiteX5721" fmla="*/ 1927912 w 11625583"/>
              <a:gd name="connsiteY5721" fmla="*/ 426670 h 6380470"/>
              <a:gd name="connsiteX5722" fmla="*/ 1775269 w 11625583"/>
              <a:gd name="connsiteY5722" fmla="*/ 426670 h 6380470"/>
              <a:gd name="connsiteX5723" fmla="*/ 1839963 w 11625583"/>
              <a:gd name="connsiteY5723" fmla="*/ 491334 h 6380470"/>
              <a:gd name="connsiteX5724" fmla="*/ 1775269 w 11625583"/>
              <a:gd name="connsiteY5724" fmla="*/ 555998 h 6380470"/>
              <a:gd name="connsiteX5725" fmla="*/ 1710597 w 11625583"/>
              <a:gd name="connsiteY5725" fmla="*/ 491334 h 6380470"/>
              <a:gd name="connsiteX5726" fmla="*/ 1775269 w 11625583"/>
              <a:gd name="connsiteY5726" fmla="*/ 426670 h 6380470"/>
              <a:gd name="connsiteX5727" fmla="*/ 1618685 w 11625583"/>
              <a:gd name="connsiteY5727" fmla="*/ 426670 h 6380470"/>
              <a:gd name="connsiteX5728" fmla="*/ 1683355 w 11625583"/>
              <a:gd name="connsiteY5728" fmla="*/ 491334 h 6380470"/>
              <a:gd name="connsiteX5729" fmla="*/ 1618685 w 11625583"/>
              <a:gd name="connsiteY5729" fmla="*/ 555998 h 6380470"/>
              <a:gd name="connsiteX5730" fmla="*/ 1554023 w 11625583"/>
              <a:gd name="connsiteY5730" fmla="*/ 491334 h 6380470"/>
              <a:gd name="connsiteX5731" fmla="*/ 1618685 w 11625583"/>
              <a:gd name="connsiteY5731" fmla="*/ 426670 h 6380470"/>
              <a:gd name="connsiteX5732" fmla="*/ 10312248 w 11625583"/>
              <a:gd name="connsiteY5732" fmla="*/ 426669 h 6380470"/>
              <a:gd name="connsiteX5733" fmla="*/ 10376914 w 11625583"/>
              <a:gd name="connsiteY5733" fmla="*/ 491332 h 6380470"/>
              <a:gd name="connsiteX5734" fmla="*/ 10312248 w 11625583"/>
              <a:gd name="connsiteY5734" fmla="*/ 555997 h 6380470"/>
              <a:gd name="connsiteX5735" fmla="*/ 10247582 w 11625583"/>
              <a:gd name="connsiteY5735" fmla="*/ 491332 h 6380470"/>
              <a:gd name="connsiteX5736" fmla="*/ 10312248 w 11625583"/>
              <a:gd name="connsiteY5736" fmla="*/ 426669 h 6380470"/>
              <a:gd name="connsiteX5737" fmla="*/ 10159588 w 11625583"/>
              <a:gd name="connsiteY5737" fmla="*/ 426669 h 6380470"/>
              <a:gd name="connsiteX5738" fmla="*/ 10224254 w 11625583"/>
              <a:gd name="connsiteY5738" fmla="*/ 491332 h 6380470"/>
              <a:gd name="connsiteX5739" fmla="*/ 10159588 w 11625583"/>
              <a:gd name="connsiteY5739" fmla="*/ 555997 h 6380470"/>
              <a:gd name="connsiteX5740" fmla="*/ 10094922 w 11625583"/>
              <a:gd name="connsiteY5740" fmla="*/ 491332 h 6380470"/>
              <a:gd name="connsiteX5741" fmla="*/ 10159588 w 11625583"/>
              <a:gd name="connsiteY5741" fmla="*/ 426669 h 6380470"/>
              <a:gd name="connsiteX5742" fmla="*/ 10003016 w 11625583"/>
              <a:gd name="connsiteY5742" fmla="*/ 426669 h 6380470"/>
              <a:gd name="connsiteX5743" fmla="*/ 10067682 w 11625583"/>
              <a:gd name="connsiteY5743" fmla="*/ 491332 h 6380470"/>
              <a:gd name="connsiteX5744" fmla="*/ 10003016 w 11625583"/>
              <a:gd name="connsiteY5744" fmla="*/ 555997 h 6380470"/>
              <a:gd name="connsiteX5745" fmla="*/ 9938350 w 11625583"/>
              <a:gd name="connsiteY5745" fmla="*/ 491332 h 6380470"/>
              <a:gd name="connsiteX5746" fmla="*/ 10003016 w 11625583"/>
              <a:gd name="connsiteY5746" fmla="*/ 426669 h 6380470"/>
              <a:gd name="connsiteX5747" fmla="*/ 9075319 w 11625583"/>
              <a:gd name="connsiteY5747" fmla="*/ 426669 h 6380470"/>
              <a:gd name="connsiteX5748" fmla="*/ 9139985 w 11625583"/>
              <a:gd name="connsiteY5748" fmla="*/ 491332 h 6380470"/>
              <a:gd name="connsiteX5749" fmla="*/ 9075319 w 11625583"/>
              <a:gd name="connsiteY5749" fmla="*/ 555997 h 6380470"/>
              <a:gd name="connsiteX5750" fmla="*/ 9010653 w 11625583"/>
              <a:gd name="connsiteY5750" fmla="*/ 491332 h 6380470"/>
              <a:gd name="connsiteX5751" fmla="*/ 9075319 w 11625583"/>
              <a:gd name="connsiteY5751" fmla="*/ 426669 h 6380470"/>
              <a:gd name="connsiteX5752" fmla="*/ 8914831 w 11625583"/>
              <a:gd name="connsiteY5752" fmla="*/ 426669 h 6380470"/>
              <a:gd name="connsiteX5753" fmla="*/ 8979497 w 11625583"/>
              <a:gd name="connsiteY5753" fmla="*/ 491332 h 6380470"/>
              <a:gd name="connsiteX5754" fmla="*/ 8914831 w 11625583"/>
              <a:gd name="connsiteY5754" fmla="*/ 555997 h 6380470"/>
              <a:gd name="connsiteX5755" fmla="*/ 8850165 w 11625583"/>
              <a:gd name="connsiteY5755" fmla="*/ 491332 h 6380470"/>
              <a:gd name="connsiteX5756" fmla="*/ 8914831 w 11625583"/>
              <a:gd name="connsiteY5756" fmla="*/ 426669 h 6380470"/>
              <a:gd name="connsiteX5757" fmla="*/ 8766086 w 11625583"/>
              <a:gd name="connsiteY5757" fmla="*/ 426669 h 6380470"/>
              <a:gd name="connsiteX5758" fmla="*/ 8830752 w 11625583"/>
              <a:gd name="connsiteY5758" fmla="*/ 491332 h 6380470"/>
              <a:gd name="connsiteX5759" fmla="*/ 8766086 w 11625583"/>
              <a:gd name="connsiteY5759" fmla="*/ 555997 h 6380470"/>
              <a:gd name="connsiteX5760" fmla="*/ 8701420 w 11625583"/>
              <a:gd name="connsiteY5760" fmla="*/ 491332 h 6380470"/>
              <a:gd name="connsiteX5761" fmla="*/ 8766086 w 11625583"/>
              <a:gd name="connsiteY5761" fmla="*/ 426669 h 6380470"/>
              <a:gd name="connsiteX5762" fmla="*/ 8601685 w 11625583"/>
              <a:gd name="connsiteY5762" fmla="*/ 426669 h 6380470"/>
              <a:gd name="connsiteX5763" fmla="*/ 8666351 w 11625583"/>
              <a:gd name="connsiteY5763" fmla="*/ 491332 h 6380470"/>
              <a:gd name="connsiteX5764" fmla="*/ 8601685 w 11625583"/>
              <a:gd name="connsiteY5764" fmla="*/ 555997 h 6380470"/>
              <a:gd name="connsiteX5765" fmla="*/ 8537019 w 11625583"/>
              <a:gd name="connsiteY5765" fmla="*/ 491332 h 6380470"/>
              <a:gd name="connsiteX5766" fmla="*/ 8601685 w 11625583"/>
              <a:gd name="connsiteY5766" fmla="*/ 426669 h 6380470"/>
              <a:gd name="connsiteX5767" fmla="*/ 7677904 w 11625583"/>
              <a:gd name="connsiteY5767" fmla="*/ 426669 h 6380470"/>
              <a:gd name="connsiteX5768" fmla="*/ 7742570 w 11625583"/>
              <a:gd name="connsiteY5768" fmla="*/ 491332 h 6380470"/>
              <a:gd name="connsiteX5769" fmla="*/ 7677904 w 11625583"/>
              <a:gd name="connsiteY5769" fmla="*/ 555997 h 6380470"/>
              <a:gd name="connsiteX5770" fmla="*/ 7613238 w 11625583"/>
              <a:gd name="connsiteY5770" fmla="*/ 491332 h 6380470"/>
              <a:gd name="connsiteX5771" fmla="*/ 7677904 w 11625583"/>
              <a:gd name="connsiteY5771" fmla="*/ 426669 h 6380470"/>
              <a:gd name="connsiteX5772" fmla="*/ 7521331 w 11625583"/>
              <a:gd name="connsiteY5772" fmla="*/ 426669 h 6380470"/>
              <a:gd name="connsiteX5773" fmla="*/ 7585997 w 11625583"/>
              <a:gd name="connsiteY5773" fmla="*/ 491332 h 6380470"/>
              <a:gd name="connsiteX5774" fmla="*/ 7521331 w 11625583"/>
              <a:gd name="connsiteY5774" fmla="*/ 555997 h 6380470"/>
              <a:gd name="connsiteX5775" fmla="*/ 7456665 w 11625583"/>
              <a:gd name="connsiteY5775" fmla="*/ 491332 h 6380470"/>
              <a:gd name="connsiteX5776" fmla="*/ 7521331 w 11625583"/>
              <a:gd name="connsiteY5776" fmla="*/ 426669 h 6380470"/>
              <a:gd name="connsiteX5777" fmla="*/ 4722614 w 11625583"/>
              <a:gd name="connsiteY5777" fmla="*/ 426669 h 6380470"/>
              <a:gd name="connsiteX5778" fmla="*/ 4787277 w 11625583"/>
              <a:gd name="connsiteY5778" fmla="*/ 491332 h 6380470"/>
              <a:gd name="connsiteX5779" fmla="*/ 4722614 w 11625583"/>
              <a:gd name="connsiteY5779" fmla="*/ 555997 h 6380470"/>
              <a:gd name="connsiteX5780" fmla="*/ 4657957 w 11625583"/>
              <a:gd name="connsiteY5780" fmla="*/ 491332 h 6380470"/>
              <a:gd name="connsiteX5781" fmla="*/ 4722614 w 11625583"/>
              <a:gd name="connsiteY5781" fmla="*/ 426669 h 6380470"/>
              <a:gd name="connsiteX5782" fmla="*/ 4566030 w 11625583"/>
              <a:gd name="connsiteY5782" fmla="*/ 426669 h 6380470"/>
              <a:gd name="connsiteX5783" fmla="*/ 4630712 w 11625583"/>
              <a:gd name="connsiteY5783" fmla="*/ 491332 h 6380470"/>
              <a:gd name="connsiteX5784" fmla="*/ 4566030 w 11625583"/>
              <a:gd name="connsiteY5784" fmla="*/ 555997 h 6380470"/>
              <a:gd name="connsiteX5785" fmla="*/ 4501345 w 11625583"/>
              <a:gd name="connsiteY5785" fmla="*/ 491332 h 6380470"/>
              <a:gd name="connsiteX5786" fmla="*/ 4566030 w 11625583"/>
              <a:gd name="connsiteY5786" fmla="*/ 426669 h 6380470"/>
              <a:gd name="connsiteX5787" fmla="*/ 4409471 w 11625583"/>
              <a:gd name="connsiteY5787" fmla="*/ 426669 h 6380470"/>
              <a:gd name="connsiteX5788" fmla="*/ 4474113 w 11625583"/>
              <a:gd name="connsiteY5788" fmla="*/ 491332 h 6380470"/>
              <a:gd name="connsiteX5789" fmla="*/ 4409471 w 11625583"/>
              <a:gd name="connsiteY5789" fmla="*/ 555997 h 6380470"/>
              <a:gd name="connsiteX5790" fmla="*/ 4344809 w 11625583"/>
              <a:gd name="connsiteY5790" fmla="*/ 491332 h 6380470"/>
              <a:gd name="connsiteX5791" fmla="*/ 4409471 w 11625583"/>
              <a:gd name="connsiteY5791" fmla="*/ 426669 h 6380470"/>
              <a:gd name="connsiteX5792" fmla="*/ 4256823 w 11625583"/>
              <a:gd name="connsiteY5792" fmla="*/ 426669 h 6380470"/>
              <a:gd name="connsiteX5793" fmla="*/ 4321471 w 11625583"/>
              <a:gd name="connsiteY5793" fmla="*/ 491332 h 6380470"/>
              <a:gd name="connsiteX5794" fmla="*/ 4256823 w 11625583"/>
              <a:gd name="connsiteY5794" fmla="*/ 555997 h 6380470"/>
              <a:gd name="connsiteX5795" fmla="*/ 4192125 w 11625583"/>
              <a:gd name="connsiteY5795" fmla="*/ 491332 h 6380470"/>
              <a:gd name="connsiteX5796" fmla="*/ 4256823 w 11625583"/>
              <a:gd name="connsiteY5796" fmla="*/ 426669 h 6380470"/>
              <a:gd name="connsiteX5797" fmla="*/ 4100255 w 11625583"/>
              <a:gd name="connsiteY5797" fmla="*/ 426669 h 6380470"/>
              <a:gd name="connsiteX5798" fmla="*/ 4164923 w 11625583"/>
              <a:gd name="connsiteY5798" fmla="*/ 491332 h 6380470"/>
              <a:gd name="connsiteX5799" fmla="*/ 4100255 w 11625583"/>
              <a:gd name="connsiteY5799" fmla="*/ 555997 h 6380470"/>
              <a:gd name="connsiteX5800" fmla="*/ 4035594 w 11625583"/>
              <a:gd name="connsiteY5800" fmla="*/ 491332 h 6380470"/>
              <a:gd name="connsiteX5801" fmla="*/ 4100255 w 11625583"/>
              <a:gd name="connsiteY5801" fmla="*/ 426669 h 6380470"/>
              <a:gd name="connsiteX5802" fmla="*/ 3947579 w 11625583"/>
              <a:gd name="connsiteY5802" fmla="*/ 426669 h 6380470"/>
              <a:gd name="connsiteX5803" fmla="*/ 4012257 w 11625583"/>
              <a:gd name="connsiteY5803" fmla="*/ 491332 h 6380470"/>
              <a:gd name="connsiteX5804" fmla="*/ 3947579 w 11625583"/>
              <a:gd name="connsiteY5804" fmla="*/ 555997 h 6380470"/>
              <a:gd name="connsiteX5805" fmla="*/ 3883064 w 11625583"/>
              <a:gd name="connsiteY5805" fmla="*/ 491332 h 6380470"/>
              <a:gd name="connsiteX5806" fmla="*/ 3947579 w 11625583"/>
              <a:gd name="connsiteY5806" fmla="*/ 426669 h 6380470"/>
              <a:gd name="connsiteX5807" fmla="*/ 3791161 w 11625583"/>
              <a:gd name="connsiteY5807" fmla="*/ 426669 h 6380470"/>
              <a:gd name="connsiteX5808" fmla="*/ 3855823 w 11625583"/>
              <a:gd name="connsiteY5808" fmla="*/ 491332 h 6380470"/>
              <a:gd name="connsiteX5809" fmla="*/ 3791161 w 11625583"/>
              <a:gd name="connsiteY5809" fmla="*/ 555997 h 6380470"/>
              <a:gd name="connsiteX5810" fmla="*/ 3726486 w 11625583"/>
              <a:gd name="connsiteY5810" fmla="*/ 491332 h 6380470"/>
              <a:gd name="connsiteX5811" fmla="*/ 3791161 w 11625583"/>
              <a:gd name="connsiteY5811" fmla="*/ 426669 h 6380470"/>
              <a:gd name="connsiteX5812" fmla="*/ 3630671 w 11625583"/>
              <a:gd name="connsiteY5812" fmla="*/ 426669 h 6380470"/>
              <a:gd name="connsiteX5813" fmla="*/ 3695344 w 11625583"/>
              <a:gd name="connsiteY5813" fmla="*/ 491332 h 6380470"/>
              <a:gd name="connsiteX5814" fmla="*/ 3630671 w 11625583"/>
              <a:gd name="connsiteY5814" fmla="*/ 555997 h 6380470"/>
              <a:gd name="connsiteX5815" fmla="*/ 3565990 w 11625583"/>
              <a:gd name="connsiteY5815" fmla="*/ 491332 h 6380470"/>
              <a:gd name="connsiteX5816" fmla="*/ 3630671 w 11625583"/>
              <a:gd name="connsiteY5816" fmla="*/ 426669 h 6380470"/>
              <a:gd name="connsiteX5817" fmla="*/ 3481916 w 11625583"/>
              <a:gd name="connsiteY5817" fmla="*/ 426669 h 6380470"/>
              <a:gd name="connsiteX5818" fmla="*/ 3546591 w 11625583"/>
              <a:gd name="connsiteY5818" fmla="*/ 491332 h 6380470"/>
              <a:gd name="connsiteX5819" fmla="*/ 3481916 w 11625583"/>
              <a:gd name="connsiteY5819" fmla="*/ 555997 h 6380470"/>
              <a:gd name="connsiteX5820" fmla="*/ 3417259 w 11625583"/>
              <a:gd name="connsiteY5820" fmla="*/ 491332 h 6380470"/>
              <a:gd name="connsiteX5821" fmla="*/ 3481916 w 11625583"/>
              <a:gd name="connsiteY5821" fmla="*/ 426669 h 6380470"/>
              <a:gd name="connsiteX5822" fmla="*/ 3321451 w 11625583"/>
              <a:gd name="connsiteY5822" fmla="*/ 426669 h 6380470"/>
              <a:gd name="connsiteX5823" fmla="*/ 3386094 w 11625583"/>
              <a:gd name="connsiteY5823" fmla="*/ 491334 h 6380470"/>
              <a:gd name="connsiteX5824" fmla="*/ 3321451 w 11625583"/>
              <a:gd name="connsiteY5824" fmla="*/ 555997 h 6380470"/>
              <a:gd name="connsiteX5825" fmla="*/ 3256791 w 11625583"/>
              <a:gd name="connsiteY5825" fmla="*/ 491334 h 6380470"/>
              <a:gd name="connsiteX5826" fmla="*/ 3321451 w 11625583"/>
              <a:gd name="connsiteY5826" fmla="*/ 426669 h 6380470"/>
              <a:gd name="connsiteX5827" fmla="*/ 2855634 w 11625583"/>
              <a:gd name="connsiteY5827" fmla="*/ 289662 h 6380470"/>
              <a:gd name="connsiteX5828" fmla="*/ 2920282 w 11625583"/>
              <a:gd name="connsiteY5828" fmla="*/ 354327 h 6380470"/>
              <a:gd name="connsiteX5829" fmla="*/ 2855634 w 11625583"/>
              <a:gd name="connsiteY5829" fmla="*/ 419004 h 6380470"/>
              <a:gd name="connsiteX5830" fmla="*/ 2790973 w 11625583"/>
              <a:gd name="connsiteY5830" fmla="*/ 354327 h 6380470"/>
              <a:gd name="connsiteX5831" fmla="*/ 2855634 w 11625583"/>
              <a:gd name="connsiteY5831" fmla="*/ 289662 h 6380470"/>
              <a:gd name="connsiteX5832" fmla="*/ 2699084 w 11625583"/>
              <a:gd name="connsiteY5832" fmla="*/ 289662 h 6380470"/>
              <a:gd name="connsiteX5833" fmla="*/ 2763736 w 11625583"/>
              <a:gd name="connsiteY5833" fmla="*/ 354327 h 6380470"/>
              <a:gd name="connsiteX5834" fmla="*/ 2699084 w 11625583"/>
              <a:gd name="connsiteY5834" fmla="*/ 419004 h 6380470"/>
              <a:gd name="connsiteX5835" fmla="*/ 2634429 w 11625583"/>
              <a:gd name="connsiteY5835" fmla="*/ 354327 h 6380470"/>
              <a:gd name="connsiteX5836" fmla="*/ 2699084 w 11625583"/>
              <a:gd name="connsiteY5836" fmla="*/ 289662 h 6380470"/>
              <a:gd name="connsiteX5837" fmla="*/ 2546449 w 11625583"/>
              <a:gd name="connsiteY5837" fmla="*/ 289662 h 6380470"/>
              <a:gd name="connsiteX5838" fmla="*/ 2611108 w 11625583"/>
              <a:gd name="connsiteY5838" fmla="*/ 354327 h 6380470"/>
              <a:gd name="connsiteX5839" fmla="*/ 2546449 w 11625583"/>
              <a:gd name="connsiteY5839" fmla="*/ 419004 h 6380470"/>
              <a:gd name="connsiteX5840" fmla="*/ 2481792 w 11625583"/>
              <a:gd name="connsiteY5840" fmla="*/ 354327 h 6380470"/>
              <a:gd name="connsiteX5841" fmla="*/ 2546449 w 11625583"/>
              <a:gd name="connsiteY5841" fmla="*/ 289662 h 6380470"/>
              <a:gd name="connsiteX5842" fmla="*/ 2237196 w 11625583"/>
              <a:gd name="connsiteY5842" fmla="*/ 289662 h 6380470"/>
              <a:gd name="connsiteX5843" fmla="*/ 2301882 w 11625583"/>
              <a:gd name="connsiteY5843" fmla="*/ 354327 h 6380470"/>
              <a:gd name="connsiteX5844" fmla="*/ 2237196 w 11625583"/>
              <a:gd name="connsiteY5844" fmla="*/ 419004 h 6380470"/>
              <a:gd name="connsiteX5845" fmla="*/ 2172511 w 11625583"/>
              <a:gd name="connsiteY5845" fmla="*/ 354327 h 6380470"/>
              <a:gd name="connsiteX5846" fmla="*/ 2237196 w 11625583"/>
              <a:gd name="connsiteY5846" fmla="*/ 289662 h 6380470"/>
              <a:gd name="connsiteX5847" fmla="*/ 2084510 w 11625583"/>
              <a:gd name="connsiteY5847" fmla="*/ 289662 h 6380470"/>
              <a:gd name="connsiteX5848" fmla="*/ 2149176 w 11625583"/>
              <a:gd name="connsiteY5848" fmla="*/ 354327 h 6380470"/>
              <a:gd name="connsiteX5849" fmla="*/ 2084510 w 11625583"/>
              <a:gd name="connsiteY5849" fmla="*/ 419004 h 6380470"/>
              <a:gd name="connsiteX5850" fmla="*/ 2019873 w 11625583"/>
              <a:gd name="connsiteY5850" fmla="*/ 354327 h 6380470"/>
              <a:gd name="connsiteX5851" fmla="*/ 2084510 w 11625583"/>
              <a:gd name="connsiteY5851" fmla="*/ 289662 h 6380470"/>
              <a:gd name="connsiteX5852" fmla="*/ 1927926 w 11625583"/>
              <a:gd name="connsiteY5852" fmla="*/ 289662 h 6380470"/>
              <a:gd name="connsiteX5853" fmla="*/ 1992616 w 11625583"/>
              <a:gd name="connsiteY5853" fmla="*/ 354327 h 6380470"/>
              <a:gd name="connsiteX5854" fmla="*/ 1927926 w 11625583"/>
              <a:gd name="connsiteY5854" fmla="*/ 419004 h 6380470"/>
              <a:gd name="connsiteX5855" fmla="*/ 1863292 w 11625583"/>
              <a:gd name="connsiteY5855" fmla="*/ 354327 h 6380470"/>
              <a:gd name="connsiteX5856" fmla="*/ 1927926 w 11625583"/>
              <a:gd name="connsiteY5856" fmla="*/ 289662 h 6380470"/>
              <a:gd name="connsiteX5857" fmla="*/ 1775272 w 11625583"/>
              <a:gd name="connsiteY5857" fmla="*/ 289662 h 6380470"/>
              <a:gd name="connsiteX5858" fmla="*/ 1839963 w 11625583"/>
              <a:gd name="connsiteY5858" fmla="*/ 354327 h 6380470"/>
              <a:gd name="connsiteX5859" fmla="*/ 1775272 w 11625583"/>
              <a:gd name="connsiteY5859" fmla="*/ 419004 h 6380470"/>
              <a:gd name="connsiteX5860" fmla="*/ 1710600 w 11625583"/>
              <a:gd name="connsiteY5860" fmla="*/ 354327 h 6380470"/>
              <a:gd name="connsiteX5861" fmla="*/ 1775272 w 11625583"/>
              <a:gd name="connsiteY5861" fmla="*/ 289662 h 6380470"/>
              <a:gd name="connsiteX5862" fmla="*/ 1618690 w 11625583"/>
              <a:gd name="connsiteY5862" fmla="*/ 289662 h 6380470"/>
              <a:gd name="connsiteX5863" fmla="*/ 1683360 w 11625583"/>
              <a:gd name="connsiteY5863" fmla="*/ 354327 h 6380470"/>
              <a:gd name="connsiteX5864" fmla="*/ 1618690 w 11625583"/>
              <a:gd name="connsiteY5864" fmla="*/ 419004 h 6380470"/>
              <a:gd name="connsiteX5865" fmla="*/ 1554023 w 11625583"/>
              <a:gd name="connsiteY5865" fmla="*/ 354327 h 6380470"/>
              <a:gd name="connsiteX5866" fmla="*/ 1618690 w 11625583"/>
              <a:gd name="connsiteY5866" fmla="*/ 289662 h 6380470"/>
              <a:gd name="connsiteX5867" fmla="*/ 3791161 w 11625583"/>
              <a:gd name="connsiteY5867" fmla="*/ 289662 h 6380470"/>
              <a:gd name="connsiteX5868" fmla="*/ 3855823 w 11625583"/>
              <a:gd name="connsiteY5868" fmla="*/ 354325 h 6380470"/>
              <a:gd name="connsiteX5869" fmla="*/ 3791161 w 11625583"/>
              <a:gd name="connsiteY5869" fmla="*/ 419003 h 6380470"/>
              <a:gd name="connsiteX5870" fmla="*/ 3726486 w 11625583"/>
              <a:gd name="connsiteY5870" fmla="*/ 354325 h 6380470"/>
              <a:gd name="connsiteX5871" fmla="*/ 3791161 w 11625583"/>
              <a:gd name="connsiteY5871" fmla="*/ 289662 h 6380470"/>
              <a:gd name="connsiteX5872" fmla="*/ 3630675 w 11625583"/>
              <a:gd name="connsiteY5872" fmla="*/ 289662 h 6380470"/>
              <a:gd name="connsiteX5873" fmla="*/ 3695344 w 11625583"/>
              <a:gd name="connsiteY5873" fmla="*/ 354325 h 6380470"/>
              <a:gd name="connsiteX5874" fmla="*/ 3630675 w 11625583"/>
              <a:gd name="connsiteY5874" fmla="*/ 419003 h 6380470"/>
              <a:gd name="connsiteX5875" fmla="*/ 3565992 w 11625583"/>
              <a:gd name="connsiteY5875" fmla="*/ 354325 h 6380470"/>
              <a:gd name="connsiteX5876" fmla="*/ 3630675 w 11625583"/>
              <a:gd name="connsiteY5876" fmla="*/ 289662 h 6380470"/>
              <a:gd name="connsiteX5877" fmla="*/ 3481916 w 11625583"/>
              <a:gd name="connsiteY5877" fmla="*/ 289662 h 6380470"/>
              <a:gd name="connsiteX5878" fmla="*/ 3546591 w 11625583"/>
              <a:gd name="connsiteY5878" fmla="*/ 354325 h 6380470"/>
              <a:gd name="connsiteX5879" fmla="*/ 3481916 w 11625583"/>
              <a:gd name="connsiteY5879" fmla="*/ 419003 h 6380470"/>
              <a:gd name="connsiteX5880" fmla="*/ 3417259 w 11625583"/>
              <a:gd name="connsiteY5880" fmla="*/ 354325 h 6380470"/>
              <a:gd name="connsiteX5881" fmla="*/ 3481916 w 11625583"/>
              <a:gd name="connsiteY5881" fmla="*/ 289662 h 6380470"/>
              <a:gd name="connsiteX5882" fmla="*/ 3321451 w 11625583"/>
              <a:gd name="connsiteY5882" fmla="*/ 289662 h 6380470"/>
              <a:gd name="connsiteX5883" fmla="*/ 3386094 w 11625583"/>
              <a:gd name="connsiteY5883" fmla="*/ 354325 h 6380470"/>
              <a:gd name="connsiteX5884" fmla="*/ 3321451 w 11625583"/>
              <a:gd name="connsiteY5884" fmla="*/ 419003 h 6380470"/>
              <a:gd name="connsiteX5885" fmla="*/ 3256791 w 11625583"/>
              <a:gd name="connsiteY5885" fmla="*/ 354325 h 6380470"/>
              <a:gd name="connsiteX5886" fmla="*/ 3321451 w 11625583"/>
              <a:gd name="connsiteY5886" fmla="*/ 289662 h 6380470"/>
              <a:gd name="connsiteX5887" fmla="*/ 3012178 w 11625583"/>
              <a:gd name="connsiteY5887" fmla="*/ 289662 h 6380470"/>
              <a:gd name="connsiteX5888" fmla="*/ 3076850 w 11625583"/>
              <a:gd name="connsiteY5888" fmla="*/ 354327 h 6380470"/>
              <a:gd name="connsiteX5889" fmla="*/ 3012178 w 11625583"/>
              <a:gd name="connsiteY5889" fmla="*/ 419004 h 6380470"/>
              <a:gd name="connsiteX5890" fmla="*/ 2947522 w 11625583"/>
              <a:gd name="connsiteY5890" fmla="*/ 354327 h 6380470"/>
              <a:gd name="connsiteX5891" fmla="*/ 3012178 w 11625583"/>
              <a:gd name="connsiteY5891" fmla="*/ 289662 h 6380470"/>
              <a:gd name="connsiteX5892" fmla="*/ 4722614 w 11625583"/>
              <a:gd name="connsiteY5892" fmla="*/ 289661 h 6380470"/>
              <a:gd name="connsiteX5893" fmla="*/ 4787277 w 11625583"/>
              <a:gd name="connsiteY5893" fmla="*/ 354325 h 6380470"/>
              <a:gd name="connsiteX5894" fmla="*/ 4722614 w 11625583"/>
              <a:gd name="connsiteY5894" fmla="*/ 419003 h 6380470"/>
              <a:gd name="connsiteX5895" fmla="*/ 4657957 w 11625583"/>
              <a:gd name="connsiteY5895" fmla="*/ 354325 h 6380470"/>
              <a:gd name="connsiteX5896" fmla="*/ 4722614 w 11625583"/>
              <a:gd name="connsiteY5896" fmla="*/ 289661 h 6380470"/>
              <a:gd name="connsiteX5897" fmla="*/ 4566033 w 11625583"/>
              <a:gd name="connsiteY5897" fmla="*/ 289661 h 6380470"/>
              <a:gd name="connsiteX5898" fmla="*/ 4630719 w 11625583"/>
              <a:gd name="connsiteY5898" fmla="*/ 354325 h 6380470"/>
              <a:gd name="connsiteX5899" fmla="*/ 4566033 w 11625583"/>
              <a:gd name="connsiteY5899" fmla="*/ 419003 h 6380470"/>
              <a:gd name="connsiteX5900" fmla="*/ 4501349 w 11625583"/>
              <a:gd name="connsiteY5900" fmla="*/ 354325 h 6380470"/>
              <a:gd name="connsiteX5901" fmla="*/ 4566033 w 11625583"/>
              <a:gd name="connsiteY5901" fmla="*/ 289661 h 6380470"/>
              <a:gd name="connsiteX5902" fmla="*/ 4409471 w 11625583"/>
              <a:gd name="connsiteY5902" fmla="*/ 289661 h 6380470"/>
              <a:gd name="connsiteX5903" fmla="*/ 4474113 w 11625583"/>
              <a:gd name="connsiteY5903" fmla="*/ 354325 h 6380470"/>
              <a:gd name="connsiteX5904" fmla="*/ 4409471 w 11625583"/>
              <a:gd name="connsiteY5904" fmla="*/ 419003 h 6380470"/>
              <a:gd name="connsiteX5905" fmla="*/ 4344809 w 11625583"/>
              <a:gd name="connsiteY5905" fmla="*/ 354325 h 6380470"/>
              <a:gd name="connsiteX5906" fmla="*/ 4409471 w 11625583"/>
              <a:gd name="connsiteY5906" fmla="*/ 289661 h 6380470"/>
              <a:gd name="connsiteX5907" fmla="*/ 4256823 w 11625583"/>
              <a:gd name="connsiteY5907" fmla="*/ 289661 h 6380470"/>
              <a:gd name="connsiteX5908" fmla="*/ 4321471 w 11625583"/>
              <a:gd name="connsiteY5908" fmla="*/ 354325 h 6380470"/>
              <a:gd name="connsiteX5909" fmla="*/ 4256823 w 11625583"/>
              <a:gd name="connsiteY5909" fmla="*/ 419003 h 6380470"/>
              <a:gd name="connsiteX5910" fmla="*/ 4192125 w 11625583"/>
              <a:gd name="connsiteY5910" fmla="*/ 354325 h 6380470"/>
              <a:gd name="connsiteX5911" fmla="*/ 4256823 w 11625583"/>
              <a:gd name="connsiteY5911" fmla="*/ 289661 h 6380470"/>
              <a:gd name="connsiteX5912" fmla="*/ 4100255 w 11625583"/>
              <a:gd name="connsiteY5912" fmla="*/ 289661 h 6380470"/>
              <a:gd name="connsiteX5913" fmla="*/ 4164923 w 11625583"/>
              <a:gd name="connsiteY5913" fmla="*/ 354325 h 6380470"/>
              <a:gd name="connsiteX5914" fmla="*/ 4100255 w 11625583"/>
              <a:gd name="connsiteY5914" fmla="*/ 419003 h 6380470"/>
              <a:gd name="connsiteX5915" fmla="*/ 4035594 w 11625583"/>
              <a:gd name="connsiteY5915" fmla="*/ 354325 h 6380470"/>
              <a:gd name="connsiteX5916" fmla="*/ 4100255 w 11625583"/>
              <a:gd name="connsiteY5916" fmla="*/ 289661 h 6380470"/>
              <a:gd name="connsiteX5917" fmla="*/ 3947579 w 11625583"/>
              <a:gd name="connsiteY5917" fmla="*/ 289661 h 6380470"/>
              <a:gd name="connsiteX5918" fmla="*/ 4012257 w 11625583"/>
              <a:gd name="connsiteY5918" fmla="*/ 354325 h 6380470"/>
              <a:gd name="connsiteX5919" fmla="*/ 3947579 w 11625583"/>
              <a:gd name="connsiteY5919" fmla="*/ 419003 h 6380470"/>
              <a:gd name="connsiteX5920" fmla="*/ 3883069 w 11625583"/>
              <a:gd name="connsiteY5920" fmla="*/ 354325 h 6380470"/>
              <a:gd name="connsiteX5921" fmla="*/ 3947579 w 11625583"/>
              <a:gd name="connsiteY5921" fmla="*/ 289661 h 6380470"/>
              <a:gd name="connsiteX5922" fmla="*/ 8914831 w 11625583"/>
              <a:gd name="connsiteY5922" fmla="*/ 289661 h 6380470"/>
              <a:gd name="connsiteX5923" fmla="*/ 8979497 w 11625583"/>
              <a:gd name="connsiteY5923" fmla="*/ 354325 h 6380470"/>
              <a:gd name="connsiteX5924" fmla="*/ 8914831 w 11625583"/>
              <a:gd name="connsiteY5924" fmla="*/ 419003 h 6380470"/>
              <a:gd name="connsiteX5925" fmla="*/ 8850165 w 11625583"/>
              <a:gd name="connsiteY5925" fmla="*/ 354325 h 6380470"/>
              <a:gd name="connsiteX5926" fmla="*/ 8914831 w 11625583"/>
              <a:gd name="connsiteY5926" fmla="*/ 289661 h 6380470"/>
              <a:gd name="connsiteX5927" fmla="*/ 8766087 w 11625583"/>
              <a:gd name="connsiteY5927" fmla="*/ 289661 h 6380470"/>
              <a:gd name="connsiteX5928" fmla="*/ 8830753 w 11625583"/>
              <a:gd name="connsiteY5928" fmla="*/ 354325 h 6380470"/>
              <a:gd name="connsiteX5929" fmla="*/ 8766087 w 11625583"/>
              <a:gd name="connsiteY5929" fmla="*/ 419003 h 6380470"/>
              <a:gd name="connsiteX5930" fmla="*/ 8701421 w 11625583"/>
              <a:gd name="connsiteY5930" fmla="*/ 354325 h 6380470"/>
              <a:gd name="connsiteX5931" fmla="*/ 8766087 w 11625583"/>
              <a:gd name="connsiteY5931" fmla="*/ 289661 h 6380470"/>
              <a:gd name="connsiteX5932" fmla="*/ 5967339 w 11625583"/>
              <a:gd name="connsiteY5932" fmla="*/ 289661 h 6380470"/>
              <a:gd name="connsiteX5933" fmla="*/ 6032005 w 11625583"/>
              <a:gd name="connsiteY5933" fmla="*/ 354325 h 6380470"/>
              <a:gd name="connsiteX5934" fmla="*/ 5967339 w 11625583"/>
              <a:gd name="connsiteY5934" fmla="*/ 419003 h 6380470"/>
              <a:gd name="connsiteX5935" fmla="*/ 5902673 w 11625583"/>
              <a:gd name="connsiteY5935" fmla="*/ 354325 h 6380470"/>
              <a:gd name="connsiteX5936" fmla="*/ 5967339 w 11625583"/>
              <a:gd name="connsiteY5936" fmla="*/ 289661 h 6380470"/>
              <a:gd name="connsiteX5937" fmla="*/ 2546449 w 11625583"/>
              <a:gd name="connsiteY5937" fmla="*/ 140925 h 6380470"/>
              <a:gd name="connsiteX5938" fmla="*/ 2611108 w 11625583"/>
              <a:gd name="connsiteY5938" fmla="*/ 205590 h 6380470"/>
              <a:gd name="connsiteX5939" fmla="*/ 2546449 w 11625583"/>
              <a:gd name="connsiteY5939" fmla="*/ 270252 h 6380470"/>
              <a:gd name="connsiteX5940" fmla="*/ 2481792 w 11625583"/>
              <a:gd name="connsiteY5940" fmla="*/ 205590 h 6380470"/>
              <a:gd name="connsiteX5941" fmla="*/ 2546449 w 11625583"/>
              <a:gd name="connsiteY5941" fmla="*/ 140925 h 6380470"/>
              <a:gd name="connsiteX5942" fmla="*/ 4100255 w 11625583"/>
              <a:gd name="connsiteY5942" fmla="*/ 140924 h 6380470"/>
              <a:gd name="connsiteX5943" fmla="*/ 4164923 w 11625583"/>
              <a:gd name="connsiteY5943" fmla="*/ 205590 h 6380470"/>
              <a:gd name="connsiteX5944" fmla="*/ 4100255 w 11625583"/>
              <a:gd name="connsiteY5944" fmla="*/ 270252 h 6380470"/>
              <a:gd name="connsiteX5945" fmla="*/ 4035594 w 11625583"/>
              <a:gd name="connsiteY5945" fmla="*/ 205590 h 6380470"/>
              <a:gd name="connsiteX5946" fmla="*/ 4100255 w 11625583"/>
              <a:gd name="connsiteY5946" fmla="*/ 140924 h 6380470"/>
              <a:gd name="connsiteX5947" fmla="*/ 3947579 w 11625583"/>
              <a:gd name="connsiteY5947" fmla="*/ 140924 h 6380470"/>
              <a:gd name="connsiteX5948" fmla="*/ 4012257 w 11625583"/>
              <a:gd name="connsiteY5948" fmla="*/ 205590 h 6380470"/>
              <a:gd name="connsiteX5949" fmla="*/ 3947579 w 11625583"/>
              <a:gd name="connsiteY5949" fmla="*/ 270252 h 6380470"/>
              <a:gd name="connsiteX5950" fmla="*/ 3883072 w 11625583"/>
              <a:gd name="connsiteY5950" fmla="*/ 205590 h 6380470"/>
              <a:gd name="connsiteX5951" fmla="*/ 3947579 w 11625583"/>
              <a:gd name="connsiteY5951" fmla="*/ 140924 h 6380470"/>
              <a:gd name="connsiteX5952" fmla="*/ 3791164 w 11625583"/>
              <a:gd name="connsiteY5952" fmla="*/ 140924 h 6380470"/>
              <a:gd name="connsiteX5953" fmla="*/ 3855828 w 11625583"/>
              <a:gd name="connsiteY5953" fmla="*/ 205590 h 6380470"/>
              <a:gd name="connsiteX5954" fmla="*/ 3791164 w 11625583"/>
              <a:gd name="connsiteY5954" fmla="*/ 270252 h 6380470"/>
              <a:gd name="connsiteX5955" fmla="*/ 3726486 w 11625583"/>
              <a:gd name="connsiteY5955" fmla="*/ 205590 h 6380470"/>
              <a:gd name="connsiteX5956" fmla="*/ 3791164 w 11625583"/>
              <a:gd name="connsiteY5956" fmla="*/ 140924 h 6380470"/>
              <a:gd name="connsiteX5957" fmla="*/ 3630675 w 11625583"/>
              <a:gd name="connsiteY5957" fmla="*/ 140924 h 6380470"/>
              <a:gd name="connsiteX5958" fmla="*/ 3695344 w 11625583"/>
              <a:gd name="connsiteY5958" fmla="*/ 205590 h 6380470"/>
              <a:gd name="connsiteX5959" fmla="*/ 3630675 w 11625583"/>
              <a:gd name="connsiteY5959" fmla="*/ 270252 h 6380470"/>
              <a:gd name="connsiteX5960" fmla="*/ 3565995 w 11625583"/>
              <a:gd name="connsiteY5960" fmla="*/ 205590 h 6380470"/>
              <a:gd name="connsiteX5961" fmla="*/ 3630675 w 11625583"/>
              <a:gd name="connsiteY5961" fmla="*/ 140924 h 6380470"/>
              <a:gd name="connsiteX5962" fmla="*/ 3481918 w 11625583"/>
              <a:gd name="connsiteY5962" fmla="*/ 140924 h 6380470"/>
              <a:gd name="connsiteX5963" fmla="*/ 3546591 w 11625583"/>
              <a:gd name="connsiteY5963" fmla="*/ 205590 h 6380470"/>
              <a:gd name="connsiteX5964" fmla="*/ 3481918 w 11625583"/>
              <a:gd name="connsiteY5964" fmla="*/ 270252 h 6380470"/>
              <a:gd name="connsiteX5965" fmla="*/ 3417264 w 11625583"/>
              <a:gd name="connsiteY5965" fmla="*/ 205590 h 6380470"/>
              <a:gd name="connsiteX5966" fmla="*/ 3481918 w 11625583"/>
              <a:gd name="connsiteY5966" fmla="*/ 140924 h 6380470"/>
              <a:gd name="connsiteX5967" fmla="*/ 3172703 w 11625583"/>
              <a:gd name="connsiteY5967" fmla="*/ 140924 h 6380470"/>
              <a:gd name="connsiteX5968" fmla="*/ 3237377 w 11625583"/>
              <a:gd name="connsiteY5968" fmla="*/ 205590 h 6380470"/>
              <a:gd name="connsiteX5969" fmla="*/ 3172703 w 11625583"/>
              <a:gd name="connsiteY5969" fmla="*/ 270252 h 6380470"/>
              <a:gd name="connsiteX5970" fmla="*/ 3108016 w 11625583"/>
              <a:gd name="connsiteY5970" fmla="*/ 205590 h 6380470"/>
              <a:gd name="connsiteX5971" fmla="*/ 3172703 w 11625583"/>
              <a:gd name="connsiteY5971" fmla="*/ 140924 h 6380470"/>
              <a:gd name="connsiteX5972" fmla="*/ 3012181 w 11625583"/>
              <a:gd name="connsiteY5972" fmla="*/ 140924 h 6380470"/>
              <a:gd name="connsiteX5973" fmla="*/ 3076850 w 11625583"/>
              <a:gd name="connsiteY5973" fmla="*/ 205590 h 6380470"/>
              <a:gd name="connsiteX5974" fmla="*/ 3012181 w 11625583"/>
              <a:gd name="connsiteY5974" fmla="*/ 270252 h 6380470"/>
              <a:gd name="connsiteX5975" fmla="*/ 2947522 w 11625583"/>
              <a:gd name="connsiteY5975" fmla="*/ 205590 h 6380470"/>
              <a:gd name="connsiteX5976" fmla="*/ 3012181 w 11625583"/>
              <a:gd name="connsiteY5976" fmla="*/ 140924 h 6380470"/>
              <a:gd name="connsiteX5977" fmla="*/ 2855634 w 11625583"/>
              <a:gd name="connsiteY5977" fmla="*/ 140924 h 6380470"/>
              <a:gd name="connsiteX5978" fmla="*/ 2920282 w 11625583"/>
              <a:gd name="connsiteY5978" fmla="*/ 205590 h 6380470"/>
              <a:gd name="connsiteX5979" fmla="*/ 2855634 w 11625583"/>
              <a:gd name="connsiteY5979" fmla="*/ 270252 h 6380470"/>
              <a:gd name="connsiteX5980" fmla="*/ 2790973 w 11625583"/>
              <a:gd name="connsiteY5980" fmla="*/ 205590 h 6380470"/>
              <a:gd name="connsiteX5981" fmla="*/ 2855634 w 11625583"/>
              <a:gd name="connsiteY5981" fmla="*/ 140924 h 6380470"/>
              <a:gd name="connsiteX5982" fmla="*/ 2699084 w 11625583"/>
              <a:gd name="connsiteY5982" fmla="*/ 140924 h 6380470"/>
              <a:gd name="connsiteX5983" fmla="*/ 2763737 w 11625583"/>
              <a:gd name="connsiteY5983" fmla="*/ 205590 h 6380470"/>
              <a:gd name="connsiteX5984" fmla="*/ 2699084 w 11625583"/>
              <a:gd name="connsiteY5984" fmla="*/ 270252 h 6380470"/>
              <a:gd name="connsiteX5985" fmla="*/ 2634431 w 11625583"/>
              <a:gd name="connsiteY5985" fmla="*/ 205590 h 6380470"/>
              <a:gd name="connsiteX5986" fmla="*/ 2699084 w 11625583"/>
              <a:gd name="connsiteY5986" fmla="*/ 140924 h 6380470"/>
              <a:gd name="connsiteX5987" fmla="*/ 8601685 w 11625583"/>
              <a:gd name="connsiteY5987" fmla="*/ 140924 h 6380470"/>
              <a:gd name="connsiteX5988" fmla="*/ 8666351 w 11625583"/>
              <a:gd name="connsiteY5988" fmla="*/ 205588 h 6380470"/>
              <a:gd name="connsiteX5989" fmla="*/ 8601685 w 11625583"/>
              <a:gd name="connsiteY5989" fmla="*/ 270252 h 6380470"/>
              <a:gd name="connsiteX5990" fmla="*/ 8537019 w 11625583"/>
              <a:gd name="connsiteY5990" fmla="*/ 205588 h 6380470"/>
              <a:gd name="connsiteX5991" fmla="*/ 8601685 w 11625583"/>
              <a:gd name="connsiteY5991" fmla="*/ 140924 h 6380470"/>
              <a:gd name="connsiteX5992" fmla="*/ 8449026 w 11625583"/>
              <a:gd name="connsiteY5992" fmla="*/ 140924 h 6380470"/>
              <a:gd name="connsiteX5993" fmla="*/ 8513692 w 11625583"/>
              <a:gd name="connsiteY5993" fmla="*/ 205588 h 6380470"/>
              <a:gd name="connsiteX5994" fmla="*/ 8449026 w 11625583"/>
              <a:gd name="connsiteY5994" fmla="*/ 270252 h 6380470"/>
              <a:gd name="connsiteX5995" fmla="*/ 8384360 w 11625583"/>
              <a:gd name="connsiteY5995" fmla="*/ 205588 h 6380470"/>
              <a:gd name="connsiteX5996" fmla="*/ 8449026 w 11625583"/>
              <a:gd name="connsiteY5996" fmla="*/ 140924 h 6380470"/>
              <a:gd name="connsiteX5997" fmla="*/ 6120001 w 11625583"/>
              <a:gd name="connsiteY5997" fmla="*/ 140924 h 6380470"/>
              <a:gd name="connsiteX5998" fmla="*/ 6184667 w 11625583"/>
              <a:gd name="connsiteY5998" fmla="*/ 205588 h 6380470"/>
              <a:gd name="connsiteX5999" fmla="*/ 6120001 w 11625583"/>
              <a:gd name="connsiteY5999" fmla="*/ 270252 h 6380470"/>
              <a:gd name="connsiteX6000" fmla="*/ 6055335 w 11625583"/>
              <a:gd name="connsiteY6000" fmla="*/ 205588 h 6380470"/>
              <a:gd name="connsiteX6001" fmla="*/ 6120001 w 11625583"/>
              <a:gd name="connsiteY6001" fmla="*/ 140924 h 6380470"/>
              <a:gd name="connsiteX6002" fmla="*/ 5967339 w 11625583"/>
              <a:gd name="connsiteY6002" fmla="*/ 140924 h 6380470"/>
              <a:gd name="connsiteX6003" fmla="*/ 6032005 w 11625583"/>
              <a:gd name="connsiteY6003" fmla="*/ 205588 h 6380470"/>
              <a:gd name="connsiteX6004" fmla="*/ 5967339 w 11625583"/>
              <a:gd name="connsiteY6004" fmla="*/ 270252 h 6380470"/>
              <a:gd name="connsiteX6005" fmla="*/ 5902673 w 11625583"/>
              <a:gd name="connsiteY6005" fmla="*/ 205588 h 6380470"/>
              <a:gd name="connsiteX6006" fmla="*/ 5967339 w 11625583"/>
              <a:gd name="connsiteY6006" fmla="*/ 140924 h 6380470"/>
              <a:gd name="connsiteX6007" fmla="*/ 4875265 w 11625583"/>
              <a:gd name="connsiteY6007" fmla="*/ 140924 h 6380470"/>
              <a:gd name="connsiteX6008" fmla="*/ 4939942 w 11625583"/>
              <a:gd name="connsiteY6008" fmla="*/ 205588 h 6380470"/>
              <a:gd name="connsiteX6009" fmla="*/ 4875265 w 11625583"/>
              <a:gd name="connsiteY6009" fmla="*/ 270252 h 6380470"/>
              <a:gd name="connsiteX6010" fmla="*/ 4810599 w 11625583"/>
              <a:gd name="connsiteY6010" fmla="*/ 205588 h 6380470"/>
              <a:gd name="connsiteX6011" fmla="*/ 4875265 w 11625583"/>
              <a:gd name="connsiteY6011" fmla="*/ 140924 h 6380470"/>
              <a:gd name="connsiteX6012" fmla="*/ 4722614 w 11625583"/>
              <a:gd name="connsiteY6012" fmla="*/ 140924 h 6380470"/>
              <a:gd name="connsiteX6013" fmla="*/ 4787277 w 11625583"/>
              <a:gd name="connsiteY6013" fmla="*/ 205588 h 6380470"/>
              <a:gd name="connsiteX6014" fmla="*/ 4722614 w 11625583"/>
              <a:gd name="connsiteY6014" fmla="*/ 270252 h 6380470"/>
              <a:gd name="connsiteX6015" fmla="*/ 4657957 w 11625583"/>
              <a:gd name="connsiteY6015" fmla="*/ 205588 h 6380470"/>
              <a:gd name="connsiteX6016" fmla="*/ 4722614 w 11625583"/>
              <a:gd name="connsiteY6016" fmla="*/ 140924 h 6380470"/>
              <a:gd name="connsiteX6017" fmla="*/ 4566033 w 11625583"/>
              <a:gd name="connsiteY6017" fmla="*/ 140924 h 6380470"/>
              <a:gd name="connsiteX6018" fmla="*/ 4630719 w 11625583"/>
              <a:gd name="connsiteY6018" fmla="*/ 205590 h 6380470"/>
              <a:gd name="connsiteX6019" fmla="*/ 4566033 w 11625583"/>
              <a:gd name="connsiteY6019" fmla="*/ 270252 h 6380470"/>
              <a:gd name="connsiteX6020" fmla="*/ 4501349 w 11625583"/>
              <a:gd name="connsiteY6020" fmla="*/ 205590 h 6380470"/>
              <a:gd name="connsiteX6021" fmla="*/ 4566033 w 11625583"/>
              <a:gd name="connsiteY6021" fmla="*/ 140924 h 6380470"/>
              <a:gd name="connsiteX6022" fmla="*/ 4409471 w 11625583"/>
              <a:gd name="connsiteY6022" fmla="*/ 140924 h 6380470"/>
              <a:gd name="connsiteX6023" fmla="*/ 4474113 w 11625583"/>
              <a:gd name="connsiteY6023" fmla="*/ 205590 h 6380470"/>
              <a:gd name="connsiteX6024" fmla="*/ 4409471 w 11625583"/>
              <a:gd name="connsiteY6024" fmla="*/ 270252 h 6380470"/>
              <a:gd name="connsiteX6025" fmla="*/ 4344809 w 11625583"/>
              <a:gd name="connsiteY6025" fmla="*/ 205590 h 6380470"/>
              <a:gd name="connsiteX6026" fmla="*/ 4409471 w 11625583"/>
              <a:gd name="connsiteY6026" fmla="*/ 140924 h 6380470"/>
              <a:gd name="connsiteX6027" fmla="*/ 4256823 w 11625583"/>
              <a:gd name="connsiteY6027" fmla="*/ 140924 h 6380470"/>
              <a:gd name="connsiteX6028" fmla="*/ 4321471 w 11625583"/>
              <a:gd name="connsiteY6028" fmla="*/ 205590 h 6380470"/>
              <a:gd name="connsiteX6029" fmla="*/ 4256823 w 11625583"/>
              <a:gd name="connsiteY6029" fmla="*/ 270252 h 6380470"/>
              <a:gd name="connsiteX6030" fmla="*/ 4192125 w 11625583"/>
              <a:gd name="connsiteY6030" fmla="*/ 205590 h 6380470"/>
              <a:gd name="connsiteX6031" fmla="*/ 4256823 w 11625583"/>
              <a:gd name="connsiteY6031" fmla="*/ 140924 h 6380470"/>
              <a:gd name="connsiteX6032" fmla="*/ 8766087 w 11625583"/>
              <a:gd name="connsiteY6032" fmla="*/ 140923 h 6380470"/>
              <a:gd name="connsiteX6033" fmla="*/ 8830753 w 11625583"/>
              <a:gd name="connsiteY6033" fmla="*/ 205588 h 6380470"/>
              <a:gd name="connsiteX6034" fmla="*/ 8766087 w 11625583"/>
              <a:gd name="connsiteY6034" fmla="*/ 270252 h 6380470"/>
              <a:gd name="connsiteX6035" fmla="*/ 8701421 w 11625583"/>
              <a:gd name="connsiteY6035" fmla="*/ 205588 h 6380470"/>
              <a:gd name="connsiteX6036" fmla="*/ 8766087 w 11625583"/>
              <a:gd name="connsiteY6036" fmla="*/ 140923 h 6380470"/>
              <a:gd name="connsiteX6037" fmla="*/ 3172703 w 11625583"/>
              <a:gd name="connsiteY6037" fmla="*/ 0 h 6380470"/>
              <a:gd name="connsiteX6038" fmla="*/ 3237377 w 11625583"/>
              <a:gd name="connsiteY6038" fmla="*/ 64665 h 6380470"/>
              <a:gd name="connsiteX6039" fmla="*/ 3172703 w 11625583"/>
              <a:gd name="connsiteY6039" fmla="*/ 129330 h 6380470"/>
              <a:gd name="connsiteX6040" fmla="*/ 3108016 w 11625583"/>
              <a:gd name="connsiteY6040" fmla="*/ 64665 h 6380470"/>
              <a:gd name="connsiteX6041" fmla="*/ 3172703 w 11625583"/>
              <a:gd name="connsiteY6041" fmla="*/ 0 h 6380470"/>
              <a:gd name="connsiteX6042" fmla="*/ 3012181 w 11625583"/>
              <a:gd name="connsiteY6042" fmla="*/ 0 h 6380470"/>
              <a:gd name="connsiteX6043" fmla="*/ 3076850 w 11625583"/>
              <a:gd name="connsiteY6043" fmla="*/ 64665 h 6380470"/>
              <a:gd name="connsiteX6044" fmla="*/ 3012181 w 11625583"/>
              <a:gd name="connsiteY6044" fmla="*/ 129330 h 6380470"/>
              <a:gd name="connsiteX6045" fmla="*/ 2947522 w 11625583"/>
              <a:gd name="connsiteY6045" fmla="*/ 64665 h 6380470"/>
              <a:gd name="connsiteX6046" fmla="*/ 3012181 w 11625583"/>
              <a:gd name="connsiteY6046" fmla="*/ 0 h 6380470"/>
              <a:gd name="connsiteX6047" fmla="*/ 2855634 w 11625583"/>
              <a:gd name="connsiteY6047" fmla="*/ 0 h 6380470"/>
              <a:gd name="connsiteX6048" fmla="*/ 2920282 w 11625583"/>
              <a:gd name="connsiteY6048" fmla="*/ 64665 h 6380470"/>
              <a:gd name="connsiteX6049" fmla="*/ 2855634 w 11625583"/>
              <a:gd name="connsiteY6049" fmla="*/ 129330 h 6380470"/>
              <a:gd name="connsiteX6050" fmla="*/ 2790973 w 11625583"/>
              <a:gd name="connsiteY6050" fmla="*/ 64665 h 6380470"/>
              <a:gd name="connsiteX6051" fmla="*/ 2855634 w 11625583"/>
              <a:gd name="connsiteY6051" fmla="*/ 0 h 6380470"/>
              <a:gd name="connsiteX6052" fmla="*/ 4100255 w 11625583"/>
              <a:gd name="connsiteY6052" fmla="*/ 0 h 6380470"/>
              <a:gd name="connsiteX6053" fmla="*/ 4164923 w 11625583"/>
              <a:gd name="connsiteY6053" fmla="*/ 64665 h 6380470"/>
              <a:gd name="connsiteX6054" fmla="*/ 4100255 w 11625583"/>
              <a:gd name="connsiteY6054" fmla="*/ 129330 h 6380470"/>
              <a:gd name="connsiteX6055" fmla="*/ 4035594 w 11625583"/>
              <a:gd name="connsiteY6055" fmla="*/ 64665 h 6380470"/>
              <a:gd name="connsiteX6056" fmla="*/ 4100255 w 11625583"/>
              <a:gd name="connsiteY6056" fmla="*/ 0 h 6380470"/>
              <a:gd name="connsiteX6057" fmla="*/ 3947579 w 11625583"/>
              <a:gd name="connsiteY6057" fmla="*/ 0 h 6380470"/>
              <a:gd name="connsiteX6058" fmla="*/ 4012257 w 11625583"/>
              <a:gd name="connsiteY6058" fmla="*/ 64665 h 6380470"/>
              <a:gd name="connsiteX6059" fmla="*/ 3947579 w 11625583"/>
              <a:gd name="connsiteY6059" fmla="*/ 129330 h 6380470"/>
              <a:gd name="connsiteX6060" fmla="*/ 3883072 w 11625583"/>
              <a:gd name="connsiteY6060" fmla="*/ 64665 h 6380470"/>
              <a:gd name="connsiteX6061" fmla="*/ 3947579 w 11625583"/>
              <a:gd name="connsiteY6061" fmla="*/ 0 h 6380470"/>
              <a:gd name="connsiteX6062" fmla="*/ 3791164 w 11625583"/>
              <a:gd name="connsiteY6062" fmla="*/ 0 h 6380470"/>
              <a:gd name="connsiteX6063" fmla="*/ 3855828 w 11625583"/>
              <a:gd name="connsiteY6063" fmla="*/ 64665 h 6380470"/>
              <a:gd name="connsiteX6064" fmla="*/ 3791164 w 11625583"/>
              <a:gd name="connsiteY6064" fmla="*/ 129330 h 6380470"/>
              <a:gd name="connsiteX6065" fmla="*/ 3726486 w 11625583"/>
              <a:gd name="connsiteY6065" fmla="*/ 64665 h 6380470"/>
              <a:gd name="connsiteX6066" fmla="*/ 3791164 w 11625583"/>
              <a:gd name="connsiteY6066" fmla="*/ 0 h 6380470"/>
              <a:gd name="connsiteX6067" fmla="*/ 3321453 w 11625583"/>
              <a:gd name="connsiteY6067" fmla="*/ 0 h 6380470"/>
              <a:gd name="connsiteX6068" fmla="*/ 3386097 w 11625583"/>
              <a:gd name="connsiteY6068" fmla="*/ 64665 h 6380470"/>
              <a:gd name="connsiteX6069" fmla="*/ 3321453 w 11625583"/>
              <a:gd name="connsiteY6069" fmla="*/ 129330 h 6380470"/>
              <a:gd name="connsiteX6070" fmla="*/ 3256791 w 11625583"/>
              <a:gd name="connsiteY6070" fmla="*/ 64665 h 6380470"/>
              <a:gd name="connsiteX6071" fmla="*/ 3321453 w 11625583"/>
              <a:gd name="connsiteY6071" fmla="*/ 0 h 6380470"/>
              <a:gd name="connsiteX6072" fmla="*/ 4722614 w 11625583"/>
              <a:gd name="connsiteY6072" fmla="*/ 0 h 6380470"/>
              <a:gd name="connsiteX6073" fmla="*/ 4787277 w 11625583"/>
              <a:gd name="connsiteY6073" fmla="*/ 64665 h 6380470"/>
              <a:gd name="connsiteX6074" fmla="*/ 4722614 w 11625583"/>
              <a:gd name="connsiteY6074" fmla="*/ 129329 h 6380470"/>
              <a:gd name="connsiteX6075" fmla="*/ 4657957 w 11625583"/>
              <a:gd name="connsiteY6075" fmla="*/ 64665 h 6380470"/>
              <a:gd name="connsiteX6076" fmla="*/ 4722614 w 11625583"/>
              <a:gd name="connsiteY6076" fmla="*/ 0 h 6380470"/>
              <a:gd name="connsiteX6077" fmla="*/ 4566033 w 11625583"/>
              <a:gd name="connsiteY6077" fmla="*/ 0 h 6380470"/>
              <a:gd name="connsiteX6078" fmla="*/ 4630719 w 11625583"/>
              <a:gd name="connsiteY6078" fmla="*/ 64665 h 6380470"/>
              <a:gd name="connsiteX6079" fmla="*/ 4566033 w 11625583"/>
              <a:gd name="connsiteY6079" fmla="*/ 129329 h 6380470"/>
              <a:gd name="connsiteX6080" fmla="*/ 4501349 w 11625583"/>
              <a:gd name="connsiteY6080" fmla="*/ 64665 h 6380470"/>
              <a:gd name="connsiteX6081" fmla="*/ 4566033 w 11625583"/>
              <a:gd name="connsiteY6081" fmla="*/ 0 h 6380470"/>
              <a:gd name="connsiteX6082" fmla="*/ 4409471 w 11625583"/>
              <a:gd name="connsiteY6082" fmla="*/ 0 h 6380470"/>
              <a:gd name="connsiteX6083" fmla="*/ 4474113 w 11625583"/>
              <a:gd name="connsiteY6083" fmla="*/ 64665 h 6380470"/>
              <a:gd name="connsiteX6084" fmla="*/ 4409471 w 11625583"/>
              <a:gd name="connsiteY6084" fmla="*/ 129329 h 6380470"/>
              <a:gd name="connsiteX6085" fmla="*/ 4344809 w 11625583"/>
              <a:gd name="connsiteY6085" fmla="*/ 64665 h 6380470"/>
              <a:gd name="connsiteX6086" fmla="*/ 4409471 w 11625583"/>
              <a:gd name="connsiteY6086" fmla="*/ 0 h 6380470"/>
              <a:gd name="connsiteX6087" fmla="*/ 4256823 w 11625583"/>
              <a:gd name="connsiteY6087" fmla="*/ 0 h 6380470"/>
              <a:gd name="connsiteX6088" fmla="*/ 4321471 w 11625583"/>
              <a:gd name="connsiteY6088" fmla="*/ 64665 h 6380470"/>
              <a:gd name="connsiteX6089" fmla="*/ 4256823 w 11625583"/>
              <a:gd name="connsiteY6089" fmla="*/ 129330 h 6380470"/>
              <a:gd name="connsiteX6090" fmla="*/ 4192125 w 11625583"/>
              <a:gd name="connsiteY6090" fmla="*/ 64665 h 6380470"/>
              <a:gd name="connsiteX6091" fmla="*/ 4256823 w 11625583"/>
              <a:gd name="connsiteY6091" fmla="*/ 0 h 6380470"/>
              <a:gd name="connsiteX6092" fmla="*/ 8601685 w 11625583"/>
              <a:gd name="connsiteY6092" fmla="*/ 0 h 6380470"/>
              <a:gd name="connsiteX6093" fmla="*/ 8666351 w 11625583"/>
              <a:gd name="connsiteY6093" fmla="*/ 64665 h 6380470"/>
              <a:gd name="connsiteX6094" fmla="*/ 8601685 w 11625583"/>
              <a:gd name="connsiteY6094" fmla="*/ 129329 h 6380470"/>
              <a:gd name="connsiteX6095" fmla="*/ 8537019 w 11625583"/>
              <a:gd name="connsiteY6095" fmla="*/ 64665 h 6380470"/>
              <a:gd name="connsiteX6096" fmla="*/ 8601685 w 11625583"/>
              <a:gd name="connsiteY6096" fmla="*/ 0 h 6380470"/>
              <a:gd name="connsiteX6097" fmla="*/ 5031854 w 11625583"/>
              <a:gd name="connsiteY6097" fmla="*/ 0 h 6380470"/>
              <a:gd name="connsiteX6098" fmla="*/ 5096512 w 11625583"/>
              <a:gd name="connsiteY6098" fmla="*/ 64665 h 6380470"/>
              <a:gd name="connsiteX6099" fmla="*/ 5031854 w 11625583"/>
              <a:gd name="connsiteY6099" fmla="*/ 129329 h 6380470"/>
              <a:gd name="connsiteX6100" fmla="*/ 4967176 w 11625583"/>
              <a:gd name="connsiteY6100" fmla="*/ 64665 h 6380470"/>
              <a:gd name="connsiteX6101" fmla="*/ 5031854 w 11625583"/>
              <a:gd name="connsiteY6101" fmla="*/ 0 h 6380470"/>
              <a:gd name="connsiteX6102" fmla="*/ 4875265 w 11625583"/>
              <a:gd name="connsiteY6102" fmla="*/ 0 h 6380470"/>
              <a:gd name="connsiteX6103" fmla="*/ 4939942 w 11625583"/>
              <a:gd name="connsiteY6103" fmla="*/ 64665 h 6380470"/>
              <a:gd name="connsiteX6104" fmla="*/ 4875265 w 11625583"/>
              <a:gd name="connsiteY6104" fmla="*/ 129329 h 6380470"/>
              <a:gd name="connsiteX6105" fmla="*/ 4810599 w 11625583"/>
              <a:gd name="connsiteY6105" fmla="*/ 64665 h 6380470"/>
              <a:gd name="connsiteX6106" fmla="*/ 4875265 w 11625583"/>
              <a:gd name="connsiteY6106" fmla="*/ 0 h 6380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Lst>
            <a:rect l="l" t="t" r="r" b="b"/>
            <a:pathLst>
              <a:path w="11625583" h="6380470">
                <a:moveTo>
                  <a:pt x="3172506" y="6251138"/>
                </a:moveTo>
                <a:cubicBezTo>
                  <a:pt x="3208220" y="6251138"/>
                  <a:pt x="3237172" y="6280090"/>
                  <a:pt x="3237172" y="6315804"/>
                </a:cubicBezTo>
                <a:cubicBezTo>
                  <a:pt x="3237172" y="6351518"/>
                  <a:pt x="3208220" y="6380470"/>
                  <a:pt x="3172506" y="6380470"/>
                </a:cubicBezTo>
                <a:cubicBezTo>
                  <a:pt x="3136793" y="6380470"/>
                  <a:pt x="3107840" y="6351518"/>
                  <a:pt x="3107840" y="6315804"/>
                </a:cubicBezTo>
                <a:cubicBezTo>
                  <a:pt x="3107840" y="6280090"/>
                  <a:pt x="3136793" y="6251138"/>
                  <a:pt x="3172506" y="6251138"/>
                </a:cubicBezTo>
                <a:close/>
                <a:moveTo>
                  <a:pt x="3321253" y="6251137"/>
                </a:moveTo>
                <a:cubicBezTo>
                  <a:pt x="3356967" y="6251137"/>
                  <a:pt x="3385919" y="6280089"/>
                  <a:pt x="3385919" y="6315803"/>
                </a:cubicBezTo>
                <a:cubicBezTo>
                  <a:pt x="3385919" y="6351517"/>
                  <a:pt x="3356967" y="6380469"/>
                  <a:pt x="3321253" y="6380469"/>
                </a:cubicBezTo>
                <a:cubicBezTo>
                  <a:pt x="3285539" y="6380469"/>
                  <a:pt x="3256587" y="6351517"/>
                  <a:pt x="3256587" y="6315803"/>
                </a:cubicBezTo>
                <a:cubicBezTo>
                  <a:pt x="3256587" y="6280089"/>
                  <a:pt x="3285539" y="6251137"/>
                  <a:pt x="3321253" y="6251137"/>
                </a:cubicBezTo>
                <a:close/>
                <a:moveTo>
                  <a:pt x="3172507" y="6110222"/>
                </a:moveTo>
                <a:cubicBezTo>
                  <a:pt x="3208221" y="6110222"/>
                  <a:pt x="3237173" y="6139174"/>
                  <a:pt x="3237173" y="6174888"/>
                </a:cubicBezTo>
                <a:cubicBezTo>
                  <a:pt x="3237173" y="6210602"/>
                  <a:pt x="3208221" y="6239554"/>
                  <a:pt x="3172507" y="6239554"/>
                </a:cubicBezTo>
                <a:cubicBezTo>
                  <a:pt x="3136793" y="6239554"/>
                  <a:pt x="3107841" y="6210602"/>
                  <a:pt x="3107841" y="6174888"/>
                </a:cubicBezTo>
                <a:cubicBezTo>
                  <a:pt x="3107841" y="6139174"/>
                  <a:pt x="3136793" y="6110222"/>
                  <a:pt x="3172507" y="6110222"/>
                </a:cubicBezTo>
                <a:close/>
                <a:moveTo>
                  <a:pt x="3172507" y="5965390"/>
                </a:moveTo>
                <a:cubicBezTo>
                  <a:pt x="3208221" y="5965390"/>
                  <a:pt x="3237173" y="5994342"/>
                  <a:pt x="3237173" y="6030056"/>
                </a:cubicBezTo>
                <a:cubicBezTo>
                  <a:pt x="3237173" y="6065770"/>
                  <a:pt x="3208221" y="6094722"/>
                  <a:pt x="3172507" y="6094722"/>
                </a:cubicBezTo>
                <a:cubicBezTo>
                  <a:pt x="3136793" y="6094722"/>
                  <a:pt x="3107841" y="6065770"/>
                  <a:pt x="3107841" y="6030056"/>
                </a:cubicBezTo>
                <a:cubicBezTo>
                  <a:pt x="3107841" y="5994342"/>
                  <a:pt x="3136793" y="5965390"/>
                  <a:pt x="3172507" y="5965390"/>
                </a:cubicBezTo>
                <a:close/>
                <a:moveTo>
                  <a:pt x="3321254" y="5965389"/>
                </a:moveTo>
                <a:cubicBezTo>
                  <a:pt x="3356968" y="5965389"/>
                  <a:pt x="3385920" y="5994341"/>
                  <a:pt x="3385920" y="6030055"/>
                </a:cubicBezTo>
                <a:cubicBezTo>
                  <a:pt x="3385920" y="6065769"/>
                  <a:pt x="3356968" y="6094721"/>
                  <a:pt x="3321254" y="6094721"/>
                </a:cubicBezTo>
                <a:cubicBezTo>
                  <a:pt x="3285540" y="6094721"/>
                  <a:pt x="3256588" y="6065769"/>
                  <a:pt x="3256588" y="6030055"/>
                </a:cubicBezTo>
                <a:cubicBezTo>
                  <a:pt x="3256588" y="5994341"/>
                  <a:pt x="3285540" y="5965389"/>
                  <a:pt x="3321254" y="5965389"/>
                </a:cubicBezTo>
                <a:close/>
                <a:moveTo>
                  <a:pt x="10938540" y="5824473"/>
                </a:moveTo>
                <a:cubicBezTo>
                  <a:pt x="10974254" y="5824473"/>
                  <a:pt x="11003206" y="5853425"/>
                  <a:pt x="11003206" y="5889139"/>
                </a:cubicBezTo>
                <a:cubicBezTo>
                  <a:pt x="11003206" y="5924853"/>
                  <a:pt x="10974254" y="5953805"/>
                  <a:pt x="10938540" y="5953805"/>
                </a:cubicBezTo>
                <a:cubicBezTo>
                  <a:pt x="10902826" y="5953805"/>
                  <a:pt x="10873874" y="5924853"/>
                  <a:pt x="10873874" y="5889139"/>
                </a:cubicBezTo>
                <a:cubicBezTo>
                  <a:pt x="10873874" y="5853425"/>
                  <a:pt x="10902826" y="5824473"/>
                  <a:pt x="10938540" y="5824473"/>
                </a:cubicBezTo>
                <a:close/>
                <a:moveTo>
                  <a:pt x="3321254" y="5824473"/>
                </a:moveTo>
                <a:cubicBezTo>
                  <a:pt x="3356968" y="5824473"/>
                  <a:pt x="3385920" y="5853425"/>
                  <a:pt x="3385920" y="5889139"/>
                </a:cubicBezTo>
                <a:cubicBezTo>
                  <a:pt x="3385920" y="5924853"/>
                  <a:pt x="3356968" y="5953805"/>
                  <a:pt x="3321254" y="5953805"/>
                </a:cubicBezTo>
                <a:cubicBezTo>
                  <a:pt x="3285540" y="5953805"/>
                  <a:pt x="3256588" y="5924853"/>
                  <a:pt x="3256588" y="5889139"/>
                </a:cubicBezTo>
                <a:cubicBezTo>
                  <a:pt x="3256588" y="5853425"/>
                  <a:pt x="3285540" y="5824473"/>
                  <a:pt x="3321254" y="5824473"/>
                </a:cubicBezTo>
                <a:close/>
                <a:moveTo>
                  <a:pt x="3172507" y="5824473"/>
                </a:moveTo>
                <a:cubicBezTo>
                  <a:pt x="3208221" y="5824473"/>
                  <a:pt x="3237174" y="5853425"/>
                  <a:pt x="3237174" y="5889139"/>
                </a:cubicBezTo>
                <a:cubicBezTo>
                  <a:pt x="3237174" y="5924853"/>
                  <a:pt x="3208221" y="5953805"/>
                  <a:pt x="3172507" y="5953805"/>
                </a:cubicBezTo>
                <a:cubicBezTo>
                  <a:pt x="3136793" y="5953805"/>
                  <a:pt x="3107841" y="5924853"/>
                  <a:pt x="3107841" y="5889139"/>
                </a:cubicBezTo>
                <a:cubicBezTo>
                  <a:pt x="3107841" y="5853425"/>
                  <a:pt x="3136793" y="5824473"/>
                  <a:pt x="3172507" y="5824473"/>
                </a:cubicBezTo>
                <a:close/>
                <a:moveTo>
                  <a:pt x="11095113" y="5683557"/>
                </a:moveTo>
                <a:cubicBezTo>
                  <a:pt x="11130827" y="5683557"/>
                  <a:pt x="11159779" y="5712509"/>
                  <a:pt x="11159779" y="5748223"/>
                </a:cubicBezTo>
                <a:cubicBezTo>
                  <a:pt x="11159779" y="5783937"/>
                  <a:pt x="11130827" y="5812889"/>
                  <a:pt x="11095113" y="5812889"/>
                </a:cubicBezTo>
                <a:cubicBezTo>
                  <a:pt x="11059399" y="5812889"/>
                  <a:pt x="11030447" y="5783937"/>
                  <a:pt x="11030447" y="5748223"/>
                </a:cubicBezTo>
                <a:cubicBezTo>
                  <a:pt x="11030447" y="5712509"/>
                  <a:pt x="11059399" y="5683557"/>
                  <a:pt x="11095113" y="5683557"/>
                </a:cubicBezTo>
                <a:close/>
                <a:moveTo>
                  <a:pt x="10312246" y="5683557"/>
                </a:moveTo>
                <a:cubicBezTo>
                  <a:pt x="10347960" y="5683557"/>
                  <a:pt x="10376912" y="5712509"/>
                  <a:pt x="10376912" y="5748223"/>
                </a:cubicBezTo>
                <a:cubicBezTo>
                  <a:pt x="10376912" y="5783937"/>
                  <a:pt x="10347960" y="5812889"/>
                  <a:pt x="10312246" y="5812889"/>
                </a:cubicBezTo>
                <a:cubicBezTo>
                  <a:pt x="10276532" y="5812889"/>
                  <a:pt x="10247580" y="5783937"/>
                  <a:pt x="10247580" y="5748223"/>
                </a:cubicBezTo>
                <a:cubicBezTo>
                  <a:pt x="10247580" y="5712509"/>
                  <a:pt x="10276532" y="5683557"/>
                  <a:pt x="10312246" y="5683557"/>
                </a:cubicBezTo>
                <a:close/>
                <a:moveTo>
                  <a:pt x="3321255" y="5683557"/>
                </a:moveTo>
                <a:cubicBezTo>
                  <a:pt x="3356969" y="5683557"/>
                  <a:pt x="3385921" y="5712509"/>
                  <a:pt x="3385921" y="5748223"/>
                </a:cubicBezTo>
                <a:cubicBezTo>
                  <a:pt x="3385921" y="5783937"/>
                  <a:pt x="3356969" y="5812889"/>
                  <a:pt x="3321255" y="5812889"/>
                </a:cubicBezTo>
                <a:cubicBezTo>
                  <a:pt x="3285541" y="5812889"/>
                  <a:pt x="3256590" y="5783937"/>
                  <a:pt x="3256590" y="5748223"/>
                </a:cubicBezTo>
                <a:cubicBezTo>
                  <a:pt x="3256590" y="5712509"/>
                  <a:pt x="3285541" y="5683557"/>
                  <a:pt x="3321255" y="5683557"/>
                </a:cubicBezTo>
                <a:close/>
                <a:moveTo>
                  <a:pt x="3172508" y="5683557"/>
                </a:moveTo>
                <a:cubicBezTo>
                  <a:pt x="3208222" y="5683557"/>
                  <a:pt x="3237174" y="5712509"/>
                  <a:pt x="3237174" y="5748223"/>
                </a:cubicBezTo>
                <a:cubicBezTo>
                  <a:pt x="3237174" y="5783937"/>
                  <a:pt x="3208222" y="5812889"/>
                  <a:pt x="3172508" y="5812889"/>
                </a:cubicBezTo>
                <a:cubicBezTo>
                  <a:pt x="3136793" y="5812889"/>
                  <a:pt x="3107842" y="5783937"/>
                  <a:pt x="3107842" y="5748223"/>
                </a:cubicBezTo>
                <a:cubicBezTo>
                  <a:pt x="3107842" y="5712509"/>
                  <a:pt x="3136793" y="5683557"/>
                  <a:pt x="3172508" y="5683557"/>
                </a:cubicBezTo>
                <a:close/>
                <a:moveTo>
                  <a:pt x="11251686" y="5538729"/>
                </a:moveTo>
                <a:cubicBezTo>
                  <a:pt x="11287400" y="5538729"/>
                  <a:pt x="11316352" y="5567681"/>
                  <a:pt x="11316352" y="5603395"/>
                </a:cubicBezTo>
                <a:cubicBezTo>
                  <a:pt x="11316352" y="5639109"/>
                  <a:pt x="11287400" y="5668061"/>
                  <a:pt x="11251686" y="5668061"/>
                </a:cubicBezTo>
                <a:cubicBezTo>
                  <a:pt x="11215972" y="5668061"/>
                  <a:pt x="11187020" y="5639109"/>
                  <a:pt x="11187020" y="5603395"/>
                </a:cubicBezTo>
                <a:cubicBezTo>
                  <a:pt x="11187020" y="5567681"/>
                  <a:pt x="11215972" y="5538729"/>
                  <a:pt x="11251686" y="5538729"/>
                </a:cubicBezTo>
                <a:close/>
                <a:moveTo>
                  <a:pt x="3481742" y="5538728"/>
                </a:moveTo>
                <a:cubicBezTo>
                  <a:pt x="3517456" y="5538728"/>
                  <a:pt x="3546408" y="5567680"/>
                  <a:pt x="3546408" y="5603394"/>
                </a:cubicBezTo>
                <a:cubicBezTo>
                  <a:pt x="3546408" y="5639108"/>
                  <a:pt x="3517456" y="5668060"/>
                  <a:pt x="3481742" y="5668060"/>
                </a:cubicBezTo>
                <a:cubicBezTo>
                  <a:pt x="3446028" y="5668060"/>
                  <a:pt x="3417075" y="5639108"/>
                  <a:pt x="3417075" y="5603394"/>
                </a:cubicBezTo>
                <a:cubicBezTo>
                  <a:pt x="3417075" y="5567680"/>
                  <a:pt x="3446028" y="5538728"/>
                  <a:pt x="3481742" y="5538728"/>
                </a:cubicBezTo>
                <a:close/>
                <a:moveTo>
                  <a:pt x="3172511" y="5538728"/>
                </a:moveTo>
                <a:cubicBezTo>
                  <a:pt x="3208225" y="5538728"/>
                  <a:pt x="3237177" y="5567680"/>
                  <a:pt x="3237177" y="5603394"/>
                </a:cubicBezTo>
                <a:cubicBezTo>
                  <a:pt x="3237177" y="5639108"/>
                  <a:pt x="3208225" y="5668060"/>
                  <a:pt x="3172511" y="5668060"/>
                </a:cubicBezTo>
                <a:cubicBezTo>
                  <a:pt x="3136797" y="5668060"/>
                  <a:pt x="3107844" y="5639108"/>
                  <a:pt x="3107844" y="5603394"/>
                </a:cubicBezTo>
                <a:cubicBezTo>
                  <a:pt x="3107844" y="5567680"/>
                  <a:pt x="3136797" y="5538728"/>
                  <a:pt x="3172511" y="5538728"/>
                </a:cubicBezTo>
                <a:close/>
                <a:moveTo>
                  <a:pt x="10312248" y="5538726"/>
                </a:moveTo>
                <a:cubicBezTo>
                  <a:pt x="10347962" y="5538726"/>
                  <a:pt x="10376914" y="5567678"/>
                  <a:pt x="10376914" y="5603392"/>
                </a:cubicBezTo>
                <a:cubicBezTo>
                  <a:pt x="10376914" y="5639106"/>
                  <a:pt x="10347962" y="5668058"/>
                  <a:pt x="10312248" y="5668058"/>
                </a:cubicBezTo>
                <a:cubicBezTo>
                  <a:pt x="10276534" y="5668058"/>
                  <a:pt x="10247582" y="5639106"/>
                  <a:pt x="10247582" y="5603392"/>
                </a:cubicBezTo>
                <a:cubicBezTo>
                  <a:pt x="10247582" y="5567678"/>
                  <a:pt x="10276534" y="5538726"/>
                  <a:pt x="10312248" y="5538726"/>
                </a:cubicBezTo>
                <a:close/>
                <a:moveTo>
                  <a:pt x="10159588" y="5538726"/>
                </a:moveTo>
                <a:cubicBezTo>
                  <a:pt x="10195302" y="5538726"/>
                  <a:pt x="10224254" y="5567678"/>
                  <a:pt x="10224254" y="5603392"/>
                </a:cubicBezTo>
                <a:cubicBezTo>
                  <a:pt x="10224254" y="5639106"/>
                  <a:pt x="10195302" y="5668058"/>
                  <a:pt x="10159588" y="5668058"/>
                </a:cubicBezTo>
                <a:cubicBezTo>
                  <a:pt x="10123874" y="5668058"/>
                  <a:pt x="10094922" y="5639106"/>
                  <a:pt x="10094922" y="5603392"/>
                </a:cubicBezTo>
                <a:cubicBezTo>
                  <a:pt x="10094922" y="5567678"/>
                  <a:pt x="10123874" y="5538726"/>
                  <a:pt x="10159588" y="5538726"/>
                </a:cubicBezTo>
                <a:close/>
                <a:moveTo>
                  <a:pt x="3321256" y="5538726"/>
                </a:moveTo>
                <a:cubicBezTo>
                  <a:pt x="3356970" y="5538726"/>
                  <a:pt x="3385922" y="5567678"/>
                  <a:pt x="3385922" y="5603392"/>
                </a:cubicBezTo>
                <a:cubicBezTo>
                  <a:pt x="3385922" y="5639106"/>
                  <a:pt x="3356970" y="5668058"/>
                  <a:pt x="3321256" y="5668058"/>
                </a:cubicBezTo>
                <a:cubicBezTo>
                  <a:pt x="3285542" y="5668058"/>
                  <a:pt x="3256590" y="5639106"/>
                  <a:pt x="3256590" y="5603392"/>
                </a:cubicBezTo>
                <a:cubicBezTo>
                  <a:pt x="3256590" y="5567678"/>
                  <a:pt x="3285542" y="5538726"/>
                  <a:pt x="3321256" y="5538726"/>
                </a:cubicBezTo>
                <a:close/>
                <a:moveTo>
                  <a:pt x="11251688" y="5401725"/>
                </a:moveTo>
                <a:cubicBezTo>
                  <a:pt x="11287402" y="5401725"/>
                  <a:pt x="11316354" y="5430677"/>
                  <a:pt x="11316354" y="5466391"/>
                </a:cubicBezTo>
                <a:cubicBezTo>
                  <a:pt x="11316354" y="5502105"/>
                  <a:pt x="11287402" y="5531057"/>
                  <a:pt x="11251688" y="5531057"/>
                </a:cubicBezTo>
                <a:cubicBezTo>
                  <a:pt x="11215974" y="5531057"/>
                  <a:pt x="11187022" y="5502105"/>
                  <a:pt x="11187022" y="5466391"/>
                </a:cubicBezTo>
                <a:cubicBezTo>
                  <a:pt x="11187022" y="5430677"/>
                  <a:pt x="11215974" y="5401725"/>
                  <a:pt x="11251688" y="5401725"/>
                </a:cubicBezTo>
                <a:close/>
                <a:moveTo>
                  <a:pt x="10312248" y="5401725"/>
                </a:moveTo>
                <a:cubicBezTo>
                  <a:pt x="10347962" y="5401725"/>
                  <a:pt x="10376914" y="5430677"/>
                  <a:pt x="10376914" y="5466391"/>
                </a:cubicBezTo>
                <a:cubicBezTo>
                  <a:pt x="10376914" y="5502105"/>
                  <a:pt x="10347962" y="5531057"/>
                  <a:pt x="10312248" y="5531057"/>
                </a:cubicBezTo>
                <a:cubicBezTo>
                  <a:pt x="10276534" y="5531057"/>
                  <a:pt x="10247582" y="5502105"/>
                  <a:pt x="10247582" y="5466391"/>
                </a:cubicBezTo>
                <a:cubicBezTo>
                  <a:pt x="10247582" y="5430677"/>
                  <a:pt x="10276534" y="5401725"/>
                  <a:pt x="10312248" y="5401725"/>
                </a:cubicBezTo>
                <a:close/>
                <a:moveTo>
                  <a:pt x="10159588" y="5401725"/>
                </a:moveTo>
                <a:cubicBezTo>
                  <a:pt x="10195302" y="5401725"/>
                  <a:pt x="10224254" y="5430677"/>
                  <a:pt x="10224254" y="5466391"/>
                </a:cubicBezTo>
                <a:cubicBezTo>
                  <a:pt x="10224254" y="5502105"/>
                  <a:pt x="10195302" y="5531057"/>
                  <a:pt x="10159588" y="5531057"/>
                </a:cubicBezTo>
                <a:cubicBezTo>
                  <a:pt x="10123874" y="5531057"/>
                  <a:pt x="10094922" y="5502105"/>
                  <a:pt x="10094922" y="5466391"/>
                </a:cubicBezTo>
                <a:cubicBezTo>
                  <a:pt x="10094922" y="5430677"/>
                  <a:pt x="10123874" y="5401725"/>
                  <a:pt x="10159588" y="5401725"/>
                </a:cubicBezTo>
                <a:close/>
                <a:moveTo>
                  <a:pt x="10003016" y="5401725"/>
                </a:moveTo>
                <a:cubicBezTo>
                  <a:pt x="10038730" y="5401725"/>
                  <a:pt x="10067682" y="5430677"/>
                  <a:pt x="10067682" y="5466391"/>
                </a:cubicBezTo>
                <a:cubicBezTo>
                  <a:pt x="10067682" y="5502105"/>
                  <a:pt x="10038730" y="5531057"/>
                  <a:pt x="10003016" y="5531057"/>
                </a:cubicBezTo>
                <a:cubicBezTo>
                  <a:pt x="9967302" y="5531057"/>
                  <a:pt x="9938350" y="5502105"/>
                  <a:pt x="9938350" y="5466391"/>
                </a:cubicBezTo>
                <a:cubicBezTo>
                  <a:pt x="9938350" y="5430677"/>
                  <a:pt x="9967302" y="5401725"/>
                  <a:pt x="10003016" y="5401725"/>
                </a:cubicBezTo>
                <a:close/>
                <a:moveTo>
                  <a:pt x="6119999" y="5401725"/>
                </a:moveTo>
                <a:cubicBezTo>
                  <a:pt x="6155713" y="5401725"/>
                  <a:pt x="6184665" y="5430677"/>
                  <a:pt x="6184665" y="5466391"/>
                </a:cubicBezTo>
                <a:cubicBezTo>
                  <a:pt x="6184665" y="5502105"/>
                  <a:pt x="6155713" y="5531057"/>
                  <a:pt x="6119999" y="5531057"/>
                </a:cubicBezTo>
                <a:cubicBezTo>
                  <a:pt x="6084285" y="5531057"/>
                  <a:pt x="6055333" y="5502105"/>
                  <a:pt x="6055333" y="5466391"/>
                </a:cubicBezTo>
                <a:cubicBezTo>
                  <a:pt x="6055333" y="5430677"/>
                  <a:pt x="6084285" y="5401725"/>
                  <a:pt x="6119999" y="5401725"/>
                </a:cubicBezTo>
                <a:close/>
                <a:moveTo>
                  <a:pt x="3630488" y="5401725"/>
                </a:moveTo>
                <a:cubicBezTo>
                  <a:pt x="3666202" y="5401725"/>
                  <a:pt x="3695154" y="5430677"/>
                  <a:pt x="3695154" y="5466391"/>
                </a:cubicBezTo>
                <a:cubicBezTo>
                  <a:pt x="3695154" y="5502105"/>
                  <a:pt x="3666202" y="5531057"/>
                  <a:pt x="3630488" y="5531057"/>
                </a:cubicBezTo>
                <a:cubicBezTo>
                  <a:pt x="3594774" y="5531057"/>
                  <a:pt x="3565822" y="5502105"/>
                  <a:pt x="3565822" y="5466391"/>
                </a:cubicBezTo>
                <a:cubicBezTo>
                  <a:pt x="3565822" y="5430677"/>
                  <a:pt x="3594774" y="5401725"/>
                  <a:pt x="3630488" y="5401725"/>
                </a:cubicBezTo>
                <a:close/>
                <a:moveTo>
                  <a:pt x="3481743" y="5401725"/>
                </a:moveTo>
                <a:cubicBezTo>
                  <a:pt x="3517457" y="5401725"/>
                  <a:pt x="3546410" y="5430677"/>
                  <a:pt x="3546410" y="5466391"/>
                </a:cubicBezTo>
                <a:cubicBezTo>
                  <a:pt x="3546410" y="5502105"/>
                  <a:pt x="3517457" y="5531057"/>
                  <a:pt x="3481743" y="5531057"/>
                </a:cubicBezTo>
                <a:cubicBezTo>
                  <a:pt x="3446029" y="5531057"/>
                  <a:pt x="3417077" y="5502105"/>
                  <a:pt x="3417077" y="5466391"/>
                </a:cubicBezTo>
                <a:cubicBezTo>
                  <a:pt x="3417077" y="5430677"/>
                  <a:pt x="3446029" y="5401725"/>
                  <a:pt x="3481743" y="5401725"/>
                </a:cubicBezTo>
                <a:close/>
                <a:moveTo>
                  <a:pt x="3321258" y="5401725"/>
                </a:moveTo>
                <a:cubicBezTo>
                  <a:pt x="3356971" y="5401725"/>
                  <a:pt x="3385924" y="5430677"/>
                  <a:pt x="3385924" y="5466391"/>
                </a:cubicBezTo>
                <a:cubicBezTo>
                  <a:pt x="3385924" y="5502105"/>
                  <a:pt x="3356971" y="5531057"/>
                  <a:pt x="3321258" y="5531057"/>
                </a:cubicBezTo>
                <a:cubicBezTo>
                  <a:pt x="3285544" y="5531057"/>
                  <a:pt x="3256592" y="5502105"/>
                  <a:pt x="3256592" y="5466391"/>
                </a:cubicBezTo>
                <a:cubicBezTo>
                  <a:pt x="3256592" y="5430677"/>
                  <a:pt x="3285544" y="5401725"/>
                  <a:pt x="3321258" y="5401725"/>
                </a:cubicBezTo>
                <a:close/>
                <a:moveTo>
                  <a:pt x="3172512" y="5401725"/>
                </a:moveTo>
                <a:cubicBezTo>
                  <a:pt x="3208226" y="5401725"/>
                  <a:pt x="3237179" y="5430677"/>
                  <a:pt x="3237179" y="5466391"/>
                </a:cubicBezTo>
                <a:cubicBezTo>
                  <a:pt x="3237179" y="5502105"/>
                  <a:pt x="3208226" y="5531057"/>
                  <a:pt x="3172512" y="5531057"/>
                </a:cubicBezTo>
                <a:cubicBezTo>
                  <a:pt x="3136798" y="5531057"/>
                  <a:pt x="3107846" y="5502105"/>
                  <a:pt x="3107846" y="5466391"/>
                </a:cubicBezTo>
                <a:cubicBezTo>
                  <a:pt x="3107846" y="5430677"/>
                  <a:pt x="3136798" y="5401725"/>
                  <a:pt x="3172512" y="5401725"/>
                </a:cubicBezTo>
                <a:close/>
                <a:moveTo>
                  <a:pt x="9850358" y="5256896"/>
                </a:moveTo>
                <a:cubicBezTo>
                  <a:pt x="9886072" y="5256896"/>
                  <a:pt x="9915024" y="5285848"/>
                  <a:pt x="9915024" y="5321562"/>
                </a:cubicBezTo>
                <a:cubicBezTo>
                  <a:pt x="9915024" y="5357276"/>
                  <a:pt x="9886072" y="5386228"/>
                  <a:pt x="9850358" y="5386228"/>
                </a:cubicBezTo>
                <a:cubicBezTo>
                  <a:pt x="9814644" y="5386228"/>
                  <a:pt x="9785692" y="5357276"/>
                  <a:pt x="9785692" y="5321562"/>
                </a:cubicBezTo>
                <a:cubicBezTo>
                  <a:pt x="9785692" y="5285848"/>
                  <a:pt x="9814644" y="5256896"/>
                  <a:pt x="9850358" y="5256896"/>
                </a:cubicBezTo>
                <a:close/>
                <a:moveTo>
                  <a:pt x="9227977" y="5256896"/>
                </a:moveTo>
                <a:cubicBezTo>
                  <a:pt x="9263691" y="5256896"/>
                  <a:pt x="9292643" y="5285848"/>
                  <a:pt x="9292643" y="5321562"/>
                </a:cubicBezTo>
                <a:cubicBezTo>
                  <a:pt x="9292643" y="5357276"/>
                  <a:pt x="9263691" y="5386228"/>
                  <a:pt x="9227977" y="5386228"/>
                </a:cubicBezTo>
                <a:cubicBezTo>
                  <a:pt x="9192263" y="5386228"/>
                  <a:pt x="9163311" y="5357276"/>
                  <a:pt x="9163311" y="5321562"/>
                </a:cubicBezTo>
                <a:cubicBezTo>
                  <a:pt x="9163311" y="5285848"/>
                  <a:pt x="9192263" y="5256896"/>
                  <a:pt x="9227977" y="5256896"/>
                </a:cubicBezTo>
                <a:close/>
                <a:moveTo>
                  <a:pt x="6429231" y="5256896"/>
                </a:moveTo>
                <a:cubicBezTo>
                  <a:pt x="6464945" y="5256896"/>
                  <a:pt x="6493897" y="5285848"/>
                  <a:pt x="6493897" y="5321562"/>
                </a:cubicBezTo>
                <a:cubicBezTo>
                  <a:pt x="6493897" y="5357276"/>
                  <a:pt x="6464945" y="5386228"/>
                  <a:pt x="6429231" y="5386228"/>
                </a:cubicBezTo>
                <a:cubicBezTo>
                  <a:pt x="6393517" y="5386228"/>
                  <a:pt x="6364565" y="5357276"/>
                  <a:pt x="6364565" y="5321562"/>
                </a:cubicBezTo>
                <a:cubicBezTo>
                  <a:pt x="6364565" y="5285848"/>
                  <a:pt x="6393517" y="5256896"/>
                  <a:pt x="6429231" y="5256896"/>
                </a:cubicBezTo>
                <a:close/>
                <a:moveTo>
                  <a:pt x="6276572" y="5256896"/>
                </a:moveTo>
                <a:cubicBezTo>
                  <a:pt x="6312286" y="5256896"/>
                  <a:pt x="6341238" y="5285848"/>
                  <a:pt x="6341238" y="5321562"/>
                </a:cubicBezTo>
                <a:cubicBezTo>
                  <a:pt x="6341238" y="5357276"/>
                  <a:pt x="6312286" y="5386228"/>
                  <a:pt x="6276572" y="5386228"/>
                </a:cubicBezTo>
                <a:cubicBezTo>
                  <a:pt x="6240858" y="5386228"/>
                  <a:pt x="6211906" y="5357276"/>
                  <a:pt x="6211906" y="5321562"/>
                </a:cubicBezTo>
                <a:cubicBezTo>
                  <a:pt x="6211906" y="5285848"/>
                  <a:pt x="6240858" y="5256896"/>
                  <a:pt x="6276572" y="5256896"/>
                </a:cubicBezTo>
                <a:close/>
                <a:moveTo>
                  <a:pt x="3790976" y="5256896"/>
                </a:moveTo>
                <a:cubicBezTo>
                  <a:pt x="3826690" y="5256896"/>
                  <a:pt x="3855643" y="5285848"/>
                  <a:pt x="3855643" y="5321562"/>
                </a:cubicBezTo>
                <a:cubicBezTo>
                  <a:pt x="3855643" y="5357276"/>
                  <a:pt x="3826690" y="5386228"/>
                  <a:pt x="3790976" y="5386228"/>
                </a:cubicBezTo>
                <a:cubicBezTo>
                  <a:pt x="3755262" y="5386228"/>
                  <a:pt x="3726310" y="5357276"/>
                  <a:pt x="3726310" y="5321562"/>
                </a:cubicBezTo>
                <a:cubicBezTo>
                  <a:pt x="3726310" y="5285848"/>
                  <a:pt x="3755262" y="5256896"/>
                  <a:pt x="3790976" y="5256896"/>
                </a:cubicBezTo>
                <a:close/>
                <a:moveTo>
                  <a:pt x="3481745" y="5256896"/>
                </a:moveTo>
                <a:cubicBezTo>
                  <a:pt x="3517459" y="5256896"/>
                  <a:pt x="3546411" y="5285848"/>
                  <a:pt x="3546411" y="5321562"/>
                </a:cubicBezTo>
                <a:cubicBezTo>
                  <a:pt x="3546411" y="5357276"/>
                  <a:pt x="3517459" y="5386228"/>
                  <a:pt x="3481745" y="5386228"/>
                </a:cubicBezTo>
                <a:cubicBezTo>
                  <a:pt x="3446032" y="5386228"/>
                  <a:pt x="3417080" y="5357276"/>
                  <a:pt x="3417080" y="5321562"/>
                </a:cubicBezTo>
                <a:cubicBezTo>
                  <a:pt x="3417080" y="5285848"/>
                  <a:pt x="3446032" y="5256896"/>
                  <a:pt x="3481745" y="5256896"/>
                </a:cubicBezTo>
                <a:close/>
                <a:moveTo>
                  <a:pt x="3172514" y="5256896"/>
                </a:moveTo>
                <a:cubicBezTo>
                  <a:pt x="3208229" y="5256896"/>
                  <a:pt x="3237180" y="5285848"/>
                  <a:pt x="3237180" y="5321562"/>
                </a:cubicBezTo>
                <a:cubicBezTo>
                  <a:pt x="3237180" y="5357276"/>
                  <a:pt x="3208229" y="5386228"/>
                  <a:pt x="3172514" y="5386228"/>
                </a:cubicBezTo>
                <a:cubicBezTo>
                  <a:pt x="3136800" y="5386228"/>
                  <a:pt x="3107847" y="5357276"/>
                  <a:pt x="3107847" y="5321562"/>
                </a:cubicBezTo>
                <a:cubicBezTo>
                  <a:pt x="3107847" y="5285848"/>
                  <a:pt x="3136800" y="5256896"/>
                  <a:pt x="3172514" y="5256896"/>
                </a:cubicBezTo>
                <a:close/>
                <a:moveTo>
                  <a:pt x="10312248" y="5256895"/>
                </a:moveTo>
                <a:cubicBezTo>
                  <a:pt x="10347962" y="5256895"/>
                  <a:pt x="10376914" y="5285847"/>
                  <a:pt x="10376914" y="5321561"/>
                </a:cubicBezTo>
                <a:cubicBezTo>
                  <a:pt x="10376914" y="5357275"/>
                  <a:pt x="10347962" y="5386227"/>
                  <a:pt x="10312248" y="5386227"/>
                </a:cubicBezTo>
                <a:cubicBezTo>
                  <a:pt x="10276534" y="5386227"/>
                  <a:pt x="10247582" y="5357275"/>
                  <a:pt x="10247582" y="5321561"/>
                </a:cubicBezTo>
                <a:cubicBezTo>
                  <a:pt x="10247582" y="5285847"/>
                  <a:pt x="10276534" y="5256895"/>
                  <a:pt x="10312248" y="5256895"/>
                </a:cubicBezTo>
                <a:close/>
                <a:moveTo>
                  <a:pt x="10159588" y="5256895"/>
                </a:moveTo>
                <a:cubicBezTo>
                  <a:pt x="10195302" y="5256895"/>
                  <a:pt x="10224254" y="5285847"/>
                  <a:pt x="10224254" y="5321561"/>
                </a:cubicBezTo>
                <a:cubicBezTo>
                  <a:pt x="10224254" y="5357275"/>
                  <a:pt x="10195302" y="5386227"/>
                  <a:pt x="10159588" y="5386227"/>
                </a:cubicBezTo>
                <a:cubicBezTo>
                  <a:pt x="10123874" y="5386227"/>
                  <a:pt x="10094922" y="5357275"/>
                  <a:pt x="10094922" y="5321561"/>
                </a:cubicBezTo>
                <a:cubicBezTo>
                  <a:pt x="10094922" y="5285847"/>
                  <a:pt x="10123874" y="5256895"/>
                  <a:pt x="10159588" y="5256895"/>
                </a:cubicBezTo>
                <a:close/>
                <a:moveTo>
                  <a:pt x="10003016" y="5256895"/>
                </a:moveTo>
                <a:cubicBezTo>
                  <a:pt x="10038730" y="5256895"/>
                  <a:pt x="10067682" y="5285847"/>
                  <a:pt x="10067682" y="5321561"/>
                </a:cubicBezTo>
                <a:cubicBezTo>
                  <a:pt x="10067682" y="5357275"/>
                  <a:pt x="10038730" y="5386227"/>
                  <a:pt x="10003016" y="5386227"/>
                </a:cubicBezTo>
                <a:cubicBezTo>
                  <a:pt x="9967302" y="5386227"/>
                  <a:pt x="9938350" y="5357275"/>
                  <a:pt x="9938350" y="5321561"/>
                </a:cubicBezTo>
                <a:cubicBezTo>
                  <a:pt x="9938350" y="5285847"/>
                  <a:pt x="9967302" y="5256895"/>
                  <a:pt x="10003016" y="5256895"/>
                </a:cubicBezTo>
                <a:close/>
                <a:moveTo>
                  <a:pt x="9384550" y="5256895"/>
                </a:moveTo>
                <a:cubicBezTo>
                  <a:pt x="9420264" y="5256895"/>
                  <a:pt x="9449216" y="5285847"/>
                  <a:pt x="9449216" y="5321561"/>
                </a:cubicBezTo>
                <a:cubicBezTo>
                  <a:pt x="9449216" y="5357275"/>
                  <a:pt x="9420264" y="5386227"/>
                  <a:pt x="9384550" y="5386227"/>
                </a:cubicBezTo>
                <a:cubicBezTo>
                  <a:pt x="9348836" y="5386227"/>
                  <a:pt x="9319884" y="5357275"/>
                  <a:pt x="9319884" y="5321561"/>
                </a:cubicBezTo>
                <a:cubicBezTo>
                  <a:pt x="9319884" y="5285847"/>
                  <a:pt x="9348836" y="5256895"/>
                  <a:pt x="9384550" y="5256895"/>
                </a:cubicBezTo>
                <a:close/>
                <a:moveTo>
                  <a:pt x="6119999" y="5256895"/>
                </a:moveTo>
                <a:cubicBezTo>
                  <a:pt x="6155713" y="5256895"/>
                  <a:pt x="6184665" y="5285847"/>
                  <a:pt x="6184665" y="5321561"/>
                </a:cubicBezTo>
                <a:cubicBezTo>
                  <a:pt x="6184665" y="5357275"/>
                  <a:pt x="6155713" y="5386227"/>
                  <a:pt x="6119999" y="5386227"/>
                </a:cubicBezTo>
                <a:cubicBezTo>
                  <a:pt x="6084285" y="5386227"/>
                  <a:pt x="6055333" y="5357275"/>
                  <a:pt x="6055333" y="5321561"/>
                </a:cubicBezTo>
                <a:cubicBezTo>
                  <a:pt x="6055333" y="5285847"/>
                  <a:pt x="6084285" y="5256895"/>
                  <a:pt x="6119999" y="5256895"/>
                </a:cubicBezTo>
                <a:close/>
                <a:moveTo>
                  <a:pt x="3630491" y="5256895"/>
                </a:moveTo>
                <a:cubicBezTo>
                  <a:pt x="3666205" y="5256895"/>
                  <a:pt x="3695156" y="5285847"/>
                  <a:pt x="3695156" y="5321561"/>
                </a:cubicBezTo>
                <a:cubicBezTo>
                  <a:pt x="3695156" y="5357275"/>
                  <a:pt x="3666205" y="5386227"/>
                  <a:pt x="3630491" y="5386227"/>
                </a:cubicBezTo>
                <a:cubicBezTo>
                  <a:pt x="3594776" y="5386227"/>
                  <a:pt x="3565825" y="5357275"/>
                  <a:pt x="3565825" y="5321561"/>
                </a:cubicBezTo>
                <a:cubicBezTo>
                  <a:pt x="3565825" y="5285847"/>
                  <a:pt x="3594776" y="5256895"/>
                  <a:pt x="3630491" y="5256895"/>
                </a:cubicBezTo>
                <a:close/>
                <a:moveTo>
                  <a:pt x="3321260" y="5256895"/>
                </a:moveTo>
                <a:cubicBezTo>
                  <a:pt x="3356974" y="5256895"/>
                  <a:pt x="3385925" y="5285847"/>
                  <a:pt x="3385925" y="5321561"/>
                </a:cubicBezTo>
                <a:cubicBezTo>
                  <a:pt x="3385925" y="5357275"/>
                  <a:pt x="3356974" y="5386227"/>
                  <a:pt x="3321260" y="5386227"/>
                </a:cubicBezTo>
                <a:cubicBezTo>
                  <a:pt x="3285546" y="5386227"/>
                  <a:pt x="3256594" y="5357275"/>
                  <a:pt x="3256594" y="5321561"/>
                </a:cubicBezTo>
                <a:cubicBezTo>
                  <a:pt x="3256594" y="5285847"/>
                  <a:pt x="3285546" y="5256895"/>
                  <a:pt x="3321260" y="5256895"/>
                </a:cubicBezTo>
                <a:close/>
                <a:moveTo>
                  <a:pt x="10468821" y="5115980"/>
                </a:moveTo>
                <a:cubicBezTo>
                  <a:pt x="10504535" y="5115980"/>
                  <a:pt x="10533487" y="5144932"/>
                  <a:pt x="10533487" y="5180646"/>
                </a:cubicBezTo>
                <a:cubicBezTo>
                  <a:pt x="10533487" y="5216360"/>
                  <a:pt x="10504535" y="5245312"/>
                  <a:pt x="10468821" y="5245312"/>
                </a:cubicBezTo>
                <a:cubicBezTo>
                  <a:pt x="10433107" y="5245312"/>
                  <a:pt x="10404155" y="5216360"/>
                  <a:pt x="10404155" y="5180646"/>
                </a:cubicBezTo>
                <a:cubicBezTo>
                  <a:pt x="10404155" y="5144932"/>
                  <a:pt x="10433107" y="5115980"/>
                  <a:pt x="10468821" y="5115980"/>
                </a:cubicBezTo>
                <a:close/>
                <a:moveTo>
                  <a:pt x="9850358" y="5115980"/>
                </a:moveTo>
                <a:cubicBezTo>
                  <a:pt x="9886072" y="5115980"/>
                  <a:pt x="9915024" y="5144932"/>
                  <a:pt x="9915024" y="5180646"/>
                </a:cubicBezTo>
                <a:cubicBezTo>
                  <a:pt x="9915024" y="5216360"/>
                  <a:pt x="9886072" y="5245312"/>
                  <a:pt x="9850358" y="5245312"/>
                </a:cubicBezTo>
                <a:cubicBezTo>
                  <a:pt x="9814644" y="5245312"/>
                  <a:pt x="9785692" y="5216360"/>
                  <a:pt x="9785692" y="5180646"/>
                </a:cubicBezTo>
                <a:cubicBezTo>
                  <a:pt x="9785692" y="5144932"/>
                  <a:pt x="9814644" y="5115980"/>
                  <a:pt x="9850358" y="5115980"/>
                </a:cubicBezTo>
                <a:close/>
                <a:moveTo>
                  <a:pt x="9227977" y="5115980"/>
                </a:moveTo>
                <a:cubicBezTo>
                  <a:pt x="9263691" y="5115980"/>
                  <a:pt x="9292643" y="5144932"/>
                  <a:pt x="9292643" y="5180646"/>
                </a:cubicBezTo>
                <a:cubicBezTo>
                  <a:pt x="9292643" y="5216360"/>
                  <a:pt x="9263691" y="5245312"/>
                  <a:pt x="9227977" y="5245312"/>
                </a:cubicBezTo>
                <a:cubicBezTo>
                  <a:pt x="9192263" y="5245312"/>
                  <a:pt x="9163311" y="5216360"/>
                  <a:pt x="9163311" y="5180646"/>
                </a:cubicBezTo>
                <a:cubicBezTo>
                  <a:pt x="9163311" y="5144932"/>
                  <a:pt x="9192263" y="5115980"/>
                  <a:pt x="9227977" y="5115980"/>
                </a:cubicBezTo>
                <a:close/>
                <a:moveTo>
                  <a:pt x="6429231" y="5115980"/>
                </a:moveTo>
                <a:cubicBezTo>
                  <a:pt x="6464945" y="5115980"/>
                  <a:pt x="6493897" y="5144932"/>
                  <a:pt x="6493897" y="5180646"/>
                </a:cubicBezTo>
                <a:cubicBezTo>
                  <a:pt x="6493897" y="5216360"/>
                  <a:pt x="6464945" y="5245312"/>
                  <a:pt x="6429231" y="5245312"/>
                </a:cubicBezTo>
                <a:cubicBezTo>
                  <a:pt x="6393517" y="5245312"/>
                  <a:pt x="6364565" y="5216360"/>
                  <a:pt x="6364565" y="5180646"/>
                </a:cubicBezTo>
                <a:cubicBezTo>
                  <a:pt x="6364565" y="5144932"/>
                  <a:pt x="6393517" y="5115980"/>
                  <a:pt x="6429231" y="5115980"/>
                </a:cubicBezTo>
                <a:close/>
                <a:moveTo>
                  <a:pt x="6276572" y="5115980"/>
                </a:moveTo>
                <a:cubicBezTo>
                  <a:pt x="6312286" y="5115980"/>
                  <a:pt x="6341238" y="5144932"/>
                  <a:pt x="6341238" y="5180646"/>
                </a:cubicBezTo>
                <a:cubicBezTo>
                  <a:pt x="6341238" y="5216360"/>
                  <a:pt x="6312286" y="5245312"/>
                  <a:pt x="6276572" y="5245312"/>
                </a:cubicBezTo>
                <a:cubicBezTo>
                  <a:pt x="6240858" y="5245312"/>
                  <a:pt x="6211906" y="5216360"/>
                  <a:pt x="6211906" y="5180646"/>
                </a:cubicBezTo>
                <a:cubicBezTo>
                  <a:pt x="6211906" y="5144932"/>
                  <a:pt x="6240858" y="5115980"/>
                  <a:pt x="6276572" y="5115980"/>
                </a:cubicBezTo>
                <a:close/>
                <a:moveTo>
                  <a:pt x="5967339" y="5115980"/>
                </a:moveTo>
                <a:cubicBezTo>
                  <a:pt x="6003053" y="5115980"/>
                  <a:pt x="6032005" y="5144932"/>
                  <a:pt x="6032005" y="5180646"/>
                </a:cubicBezTo>
                <a:cubicBezTo>
                  <a:pt x="6032005" y="5216360"/>
                  <a:pt x="6003053" y="5245312"/>
                  <a:pt x="5967339" y="5245312"/>
                </a:cubicBezTo>
                <a:cubicBezTo>
                  <a:pt x="5931625" y="5245312"/>
                  <a:pt x="5902673" y="5216360"/>
                  <a:pt x="5902673" y="5180646"/>
                </a:cubicBezTo>
                <a:cubicBezTo>
                  <a:pt x="5902673" y="5144932"/>
                  <a:pt x="5931625" y="5115980"/>
                  <a:pt x="5967339" y="5115980"/>
                </a:cubicBezTo>
                <a:close/>
                <a:moveTo>
                  <a:pt x="3790979" y="5115980"/>
                </a:moveTo>
                <a:cubicBezTo>
                  <a:pt x="3826693" y="5115980"/>
                  <a:pt x="3855646" y="5144932"/>
                  <a:pt x="3855646" y="5180646"/>
                </a:cubicBezTo>
                <a:cubicBezTo>
                  <a:pt x="3855646" y="5216360"/>
                  <a:pt x="3826693" y="5245312"/>
                  <a:pt x="3790979" y="5245312"/>
                </a:cubicBezTo>
                <a:cubicBezTo>
                  <a:pt x="3755264" y="5245312"/>
                  <a:pt x="3726312" y="5216360"/>
                  <a:pt x="3726312" y="5180646"/>
                </a:cubicBezTo>
                <a:cubicBezTo>
                  <a:pt x="3726312" y="5144932"/>
                  <a:pt x="3755264" y="5115980"/>
                  <a:pt x="3790979" y="5115980"/>
                </a:cubicBezTo>
                <a:close/>
                <a:moveTo>
                  <a:pt x="3481748" y="5115980"/>
                </a:moveTo>
                <a:cubicBezTo>
                  <a:pt x="3517461" y="5115980"/>
                  <a:pt x="3546415" y="5144932"/>
                  <a:pt x="3546415" y="5180646"/>
                </a:cubicBezTo>
                <a:cubicBezTo>
                  <a:pt x="3546415" y="5216360"/>
                  <a:pt x="3517461" y="5245312"/>
                  <a:pt x="3481748" y="5245312"/>
                </a:cubicBezTo>
                <a:cubicBezTo>
                  <a:pt x="3446034" y="5245312"/>
                  <a:pt x="3417082" y="5216360"/>
                  <a:pt x="3417082" y="5180646"/>
                </a:cubicBezTo>
                <a:cubicBezTo>
                  <a:pt x="3417082" y="5144932"/>
                  <a:pt x="3446034" y="5115980"/>
                  <a:pt x="3481748" y="5115980"/>
                </a:cubicBezTo>
                <a:close/>
                <a:moveTo>
                  <a:pt x="3172518" y="5115980"/>
                </a:moveTo>
                <a:cubicBezTo>
                  <a:pt x="3208232" y="5115980"/>
                  <a:pt x="3237185" y="5144932"/>
                  <a:pt x="3237185" y="5180646"/>
                </a:cubicBezTo>
                <a:cubicBezTo>
                  <a:pt x="3237185" y="5216360"/>
                  <a:pt x="3208232" y="5245312"/>
                  <a:pt x="3172518" y="5245312"/>
                </a:cubicBezTo>
                <a:cubicBezTo>
                  <a:pt x="3136803" y="5245312"/>
                  <a:pt x="3107851" y="5216360"/>
                  <a:pt x="3107851" y="5180646"/>
                </a:cubicBezTo>
                <a:cubicBezTo>
                  <a:pt x="3107851" y="5144932"/>
                  <a:pt x="3136803" y="5115980"/>
                  <a:pt x="3172518" y="5115980"/>
                </a:cubicBezTo>
                <a:close/>
                <a:moveTo>
                  <a:pt x="10312248" y="5115979"/>
                </a:moveTo>
                <a:cubicBezTo>
                  <a:pt x="10347962" y="5115979"/>
                  <a:pt x="10376914" y="5144931"/>
                  <a:pt x="10376914" y="5180645"/>
                </a:cubicBezTo>
                <a:cubicBezTo>
                  <a:pt x="10376914" y="5216359"/>
                  <a:pt x="10347962" y="5245311"/>
                  <a:pt x="10312248" y="5245311"/>
                </a:cubicBezTo>
                <a:cubicBezTo>
                  <a:pt x="10276534" y="5245311"/>
                  <a:pt x="10247582" y="5216359"/>
                  <a:pt x="10247582" y="5180645"/>
                </a:cubicBezTo>
                <a:cubicBezTo>
                  <a:pt x="10247582" y="5144931"/>
                  <a:pt x="10276534" y="5115979"/>
                  <a:pt x="10312248" y="5115979"/>
                </a:cubicBezTo>
                <a:close/>
                <a:moveTo>
                  <a:pt x="10159588" y="5115979"/>
                </a:moveTo>
                <a:cubicBezTo>
                  <a:pt x="10195302" y="5115979"/>
                  <a:pt x="10224254" y="5144931"/>
                  <a:pt x="10224254" y="5180645"/>
                </a:cubicBezTo>
                <a:cubicBezTo>
                  <a:pt x="10224254" y="5216359"/>
                  <a:pt x="10195302" y="5245311"/>
                  <a:pt x="10159588" y="5245311"/>
                </a:cubicBezTo>
                <a:cubicBezTo>
                  <a:pt x="10123874" y="5245311"/>
                  <a:pt x="10094922" y="5216359"/>
                  <a:pt x="10094922" y="5180645"/>
                </a:cubicBezTo>
                <a:cubicBezTo>
                  <a:pt x="10094922" y="5144931"/>
                  <a:pt x="10123874" y="5115979"/>
                  <a:pt x="10159588" y="5115979"/>
                </a:cubicBezTo>
                <a:close/>
                <a:moveTo>
                  <a:pt x="10003016" y="5115979"/>
                </a:moveTo>
                <a:cubicBezTo>
                  <a:pt x="10038730" y="5115979"/>
                  <a:pt x="10067682" y="5144931"/>
                  <a:pt x="10067682" y="5180645"/>
                </a:cubicBezTo>
                <a:cubicBezTo>
                  <a:pt x="10067682" y="5216359"/>
                  <a:pt x="10038730" y="5245311"/>
                  <a:pt x="10003016" y="5245311"/>
                </a:cubicBezTo>
                <a:cubicBezTo>
                  <a:pt x="9967302" y="5245311"/>
                  <a:pt x="9938350" y="5216359"/>
                  <a:pt x="9938350" y="5180645"/>
                </a:cubicBezTo>
                <a:cubicBezTo>
                  <a:pt x="9938350" y="5144931"/>
                  <a:pt x="9967302" y="5115979"/>
                  <a:pt x="10003016" y="5115979"/>
                </a:cubicBezTo>
                <a:close/>
                <a:moveTo>
                  <a:pt x="9693783" y="5115979"/>
                </a:moveTo>
                <a:cubicBezTo>
                  <a:pt x="9729497" y="5115979"/>
                  <a:pt x="9758449" y="5144931"/>
                  <a:pt x="9758449" y="5180645"/>
                </a:cubicBezTo>
                <a:cubicBezTo>
                  <a:pt x="9758449" y="5216359"/>
                  <a:pt x="9729497" y="5245311"/>
                  <a:pt x="9693783" y="5245311"/>
                </a:cubicBezTo>
                <a:cubicBezTo>
                  <a:pt x="9658069" y="5245311"/>
                  <a:pt x="9629117" y="5216359"/>
                  <a:pt x="9629117" y="5180645"/>
                </a:cubicBezTo>
                <a:cubicBezTo>
                  <a:pt x="9629117" y="5144931"/>
                  <a:pt x="9658069" y="5115979"/>
                  <a:pt x="9693783" y="5115979"/>
                </a:cubicBezTo>
                <a:close/>
                <a:moveTo>
                  <a:pt x="9541125" y="5115979"/>
                </a:moveTo>
                <a:cubicBezTo>
                  <a:pt x="9576839" y="5115979"/>
                  <a:pt x="9605791" y="5144931"/>
                  <a:pt x="9605791" y="5180645"/>
                </a:cubicBezTo>
                <a:cubicBezTo>
                  <a:pt x="9605791" y="5216359"/>
                  <a:pt x="9576839" y="5245311"/>
                  <a:pt x="9541125" y="5245311"/>
                </a:cubicBezTo>
                <a:cubicBezTo>
                  <a:pt x="9505411" y="5245311"/>
                  <a:pt x="9476459" y="5216359"/>
                  <a:pt x="9476459" y="5180645"/>
                </a:cubicBezTo>
                <a:cubicBezTo>
                  <a:pt x="9476459" y="5144931"/>
                  <a:pt x="9505411" y="5115979"/>
                  <a:pt x="9541125" y="5115979"/>
                </a:cubicBezTo>
                <a:close/>
                <a:moveTo>
                  <a:pt x="9384550" y="5115979"/>
                </a:moveTo>
                <a:cubicBezTo>
                  <a:pt x="9420264" y="5115979"/>
                  <a:pt x="9449216" y="5144931"/>
                  <a:pt x="9449216" y="5180645"/>
                </a:cubicBezTo>
                <a:cubicBezTo>
                  <a:pt x="9449216" y="5216359"/>
                  <a:pt x="9420264" y="5245311"/>
                  <a:pt x="9384550" y="5245311"/>
                </a:cubicBezTo>
                <a:cubicBezTo>
                  <a:pt x="9348836" y="5245311"/>
                  <a:pt x="9319884" y="5216359"/>
                  <a:pt x="9319884" y="5180645"/>
                </a:cubicBezTo>
                <a:cubicBezTo>
                  <a:pt x="9319884" y="5144931"/>
                  <a:pt x="9348836" y="5115979"/>
                  <a:pt x="9384550" y="5115979"/>
                </a:cubicBezTo>
                <a:close/>
                <a:moveTo>
                  <a:pt x="6119999" y="5115979"/>
                </a:moveTo>
                <a:cubicBezTo>
                  <a:pt x="6155713" y="5115979"/>
                  <a:pt x="6184665" y="5144931"/>
                  <a:pt x="6184665" y="5180645"/>
                </a:cubicBezTo>
                <a:cubicBezTo>
                  <a:pt x="6184665" y="5216359"/>
                  <a:pt x="6155713" y="5245311"/>
                  <a:pt x="6119999" y="5245311"/>
                </a:cubicBezTo>
                <a:cubicBezTo>
                  <a:pt x="6084285" y="5245311"/>
                  <a:pt x="6055333" y="5216359"/>
                  <a:pt x="6055333" y="5180645"/>
                </a:cubicBezTo>
                <a:cubicBezTo>
                  <a:pt x="6055333" y="5144931"/>
                  <a:pt x="6084285" y="5115979"/>
                  <a:pt x="6119999" y="5115979"/>
                </a:cubicBezTo>
                <a:close/>
                <a:moveTo>
                  <a:pt x="3630493" y="5115979"/>
                </a:moveTo>
                <a:cubicBezTo>
                  <a:pt x="3666207" y="5115979"/>
                  <a:pt x="3695158" y="5144931"/>
                  <a:pt x="3695158" y="5180645"/>
                </a:cubicBezTo>
                <a:cubicBezTo>
                  <a:pt x="3695158" y="5216359"/>
                  <a:pt x="3666207" y="5245311"/>
                  <a:pt x="3630493" y="5245311"/>
                </a:cubicBezTo>
                <a:cubicBezTo>
                  <a:pt x="3594778" y="5245311"/>
                  <a:pt x="3565827" y="5216359"/>
                  <a:pt x="3565827" y="5180645"/>
                </a:cubicBezTo>
                <a:cubicBezTo>
                  <a:pt x="3565827" y="5144931"/>
                  <a:pt x="3594778" y="5115979"/>
                  <a:pt x="3630493" y="5115979"/>
                </a:cubicBezTo>
                <a:close/>
                <a:moveTo>
                  <a:pt x="3321262" y="5115979"/>
                </a:moveTo>
                <a:cubicBezTo>
                  <a:pt x="3356978" y="5115979"/>
                  <a:pt x="3385929" y="5144931"/>
                  <a:pt x="3385929" y="5180645"/>
                </a:cubicBezTo>
                <a:cubicBezTo>
                  <a:pt x="3385929" y="5216359"/>
                  <a:pt x="3356978" y="5245311"/>
                  <a:pt x="3321262" y="5245311"/>
                </a:cubicBezTo>
                <a:cubicBezTo>
                  <a:pt x="3285549" y="5245311"/>
                  <a:pt x="3256596" y="5216359"/>
                  <a:pt x="3256596" y="5180645"/>
                </a:cubicBezTo>
                <a:cubicBezTo>
                  <a:pt x="3256596" y="5144931"/>
                  <a:pt x="3285549" y="5115979"/>
                  <a:pt x="3321262" y="5115979"/>
                </a:cubicBezTo>
                <a:close/>
                <a:moveTo>
                  <a:pt x="10468821" y="4975063"/>
                </a:moveTo>
                <a:cubicBezTo>
                  <a:pt x="10504535" y="4975063"/>
                  <a:pt x="10533487" y="5004015"/>
                  <a:pt x="10533487" y="5039729"/>
                </a:cubicBezTo>
                <a:cubicBezTo>
                  <a:pt x="10533487" y="5075443"/>
                  <a:pt x="10504535" y="5104395"/>
                  <a:pt x="10468821" y="5104395"/>
                </a:cubicBezTo>
                <a:cubicBezTo>
                  <a:pt x="10433107" y="5104395"/>
                  <a:pt x="10404155" y="5075443"/>
                  <a:pt x="10404155" y="5039729"/>
                </a:cubicBezTo>
                <a:cubicBezTo>
                  <a:pt x="10404155" y="5004015"/>
                  <a:pt x="10433107" y="4975063"/>
                  <a:pt x="10468821" y="4975063"/>
                </a:cubicBezTo>
                <a:close/>
                <a:moveTo>
                  <a:pt x="10312248" y="4975063"/>
                </a:moveTo>
                <a:cubicBezTo>
                  <a:pt x="10347962" y="4975063"/>
                  <a:pt x="10376914" y="5004015"/>
                  <a:pt x="10376914" y="5039729"/>
                </a:cubicBezTo>
                <a:cubicBezTo>
                  <a:pt x="10376914" y="5075443"/>
                  <a:pt x="10347962" y="5104395"/>
                  <a:pt x="10312248" y="5104395"/>
                </a:cubicBezTo>
                <a:cubicBezTo>
                  <a:pt x="10276534" y="5104395"/>
                  <a:pt x="10247582" y="5075443"/>
                  <a:pt x="10247582" y="5039729"/>
                </a:cubicBezTo>
                <a:cubicBezTo>
                  <a:pt x="10247582" y="5004015"/>
                  <a:pt x="10276534" y="4975063"/>
                  <a:pt x="10312248" y="4975063"/>
                </a:cubicBezTo>
                <a:close/>
                <a:moveTo>
                  <a:pt x="10159588" y="4975063"/>
                </a:moveTo>
                <a:cubicBezTo>
                  <a:pt x="10195302" y="4975063"/>
                  <a:pt x="10224254" y="5004015"/>
                  <a:pt x="10224254" y="5039729"/>
                </a:cubicBezTo>
                <a:cubicBezTo>
                  <a:pt x="10224254" y="5075443"/>
                  <a:pt x="10195302" y="5104395"/>
                  <a:pt x="10159588" y="5104395"/>
                </a:cubicBezTo>
                <a:cubicBezTo>
                  <a:pt x="10123874" y="5104395"/>
                  <a:pt x="10094922" y="5075443"/>
                  <a:pt x="10094922" y="5039729"/>
                </a:cubicBezTo>
                <a:cubicBezTo>
                  <a:pt x="10094922" y="5004015"/>
                  <a:pt x="10123874" y="4975063"/>
                  <a:pt x="10159588" y="4975063"/>
                </a:cubicBezTo>
                <a:close/>
                <a:moveTo>
                  <a:pt x="10003016" y="4975063"/>
                </a:moveTo>
                <a:cubicBezTo>
                  <a:pt x="10038730" y="4975063"/>
                  <a:pt x="10067682" y="5004015"/>
                  <a:pt x="10067682" y="5039729"/>
                </a:cubicBezTo>
                <a:cubicBezTo>
                  <a:pt x="10067682" y="5075443"/>
                  <a:pt x="10038730" y="5104395"/>
                  <a:pt x="10003016" y="5104395"/>
                </a:cubicBezTo>
                <a:cubicBezTo>
                  <a:pt x="9967302" y="5104395"/>
                  <a:pt x="9938350" y="5075443"/>
                  <a:pt x="9938350" y="5039729"/>
                </a:cubicBezTo>
                <a:cubicBezTo>
                  <a:pt x="9938350" y="5004015"/>
                  <a:pt x="9967302" y="4975063"/>
                  <a:pt x="10003016" y="4975063"/>
                </a:cubicBezTo>
                <a:close/>
                <a:moveTo>
                  <a:pt x="9850358" y="4975063"/>
                </a:moveTo>
                <a:cubicBezTo>
                  <a:pt x="9886072" y="4975063"/>
                  <a:pt x="9915024" y="5004015"/>
                  <a:pt x="9915024" y="5039729"/>
                </a:cubicBezTo>
                <a:cubicBezTo>
                  <a:pt x="9915024" y="5075443"/>
                  <a:pt x="9886072" y="5104395"/>
                  <a:pt x="9850358" y="5104395"/>
                </a:cubicBezTo>
                <a:cubicBezTo>
                  <a:pt x="9814644" y="5104395"/>
                  <a:pt x="9785692" y="5075443"/>
                  <a:pt x="9785692" y="5039729"/>
                </a:cubicBezTo>
                <a:cubicBezTo>
                  <a:pt x="9785692" y="5004015"/>
                  <a:pt x="9814644" y="4975063"/>
                  <a:pt x="9850358" y="4975063"/>
                </a:cubicBezTo>
                <a:close/>
                <a:moveTo>
                  <a:pt x="9693783" y="4975063"/>
                </a:moveTo>
                <a:cubicBezTo>
                  <a:pt x="9729497" y="4975063"/>
                  <a:pt x="9758449" y="5004015"/>
                  <a:pt x="9758449" y="5039729"/>
                </a:cubicBezTo>
                <a:cubicBezTo>
                  <a:pt x="9758449" y="5075443"/>
                  <a:pt x="9729497" y="5104395"/>
                  <a:pt x="9693783" y="5104395"/>
                </a:cubicBezTo>
                <a:cubicBezTo>
                  <a:pt x="9658069" y="5104395"/>
                  <a:pt x="9629117" y="5075443"/>
                  <a:pt x="9629117" y="5039729"/>
                </a:cubicBezTo>
                <a:cubicBezTo>
                  <a:pt x="9629117" y="5004015"/>
                  <a:pt x="9658069" y="4975063"/>
                  <a:pt x="9693783" y="4975063"/>
                </a:cubicBezTo>
                <a:close/>
                <a:moveTo>
                  <a:pt x="9541125" y="4975063"/>
                </a:moveTo>
                <a:cubicBezTo>
                  <a:pt x="9576839" y="4975063"/>
                  <a:pt x="9605791" y="5004015"/>
                  <a:pt x="9605791" y="5039729"/>
                </a:cubicBezTo>
                <a:cubicBezTo>
                  <a:pt x="9605791" y="5075443"/>
                  <a:pt x="9576839" y="5104395"/>
                  <a:pt x="9541125" y="5104395"/>
                </a:cubicBezTo>
                <a:cubicBezTo>
                  <a:pt x="9505411" y="5104395"/>
                  <a:pt x="9476459" y="5075443"/>
                  <a:pt x="9476459" y="5039729"/>
                </a:cubicBezTo>
                <a:cubicBezTo>
                  <a:pt x="9476459" y="5004015"/>
                  <a:pt x="9505411" y="4975063"/>
                  <a:pt x="9541125" y="4975063"/>
                </a:cubicBezTo>
                <a:close/>
                <a:moveTo>
                  <a:pt x="9384550" y="4975063"/>
                </a:moveTo>
                <a:cubicBezTo>
                  <a:pt x="9420264" y="4975063"/>
                  <a:pt x="9449216" y="5004015"/>
                  <a:pt x="9449216" y="5039729"/>
                </a:cubicBezTo>
                <a:cubicBezTo>
                  <a:pt x="9449216" y="5075443"/>
                  <a:pt x="9420264" y="5104395"/>
                  <a:pt x="9384550" y="5104395"/>
                </a:cubicBezTo>
                <a:cubicBezTo>
                  <a:pt x="9348836" y="5104395"/>
                  <a:pt x="9319884" y="5075443"/>
                  <a:pt x="9319884" y="5039729"/>
                </a:cubicBezTo>
                <a:cubicBezTo>
                  <a:pt x="9319884" y="5004015"/>
                  <a:pt x="9348836" y="4975063"/>
                  <a:pt x="9384550" y="4975063"/>
                </a:cubicBezTo>
                <a:close/>
                <a:moveTo>
                  <a:pt x="9227977" y="4975063"/>
                </a:moveTo>
                <a:cubicBezTo>
                  <a:pt x="9263691" y="4975063"/>
                  <a:pt x="9292643" y="5004015"/>
                  <a:pt x="9292643" y="5039729"/>
                </a:cubicBezTo>
                <a:cubicBezTo>
                  <a:pt x="9292643" y="5075443"/>
                  <a:pt x="9263691" y="5104395"/>
                  <a:pt x="9227977" y="5104395"/>
                </a:cubicBezTo>
                <a:cubicBezTo>
                  <a:pt x="9192263" y="5104395"/>
                  <a:pt x="9163311" y="5075443"/>
                  <a:pt x="9163311" y="5039729"/>
                </a:cubicBezTo>
                <a:cubicBezTo>
                  <a:pt x="9163311" y="5004015"/>
                  <a:pt x="9192263" y="4975063"/>
                  <a:pt x="9227977" y="4975063"/>
                </a:cubicBezTo>
                <a:close/>
                <a:moveTo>
                  <a:pt x="7055523" y="4975063"/>
                </a:moveTo>
                <a:cubicBezTo>
                  <a:pt x="7091237" y="4975063"/>
                  <a:pt x="7120189" y="5004015"/>
                  <a:pt x="7120189" y="5039729"/>
                </a:cubicBezTo>
                <a:cubicBezTo>
                  <a:pt x="7120189" y="5075443"/>
                  <a:pt x="7091237" y="5104395"/>
                  <a:pt x="7055523" y="5104395"/>
                </a:cubicBezTo>
                <a:cubicBezTo>
                  <a:pt x="7019809" y="5104395"/>
                  <a:pt x="6990857" y="5075443"/>
                  <a:pt x="6990857" y="5039729"/>
                </a:cubicBezTo>
                <a:cubicBezTo>
                  <a:pt x="6990857" y="5004015"/>
                  <a:pt x="7019809" y="4975063"/>
                  <a:pt x="7055523" y="4975063"/>
                </a:cubicBezTo>
                <a:close/>
                <a:moveTo>
                  <a:pt x="6585804" y="4975063"/>
                </a:moveTo>
                <a:cubicBezTo>
                  <a:pt x="6621518" y="4975063"/>
                  <a:pt x="6650470" y="5004015"/>
                  <a:pt x="6650470" y="5039729"/>
                </a:cubicBezTo>
                <a:cubicBezTo>
                  <a:pt x="6650470" y="5075443"/>
                  <a:pt x="6621518" y="5104395"/>
                  <a:pt x="6585804" y="5104395"/>
                </a:cubicBezTo>
                <a:cubicBezTo>
                  <a:pt x="6550090" y="5104395"/>
                  <a:pt x="6521138" y="5075443"/>
                  <a:pt x="6521138" y="5039729"/>
                </a:cubicBezTo>
                <a:cubicBezTo>
                  <a:pt x="6521138" y="5004015"/>
                  <a:pt x="6550090" y="4975063"/>
                  <a:pt x="6585804" y="4975063"/>
                </a:cubicBezTo>
                <a:close/>
                <a:moveTo>
                  <a:pt x="6429231" y="4975063"/>
                </a:moveTo>
                <a:cubicBezTo>
                  <a:pt x="6464945" y="4975063"/>
                  <a:pt x="6493897" y="5004015"/>
                  <a:pt x="6493897" y="5039729"/>
                </a:cubicBezTo>
                <a:cubicBezTo>
                  <a:pt x="6493897" y="5075443"/>
                  <a:pt x="6464945" y="5104395"/>
                  <a:pt x="6429231" y="5104395"/>
                </a:cubicBezTo>
                <a:cubicBezTo>
                  <a:pt x="6393517" y="5104395"/>
                  <a:pt x="6364565" y="5075443"/>
                  <a:pt x="6364565" y="5039729"/>
                </a:cubicBezTo>
                <a:cubicBezTo>
                  <a:pt x="6364565" y="5004015"/>
                  <a:pt x="6393517" y="4975063"/>
                  <a:pt x="6429231" y="4975063"/>
                </a:cubicBezTo>
                <a:close/>
                <a:moveTo>
                  <a:pt x="6276572" y="4975063"/>
                </a:moveTo>
                <a:cubicBezTo>
                  <a:pt x="6312286" y="4975063"/>
                  <a:pt x="6341238" y="5004015"/>
                  <a:pt x="6341238" y="5039729"/>
                </a:cubicBezTo>
                <a:cubicBezTo>
                  <a:pt x="6341238" y="5075443"/>
                  <a:pt x="6312286" y="5104395"/>
                  <a:pt x="6276572" y="5104395"/>
                </a:cubicBezTo>
                <a:cubicBezTo>
                  <a:pt x="6240858" y="5104395"/>
                  <a:pt x="6211906" y="5075443"/>
                  <a:pt x="6211906" y="5039729"/>
                </a:cubicBezTo>
                <a:cubicBezTo>
                  <a:pt x="6211906" y="5004015"/>
                  <a:pt x="6240858" y="4975063"/>
                  <a:pt x="6276572" y="4975063"/>
                </a:cubicBezTo>
                <a:close/>
                <a:moveTo>
                  <a:pt x="6119999" y="4975063"/>
                </a:moveTo>
                <a:cubicBezTo>
                  <a:pt x="6155713" y="4975063"/>
                  <a:pt x="6184665" y="5004015"/>
                  <a:pt x="6184665" y="5039729"/>
                </a:cubicBezTo>
                <a:cubicBezTo>
                  <a:pt x="6184665" y="5075443"/>
                  <a:pt x="6155713" y="5104395"/>
                  <a:pt x="6119999" y="5104395"/>
                </a:cubicBezTo>
                <a:cubicBezTo>
                  <a:pt x="6084285" y="5104395"/>
                  <a:pt x="6055333" y="5075443"/>
                  <a:pt x="6055333" y="5039729"/>
                </a:cubicBezTo>
                <a:cubicBezTo>
                  <a:pt x="6055333" y="5004015"/>
                  <a:pt x="6084285" y="4975063"/>
                  <a:pt x="6119999" y="4975063"/>
                </a:cubicBezTo>
                <a:close/>
                <a:moveTo>
                  <a:pt x="5967339" y="4975063"/>
                </a:moveTo>
                <a:cubicBezTo>
                  <a:pt x="6003053" y="4975063"/>
                  <a:pt x="6032005" y="5004015"/>
                  <a:pt x="6032005" y="5039729"/>
                </a:cubicBezTo>
                <a:cubicBezTo>
                  <a:pt x="6032005" y="5075443"/>
                  <a:pt x="6003053" y="5104395"/>
                  <a:pt x="5967339" y="5104395"/>
                </a:cubicBezTo>
                <a:cubicBezTo>
                  <a:pt x="5931625" y="5104395"/>
                  <a:pt x="5902673" y="5075443"/>
                  <a:pt x="5902673" y="5039729"/>
                </a:cubicBezTo>
                <a:cubicBezTo>
                  <a:pt x="5902673" y="5004015"/>
                  <a:pt x="5931625" y="4975063"/>
                  <a:pt x="5967339" y="4975063"/>
                </a:cubicBezTo>
                <a:close/>
                <a:moveTo>
                  <a:pt x="3947550" y="4975063"/>
                </a:moveTo>
                <a:cubicBezTo>
                  <a:pt x="3983262" y="4975063"/>
                  <a:pt x="4012217" y="5004015"/>
                  <a:pt x="4012217" y="5039729"/>
                </a:cubicBezTo>
                <a:cubicBezTo>
                  <a:pt x="4012217" y="5075443"/>
                  <a:pt x="3983262" y="5104395"/>
                  <a:pt x="3947550" y="5104395"/>
                </a:cubicBezTo>
                <a:cubicBezTo>
                  <a:pt x="3911844" y="5104395"/>
                  <a:pt x="3882891" y="5075443"/>
                  <a:pt x="3882891" y="5039729"/>
                </a:cubicBezTo>
                <a:cubicBezTo>
                  <a:pt x="3882891" y="5004015"/>
                  <a:pt x="3911844" y="4975063"/>
                  <a:pt x="3947550" y="4975063"/>
                </a:cubicBezTo>
                <a:close/>
                <a:moveTo>
                  <a:pt x="3790982" y="4975063"/>
                </a:moveTo>
                <a:cubicBezTo>
                  <a:pt x="3826696" y="4975063"/>
                  <a:pt x="3855648" y="5004015"/>
                  <a:pt x="3855648" y="5039729"/>
                </a:cubicBezTo>
                <a:cubicBezTo>
                  <a:pt x="3855648" y="5075443"/>
                  <a:pt x="3826696" y="5104395"/>
                  <a:pt x="3790982" y="5104395"/>
                </a:cubicBezTo>
                <a:cubicBezTo>
                  <a:pt x="3755268" y="5104395"/>
                  <a:pt x="3726315" y="5075443"/>
                  <a:pt x="3726315" y="5039729"/>
                </a:cubicBezTo>
                <a:cubicBezTo>
                  <a:pt x="3726315" y="5004015"/>
                  <a:pt x="3755268" y="4975063"/>
                  <a:pt x="3790982" y="4975063"/>
                </a:cubicBezTo>
                <a:close/>
                <a:moveTo>
                  <a:pt x="3630497" y="4975063"/>
                </a:moveTo>
                <a:cubicBezTo>
                  <a:pt x="3666211" y="4975063"/>
                  <a:pt x="3695163" y="5004015"/>
                  <a:pt x="3695163" y="5039729"/>
                </a:cubicBezTo>
                <a:cubicBezTo>
                  <a:pt x="3695163" y="5075443"/>
                  <a:pt x="3666211" y="5104395"/>
                  <a:pt x="3630497" y="5104395"/>
                </a:cubicBezTo>
                <a:cubicBezTo>
                  <a:pt x="3594783" y="5104395"/>
                  <a:pt x="3565829" y="5075443"/>
                  <a:pt x="3565829" y="5039729"/>
                </a:cubicBezTo>
                <a:cubicBezTo>
                  <a:pt x="3565829" y="5004015"/>
                  <a:pt x="3594783" y="4975063"/>
                  <a:pt x="3630497" y="4975063"/>
                </a:cubicBezTo>
                <a:close/>
                <a:moveTo>
                  <a:pt x="3481751" y="4975063"/>
                </a:moveTo>
                <a:cubicBezTo>
                  <a:pt x="3517466" y="4975063"/>
                  <a:pt x="3546417" y="5004015"/>
                  <a:pt x="3546417" y="5039729"/>
                </a:cubicBezTo>
                <a:cubicBezTo>
                  <a:pt x="3546417" y="5075443"/>
                  <a:pt x="3517466" y="5104395"/>
                  <a:pt x="3481751" y="5104395"/>
                </a:cubicBezTo>
                <a:cubicBezTo>
                  <a:pt x="3446039" y="5104395"/>
                  <a:pt x="3417085" y="5075443"/>
                  <a:pt x="3417085" y="5039729"/>
                </a:cubicBezTo>
                <a:cubicBezTo>
                  <a:pt x="3417085" y="5004015"/>
                  <a:pt x="3446039" y="4975063"/>
                  <a:pt x="3481751" y="4975063"/>
                </a:cubicBezTo>
                <a:close/>
                <a:moveTo>
                  <a:pt x="3321267" y="4975063"/>
                </a:moveTo>
                <a:cubicBezTo>
                  <a:pt x="3356981" y="4975063"/>
                  <a:pt x="3385932" y="5004015"/>
                  <a:pt x="3385932" y="5039729"/>
                </a:cubicBezTo>
                <a:cubicBezTo>
                  <a:pt x="3385932" y="5075443"/>
                  <a:pt x="3356981" y="5104395"/>
                  <a:pt x="3321267" y="5104395"/>
                </a:cubicBezTo>
                <a:cubicBezTo>
                  <a:pt x="3285552" y="5104395"/>
                  <a:pt x="3256602" y="5075443"/>
                  <a:pt x="3256602" y="5039729"/>
                </a:cubicBezTo>
                <a:cubicBezTo>
                  <a:pt x="3256602" y="5004015"/>
                  <a:pt x="3285552" y="4975063"/>
                  <a:pt x="3321267" y="4975063"/>
                </a:cubicBezTo>
                <a:close/>
                <a:moveTo>
                  <a:pt x="3172521" y="4975063"/>
                </a:moveTo>
                <a:cubicBezTo>
                  <a:pt x="3208235" y="4975063"/>
                  <a:pt x="3237188" y="5004015"/>
                  <a:pt x="3237188" y="5039729"/>
                </a:cubicBezTo>
                <a:cubicBezTo>
                  <a:pt x="3237188" y="5075443"/>
                  <a:pt x="3208235" y="5104395"/>
                  <a:pt x="3172521" y="5104395"/>
                </a:cubicBezTo>
                <a:cubicBezTo>
                  <a:pt x="3136806" y="5104395"/>
                  <a:pt x="3107854" y="5075443"/>
                  <a:pt x="3107854" y="5039729"/>
                </a:cubicBezTo>
                <a:cubicBezTo>
                  <a:pt x="3107854" y="5004015"/>
                  <a:pt x="3136806" y="4975063"/>
                  <a:pt x="3172521" y="4975063"/>
                </a:cubicBezTo>
                <a:close/>
                <a:moveTo>
                  <a:pt x="9850358" y="4830235"/>
                </a:moveTo>
                <a:cubicBezTo>
                  <a:pt x="9886072" y="4830235"/>
                  <a:pt x="9915024" y="4859187"/>
                  <a:pt x="9915024" y="4894901"/>
                </a:cubicBezTo>
                <a:cubicBezTo>
                  <a:pt x="9915024" y="4930615"/>
                  <a:pt x="9886072" y="4959567"/>
                  <a:pt x="9850358" y="4959567"/>
                </a:cubicBezTo>
                <a:cubicBezTo>
                  <a:pt x="9814644" y="4959567"/>
                  <a:pt x="9785692" y="4930615"/>
                  <a:pt x="9785692" y="4894901"/>
                </a:cubicBezTo>
                <a:cubicBezTo>
                  <a:pt x="9785692" y="4859187"/>
                  <a:pt x="9814644" y="4830235"/>
                  <a:pt x="9850358" y="4830235"/>
                </a:cubicBezTo>
                <a:close/>
                <a:moveTo>
                  <a:pt x="6429231" y="4830235"/>
                </a:moveTo>
                <a:cubicBezTo>
                  <a:pt x="6464945" y="4830235"/>
                  <a:pt x="6493897" y="4859187"/>
                  <a:pt x="6493897" y="4894901"/>
                </a:cubicBezTo>
                <a:cubicBezTo>
                  <a:pt x="6493897" y="4930615"/>
                  <a:pt x="6464945" y="4959567"/>
                  <a:pt x="6429231" y="4959567"/>
                </a:cubicBezTo>
                <a:cubicBezTo>
                  <a:pt x="6393517" y="4959567"/>
                  <a:pt x="6364565" y="4930615"/>
                  <a:pt x="6364565" y="4894901"/>
                </a:cubicBezTo>
                <a:cubicBezTo>
                  <a:pt x="6364565" y="4859187"/>
                  <a:pt x="6393517" y="4830235"/>
                  <a:pt x="6429231" y="4830235"/>
                </a:cubicBezTo>
                <a:close/>
                <a:moveTo>
                  <a:pt x="6276571" y="4830235"/>
                </a:moveTo>
                <a:cubicBezTo>
                  <a:pt x="6312285" y="4830235"/>
                  <a:pt x="6341237" y="4859187"/>
                  <a:pt x="6341237" y="4894901"/>
                </a:cubicBezTo>
                <a:cubicBezTo>
                  <a:pt x="6341237" y="4930615"/>
                  <a:pt x="6312285" y="4959567"/>
                  <a:pt x="6276571" y="4959567"/>
                </a:cubicBezTo>
                <a:cubicBezTo>
                  <a:pt x="6240857" y="4959567"/>
                  <a:pt x="6211905" y="4930615"/>
                  <a:pt x="6211905" y="4894901"/>
                </a:cubicBezTo>
                <a:cubicBezTo>
                  <a:pt x="6211905" y="4859187"/>
                  <a:pt x="6240857" y="4830235"/>
                  <a:pt x="6276571" y="4830235"/>
                </a:cubicBezTo>
                <a:close/>
                <a:moveTo>
                  <a:pt x="5967339" y="4830235"/>
                </a:moveTo>
                <a:cubicBezTo>
                  <a:pt x="6003053" y="4830235"/>
                  <a:pt x="6032005" y="4859187"/>
                  <a:pt x="6032005" y="4894901"/>
                </a:cubicBezTo>
                <a:cubicBezTo>
                  <a:pt x="6032005" y="4930615"/>
                  <a:pt x="6003053" y="4959567"/>
                  <a:pt x="5967339" y="4959567"/>
                </a:cubicBezTo>
                <a:cubicBezTo>
                  <a:pt x="5931625" y="4959567"/>
                  <a:pt x="5902673" y="4930615"/>
                  <a:pt x="5902673" y="4894901"/>
                </a:cubicBezTo>
                <a:cubicBezTo>
                  <a:pt x="5902673" y="4859187"/>
                  <a:pt x="5931625" y="4830235"/>
                  <a:pt x="5967339" y="4830235"/>
                </a:cubicBezTo>
                <a:close/>
                <a:moveTo>
                  <a:pt x="3947550" y="4830235"/>
                </a:moveTo>
                <a:cubicBezTo>
                  <a:pt x="3983262" y="4830235"/>
                  <a:pt x="4012217" y="4859187"/>
                  <a:pt x="4012217" y="4894901"/>
                </a:cubicBezTo>
                <a:cubicBezTo>
                  <a:pt x="4012217" y="4930615"/>
                  <a:pt x="3983262" y="4959567"/>
                  <a:pt x="3947550" y="4959567"/>
                </a:cubicBezTo>
                <a:cubicBezTo>
                  <a:pt x="3911847" y="4959567"/>
                  <a:pt x="3882895" y="4930615"/>
                  <a:pt x="3882895" y="4894901"/>
                </a:cubicBezTo>
                <a:cubicBezTo>
                  <a:pt x="3882895" y="4859187"/>
                  <a:pt x="3911847" y="4830235"/>
                  <a:pt x="3947550" y="4830235"/>
                </a:cubicBezTo>
                <a:close/>
                <a:moveTo>
                  <a:pt x="3790985" y="4830235"/>
                </a:moveTo>
                <a:cubicBezTo>
                  <a:pt x="3826700" y="4830235"/>
                  <a:pt x="3855652" y="4859187"/>
                  <a:pt x="3855652" y="4894901"/>
                </a:cubicBezTo>
                <a:cubicBezTo>
                  <a:pt x="3855652" y="4930615"/>
                  <a:pt x="3826700" y="4959567"/>
                  <a:pt x="3790985" y="4959567"/>
                </a:cubicBezTo>
                <a:cubicBezTo>
                  <a:pt x="3755271" y="4959567"/>
                  <a:pt x="3726319" y="4930615"/>
                  <a:pt x="3726319" y="4894901"/>
                </a:cubicBezTo>
                <a:cubicBezTo>
                  <a:pt x="3726319" y="4859187"/>
                  <a:pt x="3755271" y="4830235"/>
                  <a:pt x="3790985" y="4830235"/>
                </a:cubicBezTo>
                <a:close/>
                <a:moveTo>
                  <a:pt x="3481754" y="4830235"/>
                </a:moveTo>
                <a:cubicBezTo>
                  <a:pt x="3517468" y="4830235"/>
                  <a:pt x="3546420" y="4859187"/>
                  <a:pt x="3546420" y="4894901"/>
                </a:cubicBezTo>
                <a:cubicBezTo>
                  <a:pt x="3546420" y="4930615"/>
                  <a:pt x="3517468" y="4959567"/>
                  <a:pt x="3481754" y="4959567"/>
                </a:cubicBezTo>
                <a:cubicBezTo>
                  <a:pt x="3446041" y="4959567"/>
                  <a:pt x="3417090" y="4930615"/>
                  <a:pt x="3417090" y="4894901"/>
                </a:cubicBezTo>
                <a:cubicBezTo>
                  <a:pt x="3417090" y="4859187"/>
                  <a:pt x="3446041" y="4830235"/>
                  <a:pt x="3481754" y="4830235"/>
                </a:cubicBezTo>
                <a:close/>
                <a:moveTo>
                  <a:pt x="10312248" y="4830234"/>
                </a:moveTo>
                <a:cubicBezTo>
                  <a:pt x="10347962" y="4830234"/>
                  <a:pt x="10376914" y="4859186"/>
                  <a:pt x="10376914" y="4894900"/>
                </a:cubicBezTo>
                <a:cubicBezTo>
                  <a:pt x="10376914" y="4930614"/>
                  <a:pt x="10347962" y="4959566"/>
                  <a:pt x="10312248" y="4959566"/>
                </a:cubicBezTo>
                <a:cubicBezTo>
                  <a:pt x="10276534" y="4959566"/>
                  <a:pt x="10247582" y="4930614"/>
                  <a:pt x="10247582" y="4894900"/>
                </a:cubicBezTo>
                <a:cubicBezTo>
                  <a:pt x="10247582" y="4859186"/>
                  <a:pt x="10276534" y="4830234"/>
                  <a:pt x="10312248" y="4830234"/>
                </a:cubicBezTo>
                <a:close/>
                <a:moveTo>
                  <a:pt x="10159588" y="4830234"/>
                </a:moveTo>
                <a:cubicBezTo>
                  <a:pt x="10195302" y="4830234"/>
                  <a:pt x="10224254" y="4859186"/>
                  <a:pt x="10224254" y="4894900"/>
                </a:cubicBezTo>
                <a:cubicBezTo>
                  <a:pt x="10224254" y="4930614"/>
                  <a:pt x="10195302" y="4959566"/>
                  <a:pt x="10159588" y="4959566"/>
                </a:cubicBezTo>
                <a:cubicBezTo>
                  <a:pt x="10123874" y="4959566"/>
                  <a:pt x="10094922" y="4930614"/>
                  <a:pt x="10094922" y="4894900"/>
                </a:cubicBezTo>
                <a:cubicBezTo>
                  <a:pt x="10094922" y="4859186"/>
                  <a:pt x="10123874" y="4830234"/>
                  <a:pt x="10159588" y="4830234"/>
                </a:cubicBezTo>
                <a:close/>
                <a:moveTo>
                  <a:pt x="10003016" y="4830234"/>
                </a:moveTo>
                <a:cubicBezTo>
                  <a:pt x="10038730" y="4830234"/>
                  <a:pt x="10067682" y="4859186"/>
                  <a:pt x="10067682" y="4894900"/>
                </a:cubicBezTo>
                <a:cubicBezTo>
                  <a:pt x="10067682" y="4930614"/>
                  <a:pt x="10038730" y="4959566"/>
                  <a:pt x="10003016" y="4959566"/>
                </a:cubicBezTo>
                <a:cubicBezTo>
                  <a:pt x="9967302" y="4959566"/>
                  <a:pt x="9938350" y="4930614"/>
                  <a:pt x="9938350" y="4894900"/>
                </a:cubicBezTo>
                <a:cubicBezTo>
                  <a:pt x="9938350" y="4859186"/>
                  <a:pt x="9967302" y="4830234"/>
                  <a:pt x="10003016" y="4830234"/>
                </a:cubicBezTo>
                <a:close/>
                <a:moveTo>
                  <a:pt x="9693783" y="4830234"/>
                </a:moveTo>
                <a:cubicBezTo>
                  <a:pt x="9729497" y="4830234"/>
                  <a:pt x="9758449" y="4859186"/>
                  <a:pt x="9758449" y="4894900"/>
                </a:cubicBezTo>
                <a:cubicBezTo>
                  <a:pt x="9758449" y="4930614"/>
                  <a:pt x="9729497" y="4959566"/>
                  <a:pt x="9693783" y="4959566"/>
                </a:cubicBezTo>
                <a:cubicBezTo>
                  <a:pt x="9658069" y="4959566"/>
                  <a:pt x="9629117" y="4930614"/>
                  <a:pt x="9629117" y="4894900"/>
                </a:cubicBezTo>
                <a:cubicBezTo>
                  <a:pt x="9629117" y="4859186"/>
                  <a:pt x="9658069" y="4830234"/>
                  <a:pt x="9693783" y="4830234"/>
                </a:cubicBezTo>
                <a:close/>
                <a:moveTo>
                  <a:pt x="9541123" y="4830234"/>
                </a:moveTo>
                <a:cubicBezTo>
                  <a:pt x="9576837" y="4830234"/>
                  <a:pt x="9605789" y="4859186"/>
                  <a:pt x="9605789" y="4894900"/>
                </a:cubicBezTo>
                <a:cubicBezTo>
                  <a:pt x="9605789" y="4930614"/>
                  <a:pt x="9576837" y="4959566"/>
                  <a:pt x="9541123" y="4959566"/>
                </a:cubicBezTo>
                <a:cubicBezTo>
                  <a:pt x="9505409" y="4959566"/>
                  <a:pt x="9476457" y="4930614"/>
                  <a:pt x="9476457" y="4894900"/>
                </a:cubicBezTo>
                <a:cubicBezTo>
                  <a:pt x="9476457" y="4859186"/>
                  <a:pt x="9505409" y="4830234"/>
                  <a:pt x="9541123" y="4830234"/>
                </a:cubicBezTo>
                <a:close/>
                <a:moveTo>
                  <a:pt x="9384550" y="4830234"/>
                </a:moveTo>
                <a:cubicBezTo>
                  <a:pt x="9420264" y="4830234"/>
                  <a:pt x="9449216" y="4859186"/>
                  <a:pt x="9449216" y="4894900"/>
                </a:cubicBezTo>
                <a:cubicBezTo>
                  <a:pt x="9449216" y="4930614"/>
                  <a:pt x="9420264" y="4959566"/>
                  <a:pt x="9384550" y="4959566"/>
                </a:cubicBezTo>
                <a:cubicBezTo>
                  <a:pt x="9348836" y="4959566"/>
                  <a:pt x="9319884" y="4930614"/>
                  <a:pt x="9319884" y="4894900"/>
                </a:cubicBezTo>
                <a:cubicBezTo>
                  <a:pt x="9319884" y="4859186"/>
                  <a:pt x="9348836" y="4830234"/>
                  <a:pt x="9384550" y="4830234"/>
                </a:cubicBezTo>
                <a:close/>
                <a:moveTo>
                  <a:pt x="7055523" y="4830234"/>
                </a:moveTo>
                <a:cubicBezTo>
                  <a:pt x="7091237" y="4830234"/>
                  <a:pt x="7120189" y="4859186"/>
                  <a:pt x="7120189" y="4894900"/>
                </a:cubicBezTo>
                <a:cubicBezTo>
                  <a:pt x="7120189" y="4930614"/>
                  <a:pt x="7091237" y="4959566"/>
                  <a:pt x="7055523" y="4959566"/>
                </a:cubicBezTo>
                <a:cubicBezTo>
                  <a:pt x="7019809" y="4959566"/>
                  <a:pt x="6990857" y="4930614"/>
                  <a:pt x="6990857" y="4894900"/>
                </a:cubicBezTo>
                <a:cubicBezTo>
                  <a:pt x="6990857" y="4859186"/>
                  <a:pt x="7019809" y="4830234"/>
                  <a:pt x="7055523" y="4830234"/>
                </a:cubicBezTo>
                <a:close/>
                <a:moveTo>
                  <a:pt x="6585804" y="4830234"/>
                </a:moveTo>
                <a:cubicBezTo>
                  <a:pt x="6621518" y="4830234"/>
                  <a:pt x="6650470" y="4859186"/>
                  <a:pt x="6650470" y="4894900"/>
                </a:cubicBezTo>
                <a:cubicBezTo>
                  <a:pt x="6650470" y="4930614"/>
                  <a:pt x="6621518" y="4959566"/>
                  <a:pt x="6585804" y="4959566"/>
                </a:cubicBezTo>
                <a:cubicBezTo>
                  <a:pt x="6550090" y="4959566"/>
                  <a:pt x="6521138" y="4930614"/>
                  <a:pt x="6521138" y="4894900"/>
                </a:cubicBezTo>
                <a:cubicBezTo>
                  <a:pt x="6521138" y="4859186"/>
                  <a:pt x="6550090" y="4830234"/>
                  <a:pt x="6585804" y="4830234"/>
                </a:cubicBezTo>
                <a:close/>
                <a:moveTo>
                  <a:pt x="6119999" y="4830234"/>
                </a:moveTo>
                <a:cubicBezTo>
                  <a:pt x="6155713" y="4830234"/>
                  <a:pt x="6184665" y="4859186"/>
                  <a:pt x="6184665" y="4894900"/>
                </a:cubicBezTo>
                <a:cubicBezTo>
                  <a:pt x="6184665" y="4930614"/>
                  <a:pt x="6155713" y="4959566"/>
                  <a:pt x="6119999" y="4959566"/>
                </a:cubicBezTo>
                <a:cubicBezTo>
                  <a:pt x="6084285" y="4959566"/>
                  <a:pt x="6055333" y="4930614"/>
                  <a:pt x="6055333" y="4894900"/>
                </a:cubicBezTo>
                <a:cubicBezTo>
                  <a:pt x="6055333" y="4859186"/>
                  <a:pt x="6084285" y="4830234"/>
                  <a:pt x="6119999" y="4830234"/>
                </a:cubicBezTo>
                <a:close/>
                <a:moveTo>
                  <a:pt x="4100209" y="4830234"/>
                </a:moveTo>
                <a:cubicBezTo>
                  <a:pt x="4135921" y="4830234"/>
                  <a:pt x="4164876" y="4859186"/>
                  <a:pt x="4164876" y="4894900"/>
                </a:cubicBezTo>
                <a:cubicBezTo>
                  <a:pt x="4164876" y="4930614"/>
                  <a:pt x="4135921" y="4959566"/>
                  <a:pt x="4100209" y="4959566"/>
                </a:cubicBezTo>
                <a:cubicBezTo>
                  <a:pt x="4064494" y="4959566"/>
                  <a:pt x="4035544" y="4930614"/>
                  <a:pt x="4035544" y="4894900"/>
                </a:cubicBezTo>
                <a:cubicBezTo>
                  <a:pt x="4035544" y="4859186"/>
                  <a:pt x="4064494" y="4830234"/>
                  <a:pt x="4100209" y="4830234"/>
                </a:cubicBezTo>
                <a:close/>
                <a:moveTo>
                  <a:pt x="3630500" y="4830234"/>
                </a:moveTo>
                <a:cubicBezTo>
                  <a:pt x="3666214" y="4830234"/>
                  <a:pt x="3695166" y="4859186"/>
                  <a:pt x="3695166" y="4894900"/>
                </a:cubicBezTo>
                <a:cubicBezTo>
                  <a:pt x="3695166" y="4930614"/>
                  <a:pt x="3666214" y="4959566"/>
                  <a:pt x="3630500" y="4959566"/>
                </a:cubicBezTo>
                <a:cubicBezTo>
                  <a:pt x="3594785" y="4959566"/>
                  <a:pt x="3565834" y="4930614"/>
                  <a:pt x="3565834" y="4894900"/>
                </a:cubicBezTo>
                <a:cubicBezTo>
                  <a:pt x="3565834" y="4859186"/>
                  <a:pt x="3594785" y="4830234"/>
                  <a:pt x="3630500" y="4830234"/>
                </a:cubicBezTo>
                <a:close/>
                <a:moveTo>
                  <a:pt x="3321271" y="4830234"/>
                </a:moveTo>
                <a:cubicBezTo>
                  <a:pt x="3356985" y="4830234"/>
                  <a:pt x="3385935" y="4859186"/>
                  <a:pt x="3385935" y="4894900"/>
                </a:cubicBezTo>
                <a:cubicBezTo>
                  <a:pt x="3385935" y="4930614"/>
                  <a:pt x="3356985" y="4959566"/>
                  <a:pt x="3321271" y="4959566"/>
                </a:cubicBezTo>
                <a:cubicBezTo>
                  <a:pt x="3285557" y="4959566"/>
                  <a:pt x="3256604" y="4930614"/>
                  <a:pt x="3256604" y="4894900"/>
                </a:cubicBezTo>
                <a:cubicBezTo>
                  <a:pt x="3256604" y="4859186"/>
                  <a:pt x="3285557" y="4830234"/>
                  <a:pt x="3321271" y="4830234"/>
                </a:cubicBezTo>
                <a:close/>
                <a:moveTo>
                  <a:pt x="10159588" y="4685405"/>
                </a:moveTo>
                <a:cubicBezTo>
                  <a:pt x="10195302" y="4685405"/>
                  <a:pt x="10224254" y="4714357"/>
                  <a:pt x="10224254" y="4750071"/>
                </a:cubicBezTo>
                <a:cubicBezTo>
                  <a:pt x="10224254" y="4785785"/>
                  <a:pt x="10195302" y="4814737"/>
                  <a:pt x="10159588" y="4814737"/>
                </a:cubicBezTo>
                <a:cubicBezTo>
                  <a:pt x="10123874" y="4814737"/>
                  <a:pt x="10094922" y="4785785"/>
                  <a:pt x="10094922" y="4750071"/>
                </a:cubicBezTo>
                <a:cubicBezTo>
                  <a:pt x="10094922" y="4714357"/>
                  <a:pt x="10123874" y="4685405"/>
                  <a:pt x="10159588" y="4685405"/>
                </a:cubicBezTo>
                <a:close/>
                <a:moveTo>
                  <a:pt x="10003016" y="4685405"/>
                </a:moveTo>
                <a:cubicBezTo>
                  <a:pt x="10038730" y="4685405"/>
                  <a:pt x="10067682" y="4714357"/>
                  <a:pt x="10067682" y="4750071"/>
                </a:cubicBezTo>
                <a:cubicBezTo>
                  <a:pt x="10067682" y="4785785"/>
                  <a:pt x="10038730" y="4814737"/>
                  <a:pt x="10003016" y="4814737"/>
                </a:cubicBezTo>
                <a:cubicBezTo>
                  <a:pt x="9967302" y="4814737"/>
                  <a:pt x="9938350" y="4785785"/>
                  <a:pt x="9938350" y="4750071"/>
                </a:cubicBezTo>
                <a:cubicBezTo>
                  <a:pt x="9938350" y="4714357"/>
                  <a:pt x="9967302" y="4685405"/>
                  <a:pt x="10003016" y="4685405"/>
                </a:cubicBezTo>
                <a:close/>
                <a:moveTo>
                  <a:pt x="9850358" y="4685405"/>
                </a:moveTo>
                <a:cubicBezTo>
                  <a:pt x="9886072" y="4685405"/>
                  <a:pt x="9915024" y="4714357"/>
                  <a:pt x="9915024" y="4750071"/>
                </a:cubicBezTo>
                <a:cubicBezTo>
                  <a:pt x="9915024" y="4785785"/>
                  <a:pt x="9886072" y="4814737"/>
                  <a:pt x="9850358" y="4814737"/>
                </a:cubicBezTo>
                <a:cubicBezTo>
                  <a:pt x="9814644" y="4814737"/>
                  <a:pt x="9785692" y="4785785"/>
                  <a:pt x="9785692" y="4750071"/>
                </a:cubicBezTo>
                <a:cubicBezTo>
                  <a:pt x="9785692" y="4714357"/>
                  <a:pt x="9814644" y="4685405"/>
                  <a:pt x="9850358" y="4685405"/>
                </a:cubicBezTo>
                <a:close/>
                <a:moveTo>
                  <a:pt x="9693783" y="4685405"/>
                </a:moveTo>
                <a:cubicBezTo>
                  <a:pt x="9729497" y="4685405"/>
                  <a:pt x="9758449" y="4714357"/>
                  <a:pt x="9758449" y="4750071"/>
                </a:cubicBezTo>
                <a:cubicBezTo>
                  <a:pt x="9758449" y="4785785"/>
                  <a:pt x="9729497" y="4814737"/>
                  <a:pt x="9693783" y="4814737"/>
                </a:cubicBezTo>
                <a:cubicBezTo>
                  <a:pt x="9658069" y="4814737"/>
                  <a:pt x="9629117" y="4785785"/>
                  <a:pt x="9629117" y="4750071"/>
                </a:cubicBezTo>
                <a:cubicBezTo>
                  <a:pt x="9629117" y="4714357"/>
                  <a:pt x="9658069" y="4685405"/>
                  <a:pt x="9693783" y="4685405"/>
                </a:cubicBezTo>
                <a:close/>
                <a:moveTo>
                  <a:pt x="9541123" y="4685405"/>
                </a:moveTo>
                <a:cubicBezTo>
                  <a:pt x="9576837" y="4685405"/>
                  <a:pt x="9605789" y="4714357"/>
                  <a:pt x="9605789" y="4750071"/>
                </a:cubicBezTo>
                <a:cubicBezTo>
                  <a:pt x="9605789" y="4785785"/>
                  <a:pt x="9576837" y="4814737"/>
                  <a:pt x="9541123" y="4814737"/>
                </a:cubicBezTo>
                <a:cubicBezTo>
                  <a:pt x="9505409" y="4814737"/>
                  <a:pt x="9476457" y="4785785"/>
                  <a:pt x="9476457" y="4750071"/>
                </a:cubicBezTo>
                <a:cubicBezTo>
                  <a:pt x="9476457" y="4714357"/>
                  <a:pt x="9505409" y="4685405"/>
                  <a:pt x="9541123" y="4685405"/>
                </a:cubicBezTo>
                <a:close/>
                <a:moveTo>
                  <a:pt x="7055523" y="4685405"/>
                </a:moveTo>
                <a:cubicBezTo>
                  <a:pt x="7091237" y="4685405"/>
                  <a:pt x="7120189" y="4714357"/>
                  <a:pt x="7120189" y="4750071"/>
                </a:cubicBezTo>
                <a:cubicBezTo>
                  <a:pt x="7120189" y="4785785"/>
                  <a:pt x="7091237" y="4814737"/>
                  <a:pt x="7055523" y="4814737"/>
                </a:cubicBezTo>
                <a:cubicBezTo>
                  <a:pt x="7019809" y="4814737"/>
                  <a:pt x="6990857" y="4785785"/>
                  <a:pt x="6990857" y="4750071"/>
                </a:cubicBezTo>
                <a:cubicBezTo>
                  <a:pt x="6990857" y="4714357"/>
                  <a:pt x="7019809" y="4685405"/>
                  <a:pt x="7055523" y="4685405"/>
                </a:cubicBezTo>
                <a:close/>
                <a:moveTo>
                  <a:pt x="6742377" y="4685405"/>
                </a:moveTo>
                <a:cubicBezTo>
                  <a:pt x="6778091" y="4685405"/>
                  <a:pt x="6807043" y="4714357"/>
                  <a:pt x="6807043" y="4750071"/>
                </a:cubicBezTo>
                <a:cubicBezTo>
                  <a:pt x="6807043" y="4785785"/>
                  <a:pt x="6778091" y="4814737"/>
                  <a:pt x="6742377" y="4814737"/>
                </a:cubicBezTo>
                <a:cubicBezTo>
                  <a:pt x="6706663" y="4814737"/>
                  <a:pt x="6677711" y="4785785"/>
                  <a:pt x="6677711" y="4750071"/>
                </a:cubicBezTo>
                <a:cubicBezTo>
                  <a:pt x="6677711" y="4714357"/>
                  <a:pt x="6706663" y="4685405"/>
                  <a:pt x="6742377" y="4685405"/>
                </a:cubicBezTo>
                <a:close/>
                <a:moveTo>
                  <a:pt x="6585804" y="4685405"/>
                </a:moveTo>
                <a:cubicBezTo>
                  <a:pt x="6621518" y="4685405"/>
                  <a:pt x="6650470" y="4714357"/>
                  <a:pt x="6650470" y="4750071"/>
                </a:cubicBezTo>
                <a:cubicBezTo>
                  <a:pt x="6650470" y="4785785"/>
                  <a:pt x="6621518" y="4814737"/>
                  <a:pt x="6585804" y="4814737"/>
                </a:cubicBezTo>
                <a:cubicBezTo>
                  <a:pt x="6550090" y="4814737"/>
                  <a:pt x="6521138" y="4785785"/>
                  <a:pt x="6521138" y="4750071"/>
                </a:cubicBezTo>
                <a:cubicBezTo>
                  <a:pt x="6521138" y="4714357"/>
                  <a:pt x="6550090" y="4685405"/>
                  <a:pt x="6585804" y="4685405"/>
                </a:cubicBezTo>
                <a:close/>
                <a:moveTo>
                  <a:pt x="6429231" y="4685405"/>
                </a:moveTo>
                <a:cubicBezTo>
                  <a:pt x="6464945" y="4685405"/>
                  <a:pt x="6493897" y="4714357"/>
                  <a:pt x="6493897" y="4750071"/>
                </a:cubicBezTo>
                <a:cubicBezTo>
                  <a:pt x="6493897" y="4785785"/>
                  <a:pt x="6464945" y="4814737"/>
                  <a:pt x="6429231" y="4814737"/>
                </a:cubicBezTo>
                <a:cubicBezTo>
                  <a:pt x="6393517" y="4814737"/>
                  <a:pt x="6364565" y="4785785"/>
                  <a:pt x="6364565" y="4750071"/>
                </a:cubicBezTo>
                <a:cubicBezTo>
                  <a:pt x="6364565" y="4714357"/>
                  <a:pt x="6393517" y="4685405"/>
                  <a:pt x="6429231" y="4685405"/>
                </a:cubicBezTo>
                <a:close/>
                <a:moveTo>
                  <a:pt x="6276571" y="4685405"/>
                </a:moveTo>
                <a:cubicBezTo>
                  <a:pt x="6312285" y="4685405"/>
                  <a:pt x="6341237" y="4714357"/>
                  <a:pt x="6341237" y="4750071"/>
                </a:cubicBezTo>
                <a:cubicBezTo>
                  <a:pt x="6341237" y="4785785"/>
                  <a:pt x="6312285" y="4814737"/>
                  <a:pt x="6276571" y="4814737"/>
                </a:cubicBezTo>
                <a:cubicBezTo>
                  <a:pt x="6240857" y="4814737"/>
                  <a:pt x="6211905" y="4785785"/>
                  <a:pt x="6211905" y="4750071"/>
                </a:cubicBezTo>
                <a:cubicBezTo>
                  <a:pt x="6211905" y="4714357"/>
                  <a:pt x="6240857" y="4685405"/>
                  <a:pt x="6276571" y="4685405"/>
                </a:cubicBezTo>
                <a:close/>
                <a:moveTo>
                  <a:pt x="6119999" y="4685405"/>
                </a:moveTo>
                <a:cubicBezTo>
                  <a:pt x="6155713" y="4685405"/>
                  <a:pt x="6184665" y="4714357"/>
                  <a:pt x="6184665" y="4750071"/>
                </a:cubicBezTo>
                <a:cubicBezTo>
                  <a:pt x="6184665" y="4785785"/>
                  <a:pt x="6155713" y="4814737"/>
                  <a:pt x="6119999" y="4814737"/>
                </a:cubicBezTo>
                <a:cubicBezTo>
                  <a:pt x="6084285" y="4814737"/>
                  <a:pt x="6055333" y="4785785"/>
                  <a:pt x="6055333" y="4750071"/>
                </a:cubicBezTo>
                <a:cubicBezTo>
                  <a:pt x="6055333" y="4714357"/>
                  <a:pt x="6084285" y="4685405"/>
                  <a:pt x="6119999" y="4685405"/>
                </a:cubicBezTo>
                <a:close/>
                <a:moveTo>
                  <a:pt x="5967339" y="4685405"/>
                </a:moveTo>
                <a:cubicBezTo>
                  <a:pt x="6003053" y="4685405"/>
                  <a:pt x="6032005" y="4714357"/>
                  <a:pt x="6032005" y="4750071"/>
                </a:cubicBezTo>
                <a:cubicBezTo>
                  <a:pt x="6032005" y="4785785"/>
                  <a:pt x="6003053" y="4814737"/>
                  <a:pt x="5967339" y="4814737"/>
                </a:cubicBezTo>
                <a:cubicBezTo>
                  <a:pt x="5931625" y="4814737"/>
                  <a:pt x="5902673" y="4785785"/>
                  <a:pt x="5902673" y="4750071"/>
                </a:cubicBezTo>
                <a:cubicBezTo>
                  <a:pt x="5902673" y="4714357"/>
                  <a:pt x="5931625" y="4685405"/>
                  <a:pt x="5967339" y="4685405"/>
                </a:cubicBezTo>
                <a:close/>
                <a:moveTo>
                  <a:pt x="4100211" y="4685405"/>
                </a:moveTo>
                <a:cubicBezTo>
                  <a:pt x="4135925" y="4685405"/>
                  <a:pt x="4164876" y="4714357"/>
                  <a:pt x="4164876" y="4750071"/>
                </a:cubicBezTo>
                <a:cubicBezTo>
                  <a:pt x="4164876" y="4785785"/>
                  <a:pt x="4135925" y="4814737"/>
                  <a:pt x="4100211" y="4814737"/>
                </a:cubicBezTo>
                <a:cubicBezTo>
                  <a:pt x="4064497" y="4814737"/>
                  <a:pt x="4035544" y="4785785"/>
                  <a:pt x="4035544" y="4750071"/>
                </a:cubicBezTo>
                <a:cubicBezTo>
                  <a:pt x="4035544" y="4714357"/>
                  <a:pt x="4064497" y="4685405"/>
                  <a:pt x="4100211" y="4685405"/>
                </a:cubicBezTo>
                <a:close/>
                <a:moveTo>
                  <a:pt x="3947550" y="4685405"/>
                </a:moveTo>
                <a:cubicBezTo>
                  <a:pt x="3983265" y="4685405"/>
                  <a:pt x="4012217" y="4714357"/>
                  <a:pt x="4012217" y="4750071"/>
                </a:cubicBezTo>
                <a:cubicBezTo>
                  <a:pt x="4012217" y="4785785"/>
                  <a:pt x="3983265" y="4814737"/>
                  <a:pt x="3947550" y="4814737"/>
                </a:cubicBezTo>
                <a:cubicBezTo>
                  <a:pt x="3911849" y="4814737"/>
                  <a:pt x="3882897" y="4785785"/>
                  <a:pt x="3882897" y="4750071"/>
                </a:cubicBezTo>
                <a:cubicBezTo>
                  <a:pt x="3882897" y="4714357"/>
                  <a:pt x="3911849" y="4685405"/>
                  <a:pt x="3947550" y="4685405"/>
                </a:cubicBezTo>
                <a:close/>
                <a:moveTo>
                  <a:pt x="3790989" y="4685405"/>
                </a:moveTo>
                <a:cubicBezTo>
                  <a:pt x="3826702" y="4685405"/>
                  <a:pt x="3855655" y="4714357"/>
                  <a:pt x="3855655" y="4750071"/>
                </a:cubicBezTo>
                <a:cubicBezTo>
                  <a:pt x="3855655" y="4785785"/>
                  <a:pt x="3826702" y="4814737"/>
                  <a:pt x="3790989" y="4814737"/>
                </a:cubicBezTo>
                <a:cubicBezTo>
                  <a:pt x="3755274" y="4814737"/>
                  <a:pt x="3726321" y="4785785"/>
                  <a:pt x="3726321" y="4750071"/>
                </a:cubicBezTo>
                <a:cubicBezTo>
                  <a:pt x="3726321" y="4714357"/>
                  <a:pt x="3755274" y="4685405"/>
                  <a:pt x="3790989" y="4685405"/>
                </a:cubicBezTo>
                <a:close/>
                <a:moveTo>
                  <a:pt x="3630503" y="4685405"/>
                </a:moveTo>
                <a:cubicBezTo>
                  <a:pt x="3666218" y="4685405"/>
                  <a:pt x="3695169" y="4714357"/>
                  <a:pt x="3695169" y="4750071"/>
                </a:cubicBezTo>
                <a:cubicBezTo>
                  <a:pt x="3695169" y="4785785"/>
                  <a:pt x="3666218" y="4814737"/>
                  <a:pt x="3630503" y="4814737"/>
                </a:cubicBezTo>
                <a:cubicBezTo>
                  <a:pt x="3594787" y="4814737"/>
                  <a:pt x="3565836" y="4785785"/>
                  <a:pt x="3565836" y="4750071"/>
                </a:cubicBezTo>
                <a:cubicBezTo>
                  <a:pt x="3565836" y="4714357"/>
                  <a:pt x="3594787" y="4685405"/>
                  <a:pt x="3630503" y="4685405"/>
                </a:cubicBezTo>
                <a:close/>
                <a:moveTo>
                  <a:pt x="3481758" y="4685405"/>
                </a:moveTo>
                <a:cubicBezTo>
                  <a:pt x="3517472" y="4685405"/>
                  <a:pt x="3546424" y="4714357"/>
                  <a:pt x="3546424" y="4750071"/>
                </a:cubicBezTo>
                <a:cubicBezTo>
                  <a:pt x="3546424" y="4785785"/>
                  <a:pt x="3517472" y="4814737"/>
                  <a:pt x="3481758" y="4814737"/>
                </a:cubicBezTo>
                <a:cubicBezTo>
                  <a:pt x="3446044" y="4814737"/>
                  <a:pt x="3417092" y="4785785"/>
                  <a:pt x="3417092" y="4750071"/>
                </a:cubicBezTo>
                <a:cubicBezTo>
                  <a:pt x="3417092" y="4714357"/>
                  <a:pt x="3446044" y="4685405"/>
                  <a:pt x="3481758" y="4685405"/>
                </a:cubicBezTo>
                <a:close/>
                <a:moveTo>
                  <a:pt x="3321273" y="4685405"/>
                </a:moveTo>
                <a:cubicBezTo>
                  <a:pt x="3356988" y="4685405"/>
                  <a:pt x="3385938" y="4714357"/>
                  <a:pt x="3385938" y="4750071"/>
                </a:cubicBezTo>
                <a:cubicBezTo>
                  <a:pt x="3385938" y="4785785"/>
                  <a:pt x="3356988" y="4814737"/>
                  <a:pt x="3321273" y="4814737"/>
                </a:cubicBezTo>
                <a:cubicBezTo>
                  <a:pt x="3285559" y="4814737"/>
                  <a:pt x="3256607" y="4785785"/>
                  <a:pt x="3256607" y="4750071"/>
                </a:cubicBezTo>
                <a:cubicBezTo>
                  <a:pt x="3256607" y="4714357"/>
                  <a:pt x="3285559" y="4685405"/>
                  <a:pt x="3321273" y="4685405"/>
                </a:cubicBezTo>
                <a:close/>
                <a:moveTo>
                  <a:pt x="10159588" y="4536658"/>
                </a:moveTo>
                <a:cubicBezTo>
                  <a:pt x="10195302" y="4536658"/>
                  <a:pt x="10224254" y="4565610"/>
                  <a:pt x="10224254" y="4601324"/>
                </a:cubicBezTo>
                <a:cubicBezTo>
                  <a:pt x="10224254" y="4637038"/>
                  <a:pt x="10195302" y="4665990"/>
                  <a:pt x="10159588" y="4665990"/>
                </a:cubicBezTo>
                <a:cubicBezTo>
                  <a:pt x="10123874" y="4665990"/>
                  <a:pt x="10094922" y="4637038"/>
                  <a:pt x="10094922" y="4601324"/>
                </a:cubicBezTo>
                <a:cubicBezTo>
                  <a:pt x="10094922" y="4565610"/>
                  <a:pt x="10123874" y="4536658"/>
                  <a:pt x="10159588" y="4536658"/>
                </a:cubicBezTo>
                <a:close/>
                <a:moveTo>
                  <a:pt x="9693783" y="4536658"/>
                </a:moveTo>
                <a:cubicBezTo>
                  <a:pt x="9729497" y="4536658"/>
                  <a:pt x="9758449" y="4565610"/>
                  <a:pt x="9758449" y="4601324"/>
                </a:cubicBezTo>
                <a:cubicBezTo>
                  <a:pt x="9758449" y="4637038"/>
                  <a:pt x="9729497" y="4665990"/>
                  <a:pt x="9693783" y="4665990"/>
                </a:cubicBezTo>
                <a:cubicBezTo>
                  <a:pt x="9658069" y="4665990"/>
                  <a:pt x="9629117" y="4637038"/>
                  <a:pt x="9629117" y="4601324"/>
                </a:cubicBezTo>
                <a:cubicBezTo>
                  <a:pt x="9629117" y="4565610"/>
                  <a:pt x="9658069" y="4536658"/>
                  <a:pt x="9693783" y="4536658"/>
                </a:cubicBezTo>
                <a:close/>
                <a:moveTo>
                  <a:pt x="7055523" y="4536658"/>
                </a:moveTo>
                <a:cubicBezTo>
                  <a:pt x="7091237" y="4536658"/>
                  <a:pt x="7120189" y="4565610"/>
                  <a:pt x="7120189" y="4601324"/>
                </a:cubicBezTo>
                <a:cubicBezTo>
                  <a:pt x="7120189" y="4637038"/>
                  <a:pt x="7091237" y="4665990"/>
                  <a:pt x="7055523" y="4665990"/>
                </a:cubicBezTo>
                <a:cubicBezTo>
                  <a:pt x="7019809" y="4665990"/>
                  <a:pt x="6990857" y="4637038"/>
                  <a:pt x="6990857" y="4601324"/>
                </a:cubicBezTo>
                <a:cubicBezTo>
                  <a:pt x="6990857" y="4565610"/>
                  <a:pt x="7019809" y="4536658"/>
                  <a:pt x="7055523" y="4536658"/>
                </a:cubicBezTo>
                <a:close/>
                <a:moveTo>
                  <a:pt x="9850358" y="4407486"/>
                </a:moveTo>
                <a:cubicBezTo>
                  <a:pt x="9886072" y="4407486"/>
                  <a:pt x="9915024" y="4436438"/>
                  <a:pt x="9915024" y="4472152"/>
                </a:cubicBezTo>
                <a:cubicBezTo>
                  <a:pt x="9915024" y="4498938"/>
                  <a:pt x="9898738" y="4521920"/>
                  <a:pt x="9875529" y="4531736"/>
                </a:cubicBezTo>
                <a:lnTo>
                  <a:pt x="9850754" y="4536738"/>
                </a:lnTo>
                <a:lnTo>
                  <a:pt x="9875529" y="4541740"/>
                </a:lnTo>
                <a:cubicBezTo>
                  <a:pt x="9898738" y="4551557"/>
                  <a:pt x="9915024" y="4574539"/>
                  <a:pt x="9915024" y="4601324"/>
                </a:cubicBezTo>
                <a:cubicBezTo>
                  <a:pt x="9915024" y="4637038"/>
                  <a:pt x="9886072" y="4665990"/>
                  <a:pt x="9850358" y="4665990"/>
                </a:cubicBezTo>
                <a:cubicBezTo>
                  <a:pt x="9814644" y="4665990"/>
                  <a:pt x="9785692" y="4637038"/>
                  <a:pt x="9785692" y="4601324"/>
                </a:cubicBezTo>
                <a:cubicBezTo>
                  <a:pt x="9785692" y="4574539"/>
                  <a:pt x="9801977" y="4551557"/>
                  <a:pt x="9825187" y="4541740"/>
                </a:cubicBezTo>
                <a:lnTo>
                  <a:pt x="9849962" y="4536738"/>
                </a:lnTo>
                <a:lnTo>
                  <a:pt x="9825187" y="4531736"/>
                </a:lnTo>
                <a:cubicBezTo>
                  <a:pt x="9801977" y="4521920"/>
                  <a:pt x="9785692" y="4498938"/>
                  <a:pt x="9785692" y="4472152"/>
                </a:cubicBezTo>
                <a:cubicBezTo>
                  <a:pt x="9785692" y="4436438"/>
                  <a:pt x="9814644" y="4407486"/>
                  <a:pt x="9850358" y="4407486"/>
                </a:cubicBezTo>
                <a:close/>
                <a:moveTo>
                  <a:pt x="6742377" y="4407486"/>
                </a:moveTo>
                <a:cubicBezTo>
                  <a:pt x="6778091" y="4407486"/>
                  <a:pt x="6807043" y="4436438"/>
                  <a:pt x="6807043" y="4472152"/>
                </a:cubicBezTo>
                <a:cubicBezTo>
                  <a:pt x="6807043" y="4498938"/>
                  <a:pt x="6790758" y="4521920"/>
                  <a:pt x="6767548" y="4531736"/>
                </a:cubicBezTo>
                <a:lnTo>
                  <a:pt x="6742773" y="4536738"/>
                </a:lnTo>
                <a:lnTo>
                  <a:pt x="6767548" y="4541740"/>
                </a:lnTo>
                <a:cubicBezTo>
                  <a:pt x="6790758" y="4551557"/>
                  <a:pt x="6807043" y="4574539"/>
                  <a:pt x="6807043" y="4601324"/>
                </a:cubicBezTo>
                <a:cubicBezTo>
                  <a:pt x="6807043" y="4637038"/>
                  <a:pt x="6778091" y="4665990"/>
                  <a:pt x="6742377" y="4665990"/>
                </a:cubicBezTo>
                <a:cubicBezTo>
                  <a:pt x="6706663" y="4665990"/>
                  <a:pt x="6677711" y="4637038"/>
                  <a:pt x="6677711" y="4601324"/>
                </a:cubicBezTo>
                <a:cubicBezTo>
                  <a:pt x="6677711" y="4574539"/>
                  <a:pt x="6693997" y="4551557"/>
                  <a:pt x="6717206" y="4541740"/>
                </a:cubicBezTo>
                <a:lnTo>
                  <a:pt x="6741981" y="4536738"/>
                </a:lnTo>
                <a:lnTo>
                  <a:pt x="6717206" y="4531736"/>
                </a:lnTo>
                <a:cubicBezTo>
                  <a:pt x="6693997" y="4521920"/>
                  <a:pt x="6677711" y="4498938"/>
                  <a:pt x="6677711" y="4472152"/>
                </a:cubicBezTo>
                <a:cubicBezTo>
                  <a:pt x="6677711" y="4436438"/>
                  <a:pt x="6706663" y="4407486"/>
                  <a:pt x="6742377" y="4407486"/>
                </a:cubicBezTo>
                <a:close/>
                <a:moveTo>
                  <a:pt x="6429231" y="4407486"/>
                </a:moveTo>
                <a:cubicBezTo>
                  <a:pt x="6464945" y="4407486"/>
                  <a:pt x="6493897" y="4436438"/>
                  <a:pt x="6493897" y="4472152"/>
                </a:cubicBezTo>
                <a:cubicBezTo>
                  <a:pt x="6493897" y="4498938"/>
                  <a:pt x="6477612" y="4521920"/>
                  <a:pt x="6454402" y="4531736"/>
                </a:cubicBezTo>
                <a:lnTo>
                  <a:pt x="6429628" y="4536738"/>
                </a:lnTo>
                <a:lnTo>
                  <a:pt x="6454402" y="4541740"/>
                </a:lnTo>
                <a:cubicBezTo>
                  <a:pt x="6477612" y="4551557"/>
                  <a:pt x="6493897" y="4574539"/>
                  <a:pt x="6493897" y="4601324"/>
                </a:cubicBezTo>
                <a:cubicBezTo>
                  <a:pt x="6493897" y="4637038"/>
                  <a:pt x="6464945" y="4665990"/>
                  <a:pt x="6429231" y="4665990"/>
                </a:cubicBezTo>
                <a:cubicBezTo>
                  <a:pt x="6393517" y="4665990"/>
                  <a:pt x="6364565" y="4637038"/>
                  <a:pt x="6364565" y="4601324"/>
                </a:cubicBezTo>
                <a:cubicBezTo>
                  <a:pt x="6364565" y="4574539"/>
                  <a:pt x="6380851" y="4551557"/>
                  <a:pt x="6404060" y="4541740"/>
                </a:cubicBezTo>
                <a:lnTo>
                  <a:pt x="6428835" y="4536738"/>
                </a:lnTo>
                <a:lnTo>
                  <a:pt x="6404060" y="4531736"/>
                </a:lnTo>
                <a:cubicBezTo>
                  <a:pt x="6380851" y="4521920"/>
                  <a:pt x="6364565" y="4498938"/>
                  <a:pt x="6364565" y="4472152"/>
                </a:cubicBezTo>
                <a:cubicBezTo>
                  <a:pt x="6364565" y="4436438"/>
                  <a:pt x="6393517" y="4407486"/>
                  <a:pt x="6429231" y="4407486"/>
                </a:cubicBezTo>
                <a:close/>
                <a:moveTo>
                  <a:pt x="6276571" y="4407486"/>
                </a:moveTo>
                <a:cubicBezTo>
                  <a:pt x="6312285" y="4407486"/>
                  <a:pt x="6341237" y="4436438"/>
                  <a:pt x="6341237" y="4472152"/>
                </a:cubicBezTo>
                <a:cubicBezTo>
                  <a:pt x="6341237" y="4498938"/>
                  <a:pt x="6324952" y="4521920"/>
                  <a:pt x="6301742" y="4531736"/>
                </a:cubicBezTo>
                <a:lnTo>
                  <a:pt x="6276968" y="4536738"/>
                </a:lnTo>
                <a:lnTo>
                  <a:pt x="6301742" y="4541740"/>
                </a:lnTo>
                <a:cubicBezTo>
                  <a:pt x="6324952" y="4551557"/>
                  <a:pt x="6341237" y="4574539"/>
                  <a:pt x="6341237" y="4601324"/>
                </a:cubicBezTo>
                <a:cubicBezTo>
                  <a:pt x="6341237" y="4637038"/>
                  <a:pt x="6312285" y="4665990"/>
                  <a:pt x="6276571" y="4665990"/>
                </a:cubicBezTo>
                <a:cubicBezTo>
                  <a:pt x="6240857" y="4665990"/>
                  <a:pt x="6211905" y="4637038"/>
                  <a:pt x="6211905" y="4601324"/>
                </a:cubicBezTo>
                <a:cubicBezTo>
                  <a:pt x="6211905" y="4574539"/>
                  <a:pt x="6228191" y="4551557"/>
                  <a:pt x="6251400" y="4541740"/>
                </a:cubicBezTo>
                <a:lnTo>
                  <a:pt x="6276175" y="4536738"/>
                </a:lnTo>
                <a:lnTo>
                  <a:pt x="6251400" y="4531736"/>
                </a:lnTo>
                <a:cubicBezTo>
                  <a:pt x="6228191" y="4521920"/>
                  <a:pt x="6211905" y="4498938"/>
                  <a:pt x="6211905" y="4472152"/>
                </a:cubicBezTo>
                <a:cubicBezTo>
                  <a:pt x="6211905" y="4436438"/>
                  <a:pt x="6240857" y="4407486"/>
                  <a:pt x="6276571" y="4407486"/>
                </a:cubicBezTo>
                <a:close/>
                <a:moveTo>
                  <a:pt x="5967339" y="4407486"/>
                </a:moveTo>
                <a:cubicBezTo>
                  <a:pt x="6003053" y="4407486"/>
                  <a:pt x="6032005" y="4436438"/>
                  <a:pt x="6032005" y="4472152"/>
                </a:cubicBezTo>
                <a:cubicBezTo>
                  <a:pt x="6032005" y="4498938"/>
                  <a:pt x="6015720" y="4521920"/>
                  <a:pt x="5992510" y="4531736"/>
                </a:cubicBezTo>
                <a:lnTo>
                  <a:pt x="5967736" y="4536738"/>
                </a:lnTo>
                <a:lnTo>
                  <a:pt x="5992510" y="4541740"/>
                </a:lnTo>
                <a:cubicBezTo>
                  <a:pt x="6015720" y="4551557"/>
                  <a:pt x="6032005" y="4574539"/>
                  <a:pt x="6032005" y="4601324"/>
                </a:cubicBezTo>
                <a:cubicBezTo>
                  <a:pt x="6032005" y="4637038"/>
                  <a:pt x="6003053" y="4665990"/>
                  <a:pt x="5967339" y="4665990"/>
                </a:cubicBezTo>
                <a:cubicBezTo>
                  <a:pt x="5931625" y="4665990"/>
                  <a:pt x="5902673" y="4637038"/>
                  <a:pt x="5902673" y="4601324"/>
                </a:cubicBezTo>
                <a:cubicBezTo>
                  <a:pt x="5902673" y="4574539"/>
                  <a:pt x="5918959" y="4551557"/>
                  <a:pt x="5942168" y="4541740"/>
                </a:cubicBezTo>
                <a:lnTo>
                  <a:pt x="5966943" y="4536738"/>
                </a:lnTo>
                <a:lnTo>
                  <a:pt x="5942168" y="4531736"/>
                </a:lnTo>
                <a:cubicBezTo>
                  <a:pt x="5918959" y="4521920"/>
                  <a:pt x="5902673" y="4498938"/>
                  <a:pt x="5902673" y="4472152"/>
                </a:cubicBezTo>
                <a:cubicBezTo>
                  <a:pt x="5902673" y="4436438"/>
                  <a:pt x="5931625" y="4407486"/>
                  <a:pt x="5967339" y="4407486"/>
                </a:cubicBezTo>
                <a:close/>
                <a:moveTo>
                  <a:pt x="4256781" y="4407486"/>
                </a:moveTo>
                <a:cubicBezTo>
                  <a:pt x="4292500" y="4407486"/>
                  <a:pt x="4321448" y="4436438"/>
                  <a:pt x="4321448" y="4472152"/>
                </a:cubicBezTo>
                <a:cubicBezTo>
                  <a:pt x="4321448" y="4507866"/>
                  <a:pt x="4292500" y="4536818"/>
                  <a:pt x="4256781" y="4536818"/>
                </a:cubicBezTo>
                <a:cubicBezTo>
                  <a:pt x="4221067" y="4536818"/>
                  <a:pt x="4192113" y="4507866"/>
                  <a:pt x="4192113" y="4472152"/>
                </a:cubicBezTo>
                <a:cubicBezTo>
                  <a:pt x="4192113" y="4436438"/>
                  <a:pt x="4221067" y="4407486"/>
                  <a:pt x="4256781" y="4407486"/>
                </a:cubicBezTo>
                <a:close/>
                <a:moveTo>
                  <a:pt x="3947550" y="4407486"/>
                </a:moveTo>
                <a:cubicBezTo>
                  <a:pt x="3983265" y="4407486"/>
                  <a:pt x="4012217" y="4436438"/>
                  <a:pt x="4012217" y="4472152"/>
                </a:cubicBezTo>
                <a:cubicBezTo>
                  <a:pt x="4012217" y="4498938"/>
                  <a:pt x="3995929" y="4521920"/>
                  <a:pt x="3972723" y="4531736"/>
                </a:cubicBezTo>
                <a:lnTo>
                  <a:pt x="3947944" y="4536738"/>
                </a:lnTo>
                <a:lnTo>
                  <a:pt x="3972720" y="4541740"/>
                </a:lnTo>
                <a:cubicBezTo>
                  <a:pt x="3995929" y="4551557"/>
                  <a:pt x="4012217" y="4574539"/>
                  <a:pt x="4012217" y="4601324"/>
                </a:cubicBezTo>
                <a:cubicBezTo>
                  <a:pt x="4012217" y="4637038"/>
                  <a:pt x="3983265" y="4665990"/>
                  <a:pt x="3947550" y="4665990"/>
                </a:cubicBezTo>
                <a:cubicBezTo>
                  <a:pt x="3911852" y="4665990"/>
                  <a:pt x="3882901" y="4637038"/>
                  <a:pt x="3882901" y="4601324"/>
                </a:cubicBezTo>
                <a:cubicBezTo>
                  <a:pt x="3882901" y="4574539"/>
                  <a:pt x="3899185" y="4551557"/>
                  <a:pt x="3922395" y="4541740"/>
                </a:cubicBezTo>
                <a:lnTo>
                  <a:pt x="3947151" y="4536738"/>
                </a:lnTo>
                <a:lnTo>
                  <a:pt x="3922397" y="4531736"/>
                </a:lnTo>
                <a:cubicBezTo>
                  <a:pt x="3899188" y="4521920"/>
                  <a:pt x="3882903" y="4498938"/>
                  <a:pt x="3882903" y="4472152"/>
                </a:cubicBezTo>
                <a:cubicBezTo>
                  <a:pt x="3882903" y="4436438"/>
                  <a:pt x="3911854" y="4407486"/>
                  <a:pt x="3947550" y="4407486"/>
                </a:cubicBezTo>
                <a:close/>
                <a:moveTo>
                  <a:pt x="3790995" y="4407486"/>
                </a:moveTo>
                <a:cubicBezTo>
                  <a:pt x="3826707" y="4407486"/>
                  <a:pt x="3855661" y="4436438"/>
                  <a:pt x="3855661" y="4472152"/>
                </a:cubicBezTo>
                <a:cubicBezTo>
                  <a:pt x="3855661" y="4498938"/>
                  <a:pt x="3839375" y="4521920"/>
                  <a:pt x="3816166" y="4531736"/>
                </a:cubicBezTo>
                <a:lnTo>
                  <a:pt x="3791389" y="4536739"/>
                </a:lnTo>
                <a:lnTo>
                  <a:pt x="3816163" y="4541740"/>
                </a:lnTo>
                <a:cubicBezTo>
                  <a:pt x="3839372" y="4551557"/>
                  <a:pt x="3855657" y="4574539"/>
                  <a:pt x="3855657" y="4601324"/>
                </a:cubicBezTo>
                <a:cubicBezTo>
                  <a:pt x="3855657" y="4637038"/>
                  <a:pt x="3826705" y="4665990"/>
                  <a:pt x="3790992" y="4665990"/>
                </a:cubicBezTo>
                <a:cubicBezTo>
                  <a:pt x="3755276" y="4665990"/>
                  <a:pt x="3726324" y="4637038"/>
                  <a:pt x="3726324" y="4601324"/>
                </a:cubicBezTo>
                <a:cubicBezTo>
                  <a:pt x="3726324" y="4574539"/>
                  <a:pt x="3742609" y="4551557"/>
                  <a:pt x="3765820" y="4541740"/>
                </a:cubicBezTo>
                <a:lnTo>
                  <a:pt x="3790597" y="4536738"/>
                </a:lnTo>
                <a:lnTo>
                  <a:pt x="3765822" y="4531736"/>
                </a:lnTo>
                <a:cubicBezTo>
                  <a:pt x="3742611" y="4521920"/>
                  <a:pt x="3726327" y="4498938"/>
                  <a:pt x="3726327" y="4472152"/>
                </a:cubicBezTo>
                <a:cubicBezTo>
                  <a:pt x="3726327" y="4436438"/>
                  <a:pt x="3755279" y="4407486"/>
                  <a:pt x="3790995" y="4407486"/>
                </a:cubicBezTo>
                <a:close/>
                <a:moveTo>
                  <a:pt x="3481760" y="4407486"/>
                </a:moveTo>
                <a:cubicBezTo>
                  <a:pt x="3517474" y="4407486"/>
                  <a:pt x="3546426" y="4436438"/>
                  <a:pt x="3546426" y="4472152"/>
                </a:cubicBezTo>
                <a:cubicBezTo>
                  <a:pt x="3546426" y="4498938"/>
                  <a:pt x="3530141" y="4521920"/>
                  <a:pt x="3506929" y="4531736"/>
                </a:cubicBezTo>
                <a:lnTo>
                  <a:pt x="3482156" y="4536738"/>
                </a:lnTo>
                <a:lnTo>
                  <a:pt x="3506929" y="4541740"/>
                </a:lnTo>
                <a:cubicBezTo>
                  <a:pt x="3530139" y="4551557"/>
                  <a:pt x="3546426" y="4574539"/>
                  <a:pt x="3546426" y="4601324"/>
                </a:cubicBezTo>
                <a:cubicBezTo>
                  <a:pt x="3546426" y="4637038"/>
                  <a:pt x="3517474" y="4665990"/>
                  <a:pt x="3481760" y="4665990"/>
                </a:cubicBezTo>
                <a:cubicBezTo>
                  <a:pt x="3446048" y="4665990"/>
                  <a:pt x="3417095" y="4637038"/>
                  <a:pt x="3417095" y="4601324"/>
                </a:cubicBezTo>
                <a:cubicBezTo>
                  <a:pt x="3417095" y="4574539"/>
                  <a:pt x="3433381" y="4551557"/>
                  <a:pt x="3456591" y="4541740"/>
                </a:cubicBezTo>
                <a:lnTo>
                  <a:pt x="3481364" y="4536738"/>
                </a:lnTo>
                <a:lnTo>
                  <a:pt x="3456591" y="4531736"/>
                </a:lnTo>
                <a:cubicBezTo>
                  <a:pt x="3433381" y="4521920"/>
                  <a:pt x="3417096" y="4498938"/>
                  <a:pt x="3417096" y="4472152"/>
                </a:cubicBezTo>
                <a:cubicBezTo>
                  <a:pt x="3417096" y="4436438"/>
                  <a:pt x="3446048" y="4407486"/>
                  <a:pt x="3481760" y="4407486"/>
                </a:cubicBezTo>
                <a:close/>
                <a:moveTo>
                  <a:pt x="3172530" y="4407486"/>
                </a:moveTo>
                <a:cubicBezTo>
                  <a:pt x="3208246" y="4407486"/>
                  <a:pt x="3237196" y="4436438"/>
                  <a:pt x="3237196" y="4472152"/>
                </a:cubicBezTo>
                <a:cubicBezTo>
                  <a:pt x="3237196" y="4498938"/>
                  <a:pt x="3220910" y="4521920"/>
                  <a:pt x="3197701" y="4531736"/>
                </a:cubicBezTo>
                <a:lnTo>
                  <a:pt x="3172927" y="4536738"/>
                </a:lnTo>
                <a:lnTo>
                  <a:pt x="3197703" y="4541740"/>
                </a:lnTo>
                <a:cubicBezTo>
                  <a:pt x="3220910" y="4551557"/>
                  <a:pt x="3237198" y="4574539"/>
                  <a:pt x="3237198" y="4601324"/>
                </a:cubicBezTo>
                <a:cubicBezTo>
                  <a:pt x="3237198" y="4637038"/>
                  <a:pt x="3208247" y="4665990"/>
                  <a:pt x="3172531" y="4665990"/>
                </a:cubicBezTo>
                <a:cubicBezTo>
                  <a:pt x="3136815" y="4665990"/>
                  <a:pt x="3107862" y="4637038"/>
                  <a:pt x="3107862" y="4601324"/>
                </a:cubicBezTo>
                <a:cubicBezTo>
                  <a:pt x="3107862" y="4574539"/>
                  <a:pt x="3124149" y="4551557"/>
                  <a:pt x="3147359" y="4541740"/>
                </a:cubicBezTo>
                <a:lnTo>
                  <a:pt x="3172134" y="4536738"/>
                </a:lnTo>
                <a:lnTo>
                  <a:pt x="3147357" y="4531736"/>
                </a:lnTo>
                <a:cubicBezTo>
                  <a:pt x="3124146" y="4521920"/>
                  <a:pt x="3107859" y="4498938"/>
                  <a:pt x="3107859" y="4472152"/>
                </a:cubicBezTo>
                <a:cubicBezTo>
                  <a:pt x="3107859" y="4436438"/>
                  <a:pt x="3136813" y="4407486"/>
                  <a:pt x="3172530" y="4407486"/>
                </a:cubicBezTo>
                <a:close/>
                <a:moveTo>
                  <a:pt x="6585804" y="4407484"/>
                </a:moveTo>
                <a:cubicBezTo>
                  <a:pt x="6621518" y="4407484"/>
                  <a:pt x="6650470" y="4436436"/>
                  <a:pt x="6650470" y="4472150"/>
                </a:cubicBezTo>
                <a:cubicBezTo>
                  <a:pt x="6650470" y="4498936"/>
                  <a:pt x="6634185" y="4521918"/>
                  <a:pt x="6610975" y="4531734"/>
                </a:cubicBezTo>
                <a:lnTo>
                  <a:pt x="6586196" y="4536737"/>
                </a:lnTo>
                <a:lnTo>
                  <a:pt x="6610975" y="4541740"/>
                </a:lnTo>
                <a:cubicBezTo>
                  <a:pt x="6634185" y="4551557"/>
                  <a:pt x="6650470" y="4574539"/>
                  <a:pt x="6650470" y="4601324"/>
                </a:cubicBezTo>
                <a:cubicBezTo>
                  <a:pt x="6650470" y="4637038"/>
                  <a:pt x="6621518" y="4665990"/>
                  <a:pt x="6585804" y="4665990"/>
                </a:cubicBezTo>
                <a:cubicBezTo>
                  <a:pt x="6550090" y="4665990"/>
                  <a:pt x="6521138" y="4637038"/>
                  <a:pt x="6521138" y="4601324"/>
                </a:cubicBezTo>
                <a:cubicBezTo>
                  <a:pt x="6521138" y="4574539"/>
                  <a:pt x="6537424" y="4551557"/>
                  <a:pt x="6560633" y="4541740"/>
                </a:cubicBezTo>
                <a:lnTo>
                  <a:pt x="6585413" y="4536737"/>
                </a:lnTo>
                <a:lnTo>
                  <a:pt x="6560633" y="4531734"/>
                </a:lnTo>
                <a:cubicBezTo>
                  <a:pt x="6537424" y="4521918"/>
                  <a:pt x="6521138" y="4498936"/>
                  <a:pt x="6521138" y="4472150"/>
                </a:cubicBezTo>
                <a:cubicBezTo>
                  <a:pt x="6521138" y="4436436"/>
                  <a:pt x="6550090" y="4407484"/>
                  <a:pt x="6585804" y="4407484"/>
                </a:cubicBezTo>
                <a:close/>
                <a:moveTo>
                  <a:pt x="6119999" y="4407484"/>
                </a:moveTo>
                <a:cubicBezTo>
                  <a:pt x="6155713" y="4407484"/>
                  <a:pt x="6184665" y="4436436"/>
                  <a:pt x="6184665" y="4472150"/>
                </a:cubicBezTo>
                <a:cubicBezTo>
                  <a:pt x="6184665" y="4498936"/>
                  <a:pt x="6168380" y="4521918"/>
                  <a:pt x="6145170" y="4531734"/>
                </a:cubicBezTo>
                <a:lnTo>
                  <a:pt x="6120391" y="4536737"/>
                </a:lnTo>
                <a:lnTo>
                  <a:pt x="6145170" y="4541740"/>
                </a:lnTo>
                <a:cubicBezTo>
                  <a:pt x="6168380" y="4551557"/>
                  <a:pt x="6184665" y="4574539"/>
                  <a:pt x="6184665" y="4601324"/>
                </a:cubicBezTo>
                <a:cubicBezTo>
                  <a:pt x="6184665" y="4637038"/>
                  <a:pt x="6155713" y="4665990"/>
                  <a:pt x="6119999" y="4665990"/>
                </a:cubicBezTo>
                <a:cubicBezTo>
                  <a:pt x="6084285" y="4665990"/>
                  <a:pt x="6055333" y="4637038"/>
                  <a:pt x="6055333" y="4601324"/>
                </a:cubicBezTo>
                <a:cubicBezTo>
                  <a:pt x="6055333" y="4574539"/>
                  <a:pt x="6071619" y="4551557"/>
                  <a:pt x="6094828" y="4541740"/>
                </a:cubicBezTo>
                <a:lnTo>
                  <a:pt x="6119608" y="4536737"/>
                </a:lnTo>
                <a:lnTo>
                  <a:pt x="6094828" y="4531734"/>
                </a:lnTo>
                <a:cubicBezTo>
                  <a:pt x="6071619" y="4521918"/>
                  <a:pt x="6055333" y="4498936"/>
                  <a:pt x="6055333" y="4472150"/>
                </a:cubicBezTo>
                <a:cubicBezTo>
                  <a:pt x="6055333" y="4436436"/>
                  <a:pt x="6084285" y="4407484"/>
                  <a:pt x="6119999" y="4407484"/>
                </a:cubicBezTo>
                <a:close/>
                <a:moveTo>
                  <a:pt x="4100213" y="4407484"/>
                </a:moveTo>
                <a:cubicBezTo>
                  <a:pt x="4135925" y="4407484"/>
                  <a:pt x="4164879" y="4436436"/>
                  <a:pt x="4164879" y="4472150"/>
                </a:cubicBezTo>
                <a:cubicBezTo>
                  <a:pt x="4164879" y="4498936"/>
                  <a:pt x="4148592" y="4521918"/>
                  <a:pt x="4125383" y="4531734"/>
                </a:cubicBezTo>
                <a:lnTo>
                  <a:pt x="4100603" y="4536737"/>
                </a:lnTo>
                <a:lnTo>
                  <a:pt x="4125383" y="4541740"/>
                </a:lnTo>
                <a:cubicBezTo>
                  <a:pt x="4148592" y="4551557"/>
                  <a:pt x="4164876" y="4574539"/>
                  <a:pt x="4164876" y="4601324"/>
                </a:cubicBezTo>
                <a:cubicBezTo>
                  <a:pt x="4164876" y="4637038"/>
                  <a:pt x="4135925" y="4665990"/>
                  <a:pt x="4100211" y="4665990"/>
                </a:cubicBezTo>
                <a:cubicBezTo>
                  <a:pt x="4064497" y="4665990"/>
                  <a:pt x="4035548" y="4637038"/>
                  <a:pt x="4035548" y="4601324"/>
                </a:cubicBezTo>
                <a:cubicBezTo>
                  <a:pt x="4035548" y="4574539"/>
                  <a:pt x="4051831" y="4551557"/>
                  <a:pt x="4075037" y="4541740"/>
                </a:cubicBezTo>
                <a:lnTo>
                  <a:pt x="4099820" y="4536737"/>
                </a:lnTo>
                <a:lnTo>
                  <a:pt x="4075039" y="4531734"/>
                </a:lnTo>
                <a:cubicBezTo>
                  <a:pt x="4051831" y="4521918"/>
                  <a:pt x="4035548" y="4498936"/>
                  <a:pt x="4035548" y="4472150"/>
                </a:cubicBezTo>
                <a:cubicBezTo>
                  <a:pt x="4035548" y="4436436"/>
                  <a:pt x="4064497" y="4407484"/>
                  <a:pt x="4100213" y="4407484"/>
                </a:cubicBezTo>
                <a:close/>
                <a:moveTo>
                  <a:pt x="3630508" y="4407484"/>
                </a:moveTo>
                <a:cubicBezTo>
                  <a:pt x="3666222" y="4407484"/>
                  <a:pt x="3695174" y="4436436"/>
                  <a:pt x="3695174" y="4472150"/>
                </a:cubicBezTo>
                <a:cubicBezTo>
                  <a:pt x="3695174" y="4498936"/>
                  <a:pt x="3678888" y="4521918"/>
                  <a:pt x="3655679" y="4531734"/>
                </a:cubicBezTo>
                <a:lnTo>
                  <a:pt x="3630899" y="4536738"/>
                </a:lnTo>
                <a:lnTo>
                  <a:pt x="3655677" y="4541740"/>
                </a:lnTo>
                <a:cubicBezTo>
                  <a:pt x="3678886" y="4551557"/>
                  <a:pt x="3695171" y="4574539"/>
                  <a:pt x="3695171" y="4601324"/>
                </a:cubicBezTo>
                <a:cubicBezTo>
                  <a:pt x="3695171" y="4637038"/>
                  <a:pt x="3666219" y="4665990"/>
                  <a:pt x="3630506" y="4665990"/>
                </a:cubicBezTo>
                <a:cubicBezTo>
                  <a:pt x="3594790" y="4665990"/>
                  <a:pt x="3565838" y="4637038"/>
                  <a:pt x="3565838" y="4601324"/>
                </a:cubicBezTo>
                <a:cubicBezTo>
                  <a:pt x="3565838" y="4574539"/>
                  <a:pt x="3582123" y="4551557"/>
                  <a:pt x="3605333" y="4541740"/>
                </a:cubicBezTo>
                <a:lnTo>
                  <a:pt x="3630116" y="4536737"/>
                </a:lnTo>
                <a:lnTo>
                  <a:pt x="3605335" y="4531734"/>
                </a:lnTo>
                <a:cubicBezTo>
                  <a:pt x="3582125" y="4521918"/>
                  <a:pt x="3565841" y="4498936"/>
                  <a:pt x="3565841" y="4472150"/>
                </a:cubicBezTo>
                <a:cubicBezTo>
                  <a:pt x="3565841" y="4436436"/>
                  <a:pt x="3594791" y="4407484"/>
                  <a:pt x="3630508" y="4407484"/>
                </a:cubicBezTo>
                <a:close/>
                <a:moveTo>
                  <a:pt x="3321277" y="4407484"/>
                </a:moveTo>
                <a:cubicBezTo>
                  <a:pt x="3356991" y="4407484"/>
                  <a:pt x="3385940" y="4436436"/>
                  <a:pt x="3385940" y="4472150"/>
                </a:cubicBezTo>
                <a:cubicBezTo>
                  <a:pt x="3385940" y="4498936"/>
                  <a:pt x="3369657" y="4521918"/>
                  <a:pt x="3346447" y="4531734"/>
                </a:cubicBezTo>
                <a:lnTo>
                  <a:pt x="3321669" y="4536737"/>
                </a:lnTo>
                <a:lnTo>
                  <a:pt x="3346446" y="4541740"/>
                </a:lnTo>
                <a:cubicBezTo>
                  <a:pt x="3369657" y="4551557"/>
                  <a:pt x="3385940" y="4574539"/>
                  <a:pt x="3385940" y="4601324"/>
                </a:cubicBezTo>
                <a:cubicBezTo>
                  <a:pt x="3385940" y="4637038"/>
                  <a:pt x="3356991" y="4665990"/>
                  <a:pt x="3321277" y="4665990"/>
                </a:cubicBezTo>
                <a:cubicBezTo>
                  <a:pt x="3285561" y="4665990"/>
                  <a:pt x="3256612" y="4637038"/>
                  <a:pt x="3256612" y="4601324"/>
                </a:cubicBezTo>
                <a:cubicBezTo>
                  <a:pt x="3256612" y="4574539"/>
                  <a:pt x="3272897" y="4551557"/>
                  <a:pt x="3296104" y="4541740"/>
                </a:cubicBezTo>
                <a:lnTo>
                  <a:pt x="3320887" y="4536737"/>
                </a:lnTo>
                <a:lnTo>
                  <a:pt x="3296104" y="4531734"/>
                </a:lnTo>
                <a:cubicBezTo>
                  <a:pt x="3272897" y="4521918"/>
                  <a:pt x="3256612" y="4498936"/>
                  <a:pt x="3256612" y="4472150"/>
                </a:cubicBezTo>
                <a:cubicBezTo>
                  <a:pt x="3256612" y="4436436"/>
                  <a:pt x="3285561" y="4407484"/>
                  <a:pt x="3321277" y="4407484"/>
                </a:cubicBezTo>
                <a:close/>
                <a:moveTo>
                  <a:pt x="3012037" y="4407484"/>
                </a:moveTo>
                <a:cubicBezTo>
                  <a:pt x="3047750" y="4407484"/>
                  <a:pt x="3076704" y="4436436"/>
                  <a:pt x="3076704" y="4472150"/>
                </a:cubicBezTo>
                <a:cubicBezTo>
                  <a:pt x="3076704" y="4507864"/>
                  <a:pt x="3047750" y="4536816"/>
                  <a:pt x="3012037" y="4536816"/>
                </a:cubicBezTo>
                <a:cubicBezTo>
                  <a:pt x="2976324" y="4536816"/>
                  <a:pt x="2947373" y="4507864"/>
                  <a:pt x="2947373" y="4472150"/>
                </a:cubicBezTo>
                <a:cubicBezTo>
                  <a:pt x="2947373" y="4436436"/>
                  <a:pt x="2976324" y="4407484"/>
                  <a:pt x="3012037" y="4407484"/>
                </a:cubicBezTo>
                <a:close/>
                <a:moveTo>
                  <a:pt x="10159586" y="4266568"/>
                </a:moveTo>
                <a:cubicBezTo>
                  <a:pt x="10195300" y="4266568"/>
                  <a:pt x="10224252" y="4295520"/>
                  <a:pt x="10224252" y="4331234"/>
                </a:cubicBezTo>
                <a:cubicBezTo>
                  <a:pt x="10224252" y="4366948"/>
                  <a:pt x="10195300" y="4395900"/>
                  <a:pt x="10159586" y="4395900"/>
                </a:cubicBezTo>
                <a:cubicBezTo>
                  <a:pt x="10123872" y="4395900"/>
                  <a:pt x="10094920" y="4366948"/>
                  <a:pt x="10094920" y="4331234"/>
                </a:cubicBezTo>
                <a:cubicBezTo>
                  <a:pt x="10094920" y="4295520"/>
                  <a:pt x="10123872" y="4266568"/>
                  <a:pt x="10159586" y="4266568"/>
                </a:cubicBezTo>
                <a:close/>
                <a:moveTo>
                  <a:pt x="9227976" y="4266568"/>
                </a:moveTo>
                <a:cubicBezTo>
                  <a:pt x="9263690" y="4266568"/>
                  <a:pt x="9292642" y="4295520"/>
                  <a:pt x="9292642" y="4331234"/>
                </a:cubicBezTo>
                <a:cubicBezTo>
                  <a:pt x="9292642" y="4366948"/>
                  <a:pt x="9263690" y="4395900"/>
                  <a:pt x="9227976" y="4395900"/>
                </a:cubicBezTo>
                <a:cubicBezTo>
                  <a:pt x="9192262" y="4395900"/>
                  <a:pt x="9163310" y="4366948"/>
                  <a:pt x="9163310" y="4331234"/>
                </a:cubicBezTo>
                <a:cubicBezTo>
                  <a:pt x="9163310" y="4295520"/>
                  <a:pt x="9192262" y="4266568"/>
                  <a:pt x="9227976" y="4266568"/>
                </a:cubicBezTo>
                <a:close/>
                <a:moveTo>
                  <a:pt x="9075316" y="4266568"/>
                </a:moveTo>
                <a:cubicBezTo>
                  <a:pt x="9111030" y="4266568"/>
                  <a:pt x="9139982" y="4295520"/>
                  <a:pt x="9139982" y="4331234"/>
                </a:cubicBezTo>
                <a:cubicBezTo>
                  <a:pt x="9139982" y="4366948"/>
                  <a:pt x="9111030" y="4395900"/>
                  <a:pt x="9075316" y="4395900"/>
                </a:cubicBezTo>
                <a:cubicBezTo>
                  <a:pt x="9039602" y="4395900"/>
                  <a:pt x="9010650" y="4366948"/>
                  <a:pt x="9010650" y="4331234"/>
                </a:cubicBezTo>
                <a:cubicBezTo>
                  <a:pt x="9010650" y="4295520"/>
                  <a:pt x="9039602" y="4266568"/>
                  <a:pt x="9075316" y="4266568"/>
                </a:cubicBezTo>
                <a:close/>
                <a:moveTo>
                  <a:pt x="6742375" y="4266568"/>
                </a:moveTo>
                <a:cubicBezTo>
                  <a:pt x="6778089" y="4266568"/>
                  <a:pt x="6807041" y="4295520"/>
                  <a:pt x="6807041" y="4331234"/>
                </a:cubicBezTo>
                <a:cubicBezTo>
                  <a:pt x="6807041" y="4366948"/>
                  <a:pt x="6778089" y="4395900"/>
                  <a:pt x="6742375" y="4395900"/>
                </a:cubicBezTo>
                <a:cubicBezTo>
                  <a:pt x="6706661" y="4395900"/>
                  <a:pt x="6677709" y="4366948"/>
                  <a:pt x="6677709" y="4331234"/>
                </a:cubicBezTo>
                <a:cubicBezTo>
                  <a:pt x="6677709" y="4295520"/>
                  <a:pt x="6706661" y="4266568"/>
                  <a:pt x="6742375" y="4266568"/>
                </a:cubicBezTo>
                <a:close/>
                <a:moveTo>
                  <a:pt x="6585802" y="4266568"/>
                </a:moveTo>
                <a:cubicBezTo>
                  <a:pt x="6621516" y="4266568"/>
                  <a:pt x="6650468" y="4295520"/>
                  <a:pt x="6650468" y="4331234"/>
                </a:cubicBezTo>
                <a:cubicBezTo>
                  <a:pt x="6650468" y="4366948"/>
                  <a:pt x="6621516" y="4395900"/>
                  <a:pt x="6585802" y="4395900"/>
                </a:cubicBezTo>
                <a:cubicBezTo>
                  <a:pt x="6550088" y="4395900"/>
                  <a:pt x="6521136" y="4366948"/>
                  <a:pt x="6521136" y="4331234"/>
                </a:cubicBezTo>
                <a:cubicBezTo>
                  <a:pt x="6521136" y="4295520"/>
                  <a:pt x="6550088" y="4266568"/>
                  <a:pt x="6585802" y="4266568"/>
                </a:cubicBezTo>
                <a:close/>
                <a:moveTo>
                  <a:pt x="6429228" y="4266568"/>
                </a:moveTo>
                <a:cubicBezTo>
                  <a:pt x="6464942" y="4266568"/>
                  <a:pt x="6493894" y="4295520"/>
                  <a:pt x="6493894" y="4331234"/>
                </a:cubicBezTo>
                <a:cubicBezTo>
                  <a:pt x="6493894" y="4366948"/>
                  <a:pt x="6464942" y="4395900"/>
                  <a:pt x="6429228" y="4395900"/>
                </a:cubicBezTo>
                <a:cubicBezTo>
                  <a:pt x="6393514" y="4395900"/>
                  <a:pt x="6364562" y="4366948"/>
                  <a:pt x="6364562" y="4331234"/>
                </a:cubicBezTo>
                <a:cubicBezTo>
                  <a:pt x="6364562" y="4295520"/>
                  <a:pt x="6393514" y="4266568"/>
                  <a:pt x="6429228" y="4266568"/>
                </a:cubicBezTo>
                <a:close/>
                <a:moveTo>
                  <a:pt x="6276569" y="4266568"/>
                </a:moveTo>
                <a:cubicBezTo>
                  <a:pt x="6312283" y="4266568"/>
                  <a:pt x="6341235" y="4295520"/>
                  <a:pt x="6341235" y="4331234"/>
                </a:cubicBezTo>
                <a:cubicBezTo>
                  <a:pt x="6341235" y="4366948"/>
                  <a:pt x="6312283" y="4395900"/>
                  <a:pt x="6276569" y="4395900"/>
                </a:cubicBezTo>
                <a:cubicBezTo>
                  <a:pt x="6240855" y="4395900"/>
                  <a:pt x="6211903" y="4366948"/>
                  <a:pt x="6211903" y="4331234"/>
                </a:cubicBezTo>
                <a:cubicBezTo>
                  <a:pt x="6211903" y="4295520"/>
                  <a:pt x="6240855" y="4266568"/>
                  <a:pt x="6276569" y="4266568"/>
                </a:cubicBezTo>
                <a:close/>
                <a:moveTo>
                  <a:pt x="6119998" y="4266568"/>
                </a:moveTo>
                <a:cubicBezTo>
                  <a:pt x="6155712" y="4266568"/>
                  <a:pt x="6184664" y="4295520"/>
                  <a:pt x="6184664" y="4331234"/>
                </a:cubicBezTo>
                <a:cubicBezTo>
                  <a:pt x="6184664" y="4366948"/>
                  <a:pt x="6155712" y="4395900"/>
                  <a:pt x="6119998" y="4395900"/>
                </a:cubicBezTo>
                <a:cubicBezTo>
                  <a:pt x="6084284" y="4395900"/>
                  <a:pt x="6055332" y="4366948"/>
                  <a:pt x="6055332" y="4331234"/>
                </a:cubicBezTo>
                <a:cubicBezTo>
                  <a:pt x="6055332" y="4295520"/>
                  <a:pt x="6084284" y="4266568"/>
                  <a:pt x="6119998" y="4266568"/>
                </a:cubicBezTo>
                <a:close/>
                <a:moveTo>
                  <a:pt x="5967338" y="4266568"/>
                </a:moveTo>
                <a:cubicBezTo>
                  <a:pt x="6003052" y="4266568"/>
                  <a:pt x="6032004" y="4295520"/>
                  <a:pt x="6032004" y="4331234"/>
                </a:cubicBezTo>
                <a:cubicBezTo>
                  <a:pt x="6032004" y="4366948"/>
                  <a:pt x="6003052" y="4395900"/>
                  <a:pt x="5967338" y="4395900"/>
                </a:cubicBezTo>
                <a:cubicBezTo>
                  <a:pt x="5931624" y="4395900"/>
                  <a:pt x="5902672" y="4366948"/>
                  <a:pt x="5902672" y="4331234"/>
                </a:cubicBezTo>
                <a:cubicBezTo>
                  <a:pt x="5902672" y="4295520"/>
                  <a:pt x="5931624" y="4266568"/>
                  <a:pt x="5967338" y="4266568"/>
                </a:cubicBezTo>
                <a:close/>
                <a:moveTo>
                  <a:pt x="4256780" y="4266568"/>
                </a:moveTo>
                <a:cubicBezTo>
                  <a:pt x="4292500" y="4266568"/>
                  <a:pt x="4321446" y="4295520"/>
                  <a:pt x="4321446" y="4331234"/>
                </a:cubicBezTo>
                <a:cubicBezTo>
                  <a:pt x="4321446" y="4366948"/>
                  <a:pt x="4292500" y="4395900"/>
                  <a:pt x="4256780" y="4395900"/>
                </a:cubicBezTo>
                <a:cubicBezTo>
                  <a:pt x="4221067" y="4395900"/>
                  <a:pt x="4192113" y="4366948"/>
                  <a:pt x="4192113" y="4331234"/>
                </a:cubicBezTo>
                <a:cubicBezTo>
                  <a:pt x="4192113" y="4295520"/>
                  <a:pt x="4221067" y="4266568"/>
                  <a:pt x="4256780" y="4266568"/>
                </a:cubicBezTo>
                <a:close/>
                <a:moveTo>
                  <a:pt x="4100211" y="4266568"/>
                </a:moveTo>
                <a:cubicBezTo>
                  <a:pt x="4135921" y="4266568"/>
                  <a:pt x="4164879" y="4295520"/>
                  <a:pt x="4164879" y="4331234"/>
                </a:cubicBezTo>
                <a:cubicBezTo>
                  <a:pt x="4164879" y="4366948"/>
                  <a:pt x="4135921" y="4395900"/>
                  <a:pt x="4100211" y="4395900"/>
                </a:cubicBezTo>
                <a:cubicBezTo>
                  <a:pt x="4064497" y="4395900"/>
                  <a:pt x="4035548" y="4366948"/>
                  <a:pt x="4035548" y="4331234"/>
                </a:cubicBezTo>
                <a:cubicBezTo>
                  <a:pt x="4035548" y="4295520"/>
                  <a:pt x="4064497" y="4266568"/>
                  <a:pt x="4100211" y="4266568"/>
                </a:cubicBezTo>
                <a:close/>
                <a:moveTo>
                  <a:pt x="3947545" y="4266568"/>
                </a:moveTo>
                <a:cubicBezTo>
                  <a:pt x="3983262" y="4266568"/>
                  <a:pt x="4012217" y="4295520"/>
                  <a:pt x="4012217" y="4331234"/>
                </a:cubicBezTo>
                <a:cubicBezTo>
                  <a:pt x="4012217" y="4366948"/>
                  <a:pt x="3983262" y="4395900"/>
                  <a:pt x="3947545" y="4395900"/>
                </a:cubicBezTo>
                <a:cubicBezTo>
                  <a:pt x="3911853" y="4395900"/>
                  <a:pt x="3882903" y="4366948"/>
                  <a:pt x="3882903" y="4331234"/>
                </a:cubicBezTo>
                <a:cubicBezTo>
                  <a:pt x="3882903" y="4295520"/>
                  <a:pt x="3911853" y="4266568"/>
                  <a:pt x="3947545" y="4266568"/>
                </a:cubicBezTo>
                <a:close/>
                <a:moveTo>
                  <a:pt x="3790995" y="4266568"/>
                </a:moveTo>
                <a:cubicBezTo>
                  <a:pt x="3826709" y="4266568"/>
                  <a:pt x="3855662" y="4295520"/>
                  <a:pt x="3855662" y="4331234"/>
                </a:cubicBezTo>
                <a:cubicBezTo>
                  <a:pt x="3855662" y="4366948"/>
                  <a:pt x="3826709" y="4395900"/>
                  <a:pt x="3790995" y="4395900"/>
                </a:cubicBezTo>
                <a:cubicBezTo>
                  <a:pt x="3755281" y="4395900"/>
                  <a:pt x="3726328" y="4366948"/>
                  <a:pt x="3726328" y="4331234"/>
                </a:cubicBezTo>
                <a:cubicBezTo>
                  <a:pt x="3726328" y="4295520"/>
                  <a:pt x="3755281" y="4266568"/>
                  <a:pt x="3790995" y="4266568"/>
                </a:cubicBezTo>
                <a:close/>
                <a:moveTo>
                  <a:pt x="3630508" y="4266568"/>
                </a:moveTo>
                <a:cubicBezTo>
                  <a:pt x="3666222" y="4266568"/>
                  <a:pt x="3695175" y="4295520"/>
                  <a:pt x="3695175" y="4331234"/>
                </a:cubicBezTo>
                <a:cubicBezTo>
                  <a:pt x="3695175" y="4366948"/>
                  <a:pt x="3666222" y="4395900"/>
                  <a:pt x="3630508" y="4395900"/>
                </a:cubicBezTo>
                <a:cubicBezTo>
                  <a:pt x="3594791" y="4395900"/>
                  <a:pt x="3565840" y="4366948"/>
                  <a:pt x="3565840" y="4331234"/>
                </a:cubicBezTo>
                <a:cubicBezTo>
                  <a:pt x="3565840" y="4295520"/>
                  <a:pt x="3594791" y="4266568"/>
                  <a:pt x="3630508" y="4266568"/>
                </a:cubicBezTo>
                <a:close/>
                <a:moveTo>
                  <a:pt x="3481762" y="4266568"/>
                </a:moveTo>
                <a:cubicBezTo>
                  <a:pt x="3517475" y="4266568"/>
                  <a:pt x="3546428" y="4295520"/>
                  <a:pt x="3546428" y="4331234"/>
                </a:cubicBezTo>
                <a:cubicBezTo>
                  <a:pt x="3546428" y="4366948"/>
                  <a:pt x="3517475" y="4395900"/>
                  <a:pt x="3481762" y="4395900"/>
                </a:cubicBezTo>
                <a:cubicBezTo>
                  <a:pt x="3446050" y="4395900"/>
                  <a:pt x="3417099" y="4366948"/>
                  <a:pt x="3417099" y="4331234"/>
                </a:cubicBezTo>
                <a:cubicBezTo>
                  <a:pt x="3417099" y="4295520"/>
                  <a:pt x="3446050" y="4266568"/>
                  <a:pt x="3481762" y="4266568"/>
                </a:cubicBezTo>
                <a:close/>
                <a:moveTo>
                  <a:pt x="3321282" y="4266568"/>
                </a:moveTo>
                <a:cubicBezTo>
                  <a:pt x="3356996" y="4266568"/>
                  <a:pt x="3385942" y="4295520"/>
                  <a:pt x="3385942" y="4331234"/>
                </a:cubicBezTo>
                <a:cubicBezTo>
                  <a:pt x="3385942" y="4366948"/>
                  <a:pt x="3356996" y="4395900"/>
                  <a:pt x="3321282" y="4395900"/>
                </a:cubicBezTo>
                <a:cubicBezTo>
                  <a:pt x="3285566" y="4395900"/>
                  <a:pt x="3256617" y="4366948"/>
                  <a:pt x="3256617" y="4331234"/>
                </a:cubicBezTo>
                <a:cubicBezTo>
                  <a:pt x="3256617" y="4295520"/>
                  <a:pt x="3285566" y="4266568"/>
                  <a:pt x="3321282" y="4266568"/>
                </a:cubicBezTo>
                <a:close/>
                <a:moveTo>
                  <a:pt x="3172532" y="4266568"/>
                </a:moveTo>
                <a:cubicBezTo>
                  <a:pt x="3208248" y="4266568"/>
                  <a:pt x="3237198" y="4295520"/>
                  <a:pt x="3237198" y="4331234"/>
                </a:cubicBezTo>
                <a:cubicBezTo>
                  <a:pt x="3237198" y="4366948"/>
                  <a:pt x="3208248" y="4395900"/>
                  <a:pt x="3172532" y="4395900"/>
                </a:cubicBezTo>
                <a:cubicBezTo>
                  <a:pt x="3136816" y="4395900"/>
                  <a:pt x="3107863" y="4366948"/>
                  <a:pt x="3107863" y="4331234"/>
                </a:cubicBezTo>
                <a:cubicBezTo>
                  <a:pt x="3107863" y="4295520"/>
                  <a:pt x="3136816" y="4266568"/>
                  <a:pt x="3172532" y="4266568"/>
                </a:cubicBezTo>
                <a:close/>
                <a:moveTo>
                  <a:pt x="3012039" y="4266568"/>
                </a:moveTo>
                <a:cubicBezTo>
                  <a:pt x="3047752" y="4266568"/>
                  <a:pt x="3076706" y="4295520"/>
                  <a:pt x="3076706" y="4331234"/>
                </a:cubicBezTo>
                <a:cubicBezTo>
                  <a:pt x="3076706" y="4366948"/>
                  <a:pt x="3047752" y="4395900"/>
                  <a:pt x="3012039" y="4395900"/>
                </a:cubicBezTo>
                <a:cubicBezTo>
                  <a:pt x="2976326" y="4395900"/>
                  <a:pt x="2947375" y="4366948"/>
                  <a:pt x="2947375" y="4331234"/>
                </a:cubicBezTo>
                <a:cubicBezTo>
                  <a:pt x="2947375" y="4295520"/>
                  <a:pt x="2976326" y="4266568"/>
                  <a:pt x="3012039" y="4266568"/>
                </a:cubicBezTo>
                <a:close/>
                <a:moveTo>
                  <a:pt x="10159586" y="4113910"/>
                </a:moveTo>
                <a:cubicBezTo>
                  <a:pt x="10195300" y="4113910"/>
                  <a:pt x="10224252" y="4142862"/>
                  <a:pt x="10224252" y="4178576"/>
                </a:cubicBezTo>
                <a:cubicBezTo>
                  <a:pt x="10224252" y="4214290"/>
                  <a:pt x="10195300" y="4243242"/>
                  <a:pt x="10159586" y="4243242"/>
                </a:cubicBezTo>
                <a:cubicBezTo>
                  <a:pt x="10123872" y="4243242"/>
                  <a:pt x="10094920" y="4214290"/>
                  <a:pt x="10094920" y="4178576"/>
                </a:cubicBezTo>
                <a:cubicBezTo>
                  <a:pt x="10094920" y="4142862"/>
                  <a:pt x="10123872" y="4113910"/>
                  <a:pt x="10159586" y="4113910"/>
                </a:cubicBezTo>
                <a:close/>
                <a:moveTo>
                  <a:pt x="10003015" y="4113910"/>
                </a:moveTo>
                <a:cubicBezTo>
                  <a:pt x="10038729" y="4113910"/>
                  <a:pt x="10067681" y="4142862"/>
                  <a:pt x="10067681" y="4178576"/>
                </a:cubicBezTo>
                <a:cubicBezTo>
                  <a:pt x="10067681" y="4214290"/>
                  <a:pt x="10038729" y="4243242"/>
                  <a:pt x="10003015" y="4243242"/>
                </a:cubicBezTo>
                <a:cubicBezTo>
                  <a:pt x="9967301" y="4243242"/>
                  <a:pt x="9938349" y="4214290"/>
                  <a:pt x="9938349" y="4178576"/>
                </a:cubicBezTo>
                <a:cubicBezTo>
                  <a:pt x="9938349" y="4142862"/>
                  <a:pt x="9967301" y="4113910"/>
                  <a:pt x="10003015" y="4113910"/>
                </a:cubicBezTo>
                <a:close/>
                <a:moveTo>
                  <a:pt x="9850355" y="4113910"/>
                </a:moveTo>
                <a:cubicBezTo>
                  <a:pt x="9886069" y="4113910"/>
                  <a:pt x="9915021" y="4142862"/>
                  <a:pt x="9915021" y="4178576"/>
                </a:cubicBezTo>
                <a:cubicBezTo>
                  <a:pt x="9915021" y="4214290"/>
                  <a:pt x="9886069" y="4243242"/>
                  <a:pt x="9850355" y="4243242"/>
                </a:cubicBezTo>
                <a:cubicBezTo>
                  <a:pt x="9814641" y="4243242"/>
                  <a:pt x="9785689" y="4214290"/>
                  <a:pt x="9785689" y="4178576"/>
                </a:cubicBezTo>
                <a:cubicBezTo>
                  <a:pt x="9785689" y="4142862"/>
                  <a:pt x="9814641" y="4113910"/>
                  <a:pt x="9850355" y="4113910"/>
                </a:cubicBezTo>
                <a:close/>
                <a:moveTo>
                  <a:pt x="9384549" y="4113910"/>
                </a:moveTo>
                <a:cubicBezTo>
                  <a:pt x="9420263" y="4113910"/>
                  <a:pt x="9449215" y="4142862"/>
                  <a:pt x="9449215" y="4178576"/>
                </a:cubicBezTo>
                <a:cubicBezTo>
                  <a:pt x="9449215" y="4214290"/>
                  <a:pt x="9420263" y="4243242"/>
                  <a:pt x="9384549" y="4243242"/>
                </a:cubicBezTo>
                <a:cubicBezTo>
                  <a:pt x="9348835" y="4243242"/>
                  <a:pt x="9319883" y="4214290"/>
                  <a:pt x="9319883" y="4178576"/>
                </a:cubicBezTo>
                <a:cubicBezTo>
                  <a:pt x="9319883" y="4142862"/>
                  <a:pt x="9348835" y="4113910"/>
                  <a:pt x="9384549" y="4113910"/>
                </a:cubicBezTo>
                <a:close/>
                <a:moveTo>
                  <a:pt x="8914828" y="4113910"/>
                </a:moveTo>
                <a:cubicBezTo>
                  <a:pt x="8950542" y="4113910"/>
                  <a:pt x="8979494" y="4142862"/>
                  <a:pt x="8979494" y="4178576"/>
                </a:cubicBezTo>
                <a:cubicBezTo>
                  <a:pt x="8979494" y="4214290"/>
                  <a:pt x="8950542" y="4243242"/>
                  <a:pt x="8914828" y="4243242"/>
                </a:cubicBezTo>
                <a:cubicBezTo>
                  <a:pt x="8879114" y="4243242"/>
                  <a:pt x="8850162" y="4214290"/>
                  <a:pt x="8850162" y="4178576"/>
                </a:cubicBezTo>
                <a:cubicBezTo>
                  <a:pt x="8850162" y="4142862"/>
                  <a:pt x="8879114" y="4113910"/>
                  <a:pt x="8914828" y="4113910"/>
                </a:cubicBezTo>
                <a:close/>
                <a:moveTo>
                  <a:pt x="6742375" y="4113910"/>
                </a:moveTo>
                <a:cubicBezTo>
                  <a:pt x="6778089" y="4113910"/>
                  <a:pt x="6807041" y="4142862"/>
                  <a:pt x="6807041" y="4178576"/>
                </a:cubicBezTo>
                <a:cubicBezTo>
                  <a:pt x="6807041" y="4214290"/>
                  <a:pt x="6778089" y="4243242"/>
                  <a:pt x="6742375" y="4243242"/>
                </a:cubicBezTo>
                <a:cubicBezTo>
                  <a:pt x="6706661" y="4243242"/>
                  <a:pt x="6677709" y="4214290"/>
                  <a:pt x="6677709" y="4178576"/>
                </a:cubicBezTo>
                <a:cubicBezTo>
                  <a:pt x="6677709" y="4142862"/>
                  <a:pt x="6706661" y="4113910"/>
                  <a:pt x="6742375" y="4113910"/>
                </a:cubicBezTo>
                <a:close/>
                <a:moveTo>
                  <a:pt x="6585802" y="4113910"/>
                </a:moveTo>
                <a:cubicBezTo>
                  <a:pt x="6621516" y="4113910"/>
                  <a:pt x="6650468" y="4142862"/>
                  <a:pt x="6650468" y="4178576"/>
                </a:cubicBezTo>
                <a:cubicBezTo>
                  <a:pt x="6650468" y="4214290"/>
                  <a:pt x="6621516" y="4243242"/>
                  <a:pt x="6585802" y="4243242"/>
                </a:cubicBezTo>
                <a:cubicBezTo>
                  <a:pt x="6550088" y="4243242"/>
                  <a:pt x="6521136" y="4214290"/>
                  <a:pt x="6521136" y="4178576"/>
                </a:cubicBezTo>
                <a:cubicBezTo>
                  <a:pt x="6521136" y="4142862"/>
                  <a:pt x="6550088" y="4113910"/>
                  <a:pt x="6585802" y="4113910"/>
                </a:cubicBezTo>
                <a:close/>
                <a:moveTo>
                  <a:pt x="6429228" y="4113910"/>
                </a:moveTo>
                <a:cubicBezTo>
                  <a:pt x="6464942" y="4113910"/>
                  <a:pt x="6493894" y="4142862"/>
                  <a:pt x="6493894" y="4178576"/>
                </a:cubicBezTo>
                <a:cubicBezTo>
                  <a:pt x="6493894" y="4214290"/>
                  <a:pt x="6464942" y="4243242"/>
                  <a:pt x="6429228" y="4243242"/>
                </a:cubicBezTo>
                <a:cubicBezTo>
                  <a:pt x="6393514" y="4243242"/>
                  <a:pt x="6364562" y="4214290"/>
                  <a:pt x="6364562" y="4178576"/>
                </a:cubicBezTo>
                <a:cubicBezTo>
                  <a:pt x="6364562" y="4142862"/>
                  <a:pt x="6393514" y="4113910"/>
                  <a:pt x="6429228" y="4113910"/>
                </a:cubicBezTo>
                <a:close/>
                <a:moveTo>
                  <a:pt x="6276569" y="4113910"/>
                </a:moveTo>
                <a:cubicBezTo>
                  <a:pt x="6312283" y="4113910"/>
                  <a:pt x="6341235" y="4142862"/>
                  <a:pt x="6341235" y="4178576"/>
                </a:cubicBezTo>
                <a:cubicBezTo>
                  <a:pt x="6341235" y="4214290"/>
                  <a:pt x="6312283" y="4243242"/>
                  <a:pt x="6276569" y="4243242"/>
                </a:cubicBezTo>
                <a:cubicBezTo>
                  <a:pt x="6240855" y="4243242"/>
                  <a:pt x="6211903" y="4214290"/>
                  <a:pt x="6211903" y="4178576"/>
                </a:cubicBezTo>
                <a:cubicBezTo>
                  <a:pt x="6211903" y="4142862"/>
                  <a:pt x="6240855" y="4113910"/>
                  <a:pt x="6276569" y="4113910"/>
                </a:cubicBezTo>
                <a:close/>
                <a:moveTo>
                  <a:pt x="6119998" y="4113910"/>
                </a:moveTo>
                <a:cubicBezTo>
                  <a:pt x="6155712" y="4113910"/>
                  <a:pt x="6184664" y="4142862"/>
                  <a:pt x="6184664" y="4178576"/>
                </a:cubicBezTo>
                <a:cubicBezTo>
                  <a:pt x="6184664" y="4214290"/>
                  <a:pt x="6155712" y="4243242"/>
                  <a:pt x="6119998" y="4243242"/>
                </a:cubicBezTo>
                <a:cubicBezTo>
                  <a:pt x="6084284" y="4243242"/>
                  <a:pt x="6055332" y="4214290"/>
                  <a:pt x="6055332" y="4178576"/>
                </a:cubicBezTo>
                <a:cubicBezTo>
                  <a:pt x="6055332" y="4142862"/>
                  <a:pt x="6084284" y="4113910"/>
                  <a:pt x="6119998" y="4113910"/>
                </a:cubicBezTo>
                <a:close/>
                <a:moveTo>
                  <a:pt x="5967338" y="4113910"/>
                </a:moveTo>
                <a:cubicBezTo>
                  <a:pt x="6003052" y="4113910"/>
                  <a:pt x="6032004" y="4142862"/>
                  <a:pt x="6032004" y="4178576"/>
                </a:cubicBezTo>
                <a:cubicBezTo>
                  <a:pt x="6032004" y="4214290"/>
                  <a:pt x="6003052" y="4243242"/>
                  <a:pt x="5967338" y="4243242"/>
                </a:cubicBezTo>
                <a:cubicBezTo>
                  <a:pt x="5931624" y="4243242"/>
                  <a:pt x="5902672" y="4214290"/>
                  <a:pt x="5902672" y="4178576"/>
                </a:cubicBezTo>
                <a:cubicBezTo>
                  <a:pt x="5902672" y="4142862"/>
                  <a:pt x="5931624" y="4113910"/>
                  <a:pt x="5967338" y="4113910"/>
                </a:cubicBezTo>
                <a:close/>
                <a:moveTo>
                  <a:pt x="4256780" y="4113910"/>
                </a:moveTo>
                <a:cubicBezTo>
                  <a:pt x="4292500" y="4113910"/>
                  <a:pt x="4321446" y="4142862"/>
                  <a:pt x="4321446" y="4178576"/>
                </a:cubicBezTo>
                <a:cubicBezTo>
                  <a:pt x="4321446" y="4214290"/>
                  <a:pt x="4292500" y="4243242"/>
                  <a:pt x="4256780" y="4243242"/>
                </a:cubicBezTo>
                <a:cubicBezTo>
                  <a:pt x="4221067" y="4243242"/>
                  <a:pt x="4192119" y="4214290"/>
                  <a:pt x="4192119" y="4178576"/>
                </a:cubicBezTo>
                <a:cubicBezTo>
                  <a:pt x="4192119" y="4142862"/>
                  <a:pt x="4221067" y="4113910"/>
                  <a:pt x="4256780" y="4113910"/>
                </a:cubicBezTo>
                <a:close/>
                <a:moveTo>
                  <a:pt x="4100213" y="4113910"/>
                </a:moveTo>
                <a:cubicBezTo>
                  <a:pt x="4135925" y="4113910"/>
                  <a:pt x="4164879" y="4142862"/>
                  <a:pt x="4164879" y="4178576"/>
                </a:cubicBezTo>
                <a:cubicBezTo>
                  <a:pt x="4164879" y="4214290"/>
                  <a:pt x="4135925" y="4243242"/>
                  <a:pt x="4100213" y="4243242"/>
                </a:cubicBezTo>
                <a:cubicBezTo>
                  <a:pt x="4064497" y="4243242"/>
                  <a:pt x="4035548" y="4214290"/>
                  <a:pt x="4035548" y="4178576"/>
                </a:cubicBezTo>
                <a:cubicBezTo>
                  <a:pt x="4035548" y="4142862"/>
                  <a:pt x="4064497" y="4113910"/>
                  <a:pt x="4100213" y="4113910"/>
                </a:cubicBezTo>
                <a:close/>
                <a:moveTo>
                  <a:pt x="3947550" y="4113910"/>
                </a:moveTo>
                <a:cubicBezTo>
                  <a:pt x="3983265" y="4113910"/>
                  <a:pt x="4012217" y="4142862"/>
                  <a:pt x="4012217" y="4178576"/>
                </a:cubicBezTo>
                <a:cubicBezTo>
                  <a:pt x="4012217" y="4214290"/>
                  <a:pt x="3983265" y="4243242"/>
                  <a:pt x="3947550" y="4243242"/>
                </a:cubicBezTo>
                <a:cubicBezTo>
                  <a:pt x="3911857" y="4243242"/>
                  <a:pt x="3882906" y="4214290"/>
                  <a:pt x="3882906" y="4178576"/>
                </a:cubicBezTo>
                <a:cubicBezTo>
                  <a:pt x="3882906" y="4142862"/>
                  <a:pt x="3911857" y="4113910"/>
                  <a:pt x="3947550" y="4113910"/>
                </a:cubicBezTo>
                <a:close/>
                <a:moveTo>
                  <a:pt x="3791000" y="4113910"/>
                </a:moveTo>
                <a:cubicBezTo>
                  <a:pt x="3826712" y="4113910"/>
                  <a:pt x="3855665" y="4142862"/>
                  <a:pt x="3855665" y="4178576"/>
                </a:cubicBezTo>
                <a:cubicBezTo>
                  <a:pt x="3855665" y="4214290"/>
                  <a:pt x="3826712" y="4243242"/>
                  <a:pt x="3791000" y="4243242"/>
                </a:cubicBezTo>
                <a:cubicBezTo>
                  <a:pt x="3755284" y="4243242"/>
                  <a:pt x="3726332" y="4214290"/>
                  <a:pt x="3726332" y="4178576"/>
                </a:cubicBezTo>
                <a:cubicBezTo>
                  <a:pt x="3726332" y="4142862"/>
                  <a:pt x="3755284" y="4113910"/>
                  <a:pt x="3791000" y="4113910"/>
                </a:cubicBezTo>
                <a:close/>
                <a:moveTo>
                  <a:pt x="3630513" y="4113910"/>
                </a:moveTo>
                <a:cubicBezTo>
                  <a:pt x="3666226" y="4113910"/>
                  <a:pt x="3695178" y="4142862"/>
                  <a:pt x="3695178" y="4178576"/>
                </a:cubicBezTo>
                <a:cubicBezTo>
                  <a:pt x="3695178" y="4214290"/>
                  <a:pt x="3666226" y="4243242"/>
                  <a:pt x="3630513" y="4243242"/>
                </a:cubicBezTo>
                <a:cubicBezTo>
                  <a:pt x="3594796" y="4243242"/>
                  <a:pt x="3565843" y="4214290"/>
                  <a:pt x="3565843" y="4178576"/>
                </a:cubicBezTo>
                <a:cubicBezTo>
                  <a:pt x="3565843" y="4142862"/>
                  <a:pt x="3594796" y="4113910"/>
                  <a:pt x="3630513" y="4113910"/>
                </a:cubicBezTo>
                <a:close/>
                <a:moveTo>
                  <a:pt x="3481765" y="4113910"/>
                </a:moveTo>
                <a:cubicBezTo>
                  <a:pt x="3517478" y="4113910"/>
                  <a:pt x="3546432" y="4142862"/>
                  <a:pt x="3546432" y="4178576"/>
                </a:cubicBezTo>
                <a:cubicBezTo>
                  <a:pt x="3546432" y="4214290"/>
                  <a:pt x="3517478" y="4243242"/>
                  <a:pt x="3481765" y="4243242"/>
                </a:cubicBezTo>
                <a:cubicBezTo>
                  <a:pt x="3446054" y="4243242"/>
                  <a:pt x="3417102" y="4214290"/>
                  <a:pt x="3417102" y="4178576"/>
                </a:cubicBezTo>
                <a:cubicBezTo>
                  <a:pt x="3417102" y="4142862"/>
                  <a:pt x="3446054" y="4113910"/>
                  <a:pt x="3481765" y="4113910"/>
                </a:cubicBezTo>
                <a:close/>
                <a:moveTo>
                  <a:pt x="3321284" y="4113910"/>
                </a:moveTo>
                <a:cubicBezTo>
                  <a:pt x="3357000" y="4113910"/>
                  <a:pt x="3385944" y="4142862"/>
                  <a:pt x="3385944" y="4178576"/>
                </a:cubicBezTo>
                <a:cubicBezTo>
                  <a:pt x="3385944" y="4214290"/>
                  <a:pt x="3357000" y="4243242"/>
                  <a:pt x="3321284" y="4243242"/>
                </a:cubicBezTo>
                <a:cubicBezTo>
                  <a:pt x="3285568" y="4243242"/>
                  <a:pt x="3256621" y="4214290"/>
                  <a:pt x="3256621" y="4178576"/>
                </a:cubicBezTo>
                <a:cubicBezTo>
                  <a:pt x="3256621" y="4142862"/>
                  <a:pt x="3285568" y="4113910"/>
                  <a:pt x="3321284" y="4113910"/>
                </a:cubicBezTo>
                <a:close/>
                <a:moveTo>
                  <a:pt x="3172536" y="4113910"/>
                </a:moveTo>
                <a:cubicBezTo>
                  <a:pt x="3208251" y="4113910"/>
                  <a:pt x="3237201" y="4142862"/>
                  <a:pt x="3237201" y="4178576"/>
                </a:cubicBezTo>
                <a:cubicBezTo>
                  <a:pt x="3237201" y="4214290"/>
                  <a:pt x="3208251" y="4243242"/>
                  <a:pt x="3172536" y="4243242"/>
                </a:cubicBezTo>
                <a:cubicBezTo>
                  <a:pt x="3136820" y="4243242"/>
                  <a:pt x="3107865" y="4214290"/>
                  <a:pt x="3107865" y="4178576"/>
                </a:cubicBezTo>
                <a:cubicBezTo>
                  <a:pt x="3107865" y="4142862"/>
                  <a:pt x="3136820" y="4113910"/>
                  <a:pt x="3172536" y="4113910"/>
                </a:cubicBezTo>
                <a:close/>
                <a:moveTo>
                  <a:pt x="3012042" y="4113910"/>
                </a:moveTo>
                <a:cubicBezTo>
                  <a:pt x="3047754" y="4113910"/>
                  <a:pt x="3076709" y="4142862"/>
                  <a:pt x="3076709" y="4178576"/>
                </a:cubicBezTo>
                <a:cubicBezTo>
                  <a:pt x="3076709" y="4214290"/>
                  <a:pt x="3047754" y="4243242"/>
                  <a:pt x="3012042" y="4243242"/>
                </a:cubicBezTo>
                <a:cubicBezTo>
                  <a:pt x="2976329" y="4243242"/>
                  <a:pt x="2947378" y="4214290"/>
                  <a:pt x="2947378" y="4178576"/>
                </a:cubicBezTo>
                <a:cubicBezTo>
                  <a:pt x="2947378" y="4142862"/>
                  <a:pt x="2976329" y="4113910"/>
                  <a:pt x="3012042" y="4113910"/>
                </a:cubicBezTo>
                <a:close/>
                <a:moveTo>
                  <a:pt x="2855474" y="4113910"/>
                </a:moveTo>
                <a:cubicBezTo>
                  <a:pt x="2891188" y="4113910"/>
                  <a:pt x="2920138" y="4142862"/>
                  <a:pt x="2920138" y="4178576"/>
                </a:cubicBezTo>
                <a:cubicBezTo>
                  <a:pt x="2920138" y="4214290"/>
                  <a:pt x="2891188" y="4243242"/>
                  <a:pt x="2855474" y="4243242"/>
                </a:cubicBezTo>
                <a:cubicBezTo>
                  <a:pt x="2819762" y="4243242"/>
                  <a:pt x="2790811" y="4214290"/>
                  <a:pt x="2790811" y="4178576"/>
                </a:cubicBezTo>
                <a:cubicBezTo>
                  <a:pt x="2790811" y="4142862"/>
                  <a:pt x="2819762" y="4113910"/>
                  <a:pt x="2855474" y="4113910"/>
                </a:cubicBezTo>
                <a:close/>
                <a:moveTo>
                  <a:pt x="9384549" y="3972994"/>
                </a:moveTo>
                <a:cubicBezTo>
                  <a:pt x="9420263" y="3972994"/>
                  <a:pt x="9449215" y="4001946"/>
                  <a:pt x="9449215" y="4037660"/>
                </a:cubicBezTo>
                <a:cubicBezTo>
                  <a:pt x="9449215" y="4073374"/>
                  <a:pt x="9420263" y="4102326"/>
                  <a:pt x="9384549" y="4102326"/>
                </a:cubicBezTo>
                <a:cubicBezTo>
                  <a:pt x="9348835" y="4102326"/>
                  <a:pt x="9319883" y="4073374"/>
                  <a:pt x="9319883" y="4037660"/>
                </a:cubicBezTo>
                <a:cubicBezTo>
                  <a:pt x="9319883" y="4001946"/>
                  <a:pt x="9348835" y="3972994"/>
                  <a:pt x="9384549" y="3972994"/>
                </a:cubicBezTo>
                <a:close/>
                <a:moveTo>
                  <a:pt x="9227976" y="3972994"/>
                </a:moveTo>
                <a:cubicBezTo>
                  <a:pt x="9263690" y="3972994"/>
                  <a:pt x="9292642" y="4001946"/>
                  <a:pt x="9292642" y="4037660"/>
                </a:cubicBezTo>
                <a:cubicBezTo>
                  <a:pt x="9292642" y="4073374"/>
                  <a:pt x="9263690" y="4102326"/>
                  <a:pt x="9227976" y="4102326"/>
                </a:cubicBezTo>
                <a:cubicBezTo>
                  <a:pt x="9192262" y="4102326"/>
                  <a:pt x="9163310" y="4073374"/>
                  <a:pt x="9163310" y="4037660"/>
                </a:cubicBezTo>
                <a:cubicBezTo>
                  <a:pt x="9163310" y="4001946"/>
                  <a:pt x="9192262" y="3972994"/>
                  <a:pt x="9227976" y="3972994"/>
                </a:cubicBezTo>
                <a:close/>
                <a:moveTo>
                  <a:pt x="9075316" y="3972994"/>
                </a:moveTo>
                <a:cubicBezTo>
                  <a:pt x="9111030" y="3972994"/>
                  <a:pt x="9139982" y="4001946"/>
                  <a:pt x="9139982" y="4037660"/>
                </a:cubicBezTo>
                <a:cubicBezTo>
                  <a:pt x="9139982" y="4073374"/>
                  <a:pt x="9111030" y="4102326"/>
                  <a:pt x="9075316" y="4102326"/>
                </a:cubicBezTo>
                <a:cubicBezTo>
                  <a:pt x="9039602" y="4102326"/>
                  <a:pt x="9010650" y="4073374"/>
                  <a:pt x="9010650" y="4037660"/>
                </a:cubicBezTo>
                <a:cubicBezTo>
                  <a:pt x="9010650" y="4001946"/>
                  <a:pt x="9039602" y="3972994"/>
                  <a:pt x="9075316" y="3972994"/>
                </a:cubicBezTo>
                <a:close/>
                <a:moveTo>
                  <a:pt x="8766084" y="3972994"/>
                </a:moveTo>
                <a:cubicBezTo>
                  <a:pt x="8801798" y="3972994"/>
                  <a:pt x="8830750" y="4001946"/>
                  <a:pt x="8830750" y="4037660"/>
                </a:cubicBezTo>
                <a:cubicBezTo>
                  <a:pt x="8830750" y="4073374"/>
                  <a:pt x="8801798" y="4102326"/>
                  <a:pt x="8766084" y="4102326"/>
                </a:cubicBezTo>
                <a:cubicBezTo>
                  <a:pt x="8730370" y="4102326"/>
                  <a:pt x="8701418" y="4073374"/>
                  <a:pt x="8701418" y="4037660"/>
                </a:cubicBezTo>
                <a:cubicBezTo>
                  <a:pt x="8701418" y="4001946"/>
                  <a:pt x="8730370" y="3972994"/>
                  <a:pt x="8766084" y="3972994"/>
                </a:cubicBezTo>
                <a:close/>
                <a:moveTo>
                  <a:pt x="6895035" y="3972994"/>
                </a:moveTo>
                <a:cubicBezTo>
                  <a:pt x="6930749" y="3972994"/>
                  <a:pt x="6959701" y="4001946"/>
                  <a:pt x="6959701" y="4037660"/>
                </a:cubicBezTo>
                <a:cubicBezTo>
                  <a:pt x="6959701" y="4073374"/>
                  <a:pt x="6930749" y="4102326"/>
                  <a:pt x="6895035" y="4102326"/>
                </a:cubicBezTo>
                <a:cubicBezTo>
                  <a:pt x="6859321" y="4102326"/>
                  <a:pt x="6830369" y="4073374"/>
                  <a:pt x="6830369" y="4037660"/>
                </a:cubicBezTo>
                <a:cubicBezTo>
                  <a:pt x="6830369" y="4001946"/>
                  <a:pt x="6859321" y="3972994"/>
                  <a:pt x="6895035" y="3972994"/>
                </a:cubicBezTo>
                <a:close/>
                <a:moveTo>
                  <a:pt x="6742375" y="3972994"/>
                </a:moveTo>
                <a:cubicBezTo>
                  <a:pt x="6778089" y="3972994"/>
                  <a:pt x="6807041" y="4001946"/>
                  <a:pt x="6807041" y="4037660"/>
                </a:cubicBezTo>
                <a:cubicBezTo>
                  <a:pt x="6807041" y="4073374"/>
                  <a:pt x="6778089" y="4102326"/>
                  <a:pt x="6742375" y="4102326"/>
                </a:cubicBezTo>
                <a:cubicBezTo>
                  <a:pt x="6706661" y="4102326"/>
                  <a:pt x="6677709" y="4073374"/>
                  <a:pt x="6677709" y="4037660"/>
                </a:cubicBezTo>
                <a:cubicBezTo>
                  <a:pt x="6677709" y="4001946"/>
                  <a:pt x="6706661" y="3972994"/>
                  <a:pt x="6742375" y="3972994"/>
                </a:cubicBezTo>
                <a:close/>
                <a:moveTo>
                  <a:pt x="6585802" y="3972994"/>
                </a:moveTo>
                <a:cubicBezTo>
                  <a:pt x="6621516" y="3972994"/>
                  <a:pt x="6650468" y="4001946"/>
                  <a:pt x="6650468" y="4037660"/>
                </a:cubicBezTo>
                <a:cubicBezTo>
                  <a:pt x="6650468" y="4073374"/>
                  <a:pt x="6621516" y="4102326"/>
                  <a:pt x="6585802" y="4102326"/>
                </a:cubicBezTo>
                <a:cubicBezTo>
                  <a:pt x="6550088" y="4102326"/>
                  <a:pt x="6521136" y="4073374"/>
                  <a:pt x="6521136" y="4037660"/>
                </a:cubicBezTo>
                <a:cubicBezTo>
                  <a:pt x="6521136" y="4001946"/>
                  <a:pt x="6550088" y="3972994"/>
                  <a:pt x="6585802" y="3972994"/>
                </a:cubicBezTo>
                <a:close/>
                <a:moveTo>
                  <a:pt x="6429228" y="3972994"/>
                </a:moveTo>
                <a:cubicBezTo>
                  <a:pt x="6464942" y="3972994"/>
                  <a:pt x="6493894" y="4001946"/>
                  <a:pt x="6493894" y="4037660"/>
                </a:cubicBezTo>
                <a:cubicBezTo>
                  <a:pt x="6493894" y="4073374"/>
                  <a:pt x="6464942" y="4102326"/>
                  <a:pt x="6429228" y="4102326"/>
                </a:cubicBezTo>
                <a:cubicBezTo>
                  <a:pt x="6393514" y="4102326"/>
                  <a:pt x="6364562" y="4073374"/>
                  <a:pt x="6364562" y="4037660"/>
                </a:cubicBezTo>
                <a:cubicBezTo>
                  <a:pt x="6364562" y="4001946"/>
                  <a:pt x="6393514" y="3972994"/>
                  <a:pt x="6429228" y="3972994"/>
                </a:cubicBezTo>
                <a:close/>
                <a:moveTo>
                  <a:pt x="6276569" y="3972994"/>
                </a:moveTo>
                <a:cubicBezTo>
                  <a:pt x="6312283" y="3972994"/>
                  <a:pt x="6341235" y="4001946"/>
                  <a:pt x="6341235" y="4037660"/>
                </a:cubicBezTo>
                <a:cubicBezTo>
                  <a:pt x="6341235" y="4073374"/>
                  <a:pt x="6312283" y="4102326"/>
                  <a:pt x="6276569" y="4102326"/>
                </a:cubicBezTo>
                <a:cubicBezTo>
                  <a:pt x="6240855" y="4102326"/>
                  <a:pt x="6211903" y="4073374"/>
                  <a:pt x="6211903" y="4037660"/>
                </a:cubicBezTo>
                <a:cubicBezTo>
                  <a:pt x="6211903" y="4001946"/>
                  <a:pt x="6240855" y="3972994"/>
                  <a:pt x="6276569" y="3972994"/>
                </a:cubicBezTo>
                <a:close/>
                <a:moveTo>
                  <a:pt x="6119998" y="3972994"/>
                </a:moveTo>
                <a:cubicBezTo>
                  <a:pt x="6155712" y="3972994"/>
                  <a:pt x="6184664" y="4001946"/>
                  <a:pt x="6184664" y="4037660"/>
                </a:cubicBezTo>
                <a:cubicBezTo>
                  <a:pt x="6184664" y="4073374"/>
                  <a:pt x="6155712" y="4102326"/>
                  <a:pt x="6119998" y="4102326"/>
                </a:cubicBezTo>
                <a:cubicBezTo>
                  <a:pt x="6084284" y="4102326"/>
                  <a:pt x="6055332" y="4073374"/>
                  <a:pt x="6055332" y="4037660"/>
                </a:cubicBezTo>
                <a:cubicBezTo>
                  <a:pt x="6055332" y="4001946"/>
                  <a:pt x="6084284" y="3972994"/>
                  <a:pt x="6119998" y="3972994"/>
                </a:cubicBezTo>
                <a:close/>
                <a:moveTo>
                  <a:pt x="5967338" y="3972994"/>
                </a:moveTo>
                <a:cubicBezTo>
                  <a:pt x="6003052" y="3972994"/>
                  <a:pt x="6032004" y="4001946"/>
                  <a:pt x="6032004" y="4037660"/>
                </a:cubicBezTo>
                <a:cubicBezTo>
                  <a:pt x="6032004" y="4073374"/>
                  <a:pt x="6003052" y="4102326"/>
                  <a:pt x="5967338" y="4102326"/>
                </a:cubicBezTo>
                <a:cubicBezTo>
                  <a:pt x="5931624" y="4102326"/>
                  <a:pt x="5902672" y="4073374"/>
                  <a:pt x="5902672" y="4037660"/>
                </a:cubicBezTo>
                <a:cubicBezTo>
                  <a:pt x="5902672" y="4001946"/>
                  <a:pt x="5931624" y="3972994"/>
                  <a:pt x="5967338" y="3972994"/>
                </a:cubicBezTo>
                <a:close/>
                <a:moveTo>
                  <a:pt x="5810774" y="3972994"/>
                </a:moveTo>
                <a:cubicBezTo>
                  <a:pt x="5846479" y="3972994"/>
                  <a:pt x="5875431" y="4001946"/>
                  <a:pt x="5875431" y="4037660"/>
                </a:cubicBezTo>
                <a:cubicBezTo>
                  <a:pt x="5875431" y="4073374"/>
                  <a:pt x="5846479" y="4102326"/>
                  <a:pt x="5810774" y="4102326"/>
                </a:cubicBezTo>
                <a:cubicBezTo>
                  <a:pt x="5775057" y="4102326"/>
                  <a:pt x="5746103" y="4073374"/>
                  <a:pt x="5746103" y="4037660"/>
                </a:cubicBezTo>
                <a:cubicBezTo>
                  <a:pt x="5746103" y="4001946"/>
                  <a:pt x="5775057" y="3972994"/>
                  <a:pt x="5810774" y="3972994"/>
                </a:cubicBezTo>
                <a:close/>
                <a:moveTo>
                  <a:pt x="3947550" y="3972994"/>
                </a:moveTo>
                <a:cubicBezTo>
                  <a:pt x="3983265" y="3972994"/>
                  <a:pt x="4012219" y="4001946"/>
                  <a:pt x="4012219" y="4037660"/>
                </a:cubicBezTo>
                <a:cubicBezTo>
                  <a:pt x="4012219" y="4073374"/>
                  <a:pt x="3983265" y="4102326"/>
                  <a:pt x="3947550" y="4102326"/>
                </a:cubicBezTo>
                <a:cubicBezTo>
                  <a:pt x="3911861" y="4102326"/>
                  <a:pt x="3882909" y="4073374"/>
                  <a:pt x="3882909" y="4037660"/>
                </a:cubicBezTo>
                <a:cubicBezTo>
                  <a:pt x="3882909" y="4001946"/>
                  <a:pt x="3911861" y="3972994"/>
                  <a:pt x="3947550" y="3972994"/>
                </a:cubicBezTo>
                <a:close/>
                <a:moveTo>
                  <a:pt x="3791003" y="3972994"/>
                </a:moveTo>
                <a:cubicBezTo>
                  <a:pt x="3826715" y="3972994"/>
                  <a:pt x="3855668" y="4001946"/>
                  <a:pt x="3855668" y="4037660"/>
                </a:cubicBezTo>
                <a:cubicBezTo>
                  <a:pt x="3855668" y="4073374"/>
                  <a:pt x="3826715" y="4102326"/>
                  <a:pt x="3791003" y="4102326"/>
                </a:cubicBezTo>
                <a:cubicBezTo>
                  <a:pt x="3755287" y="4102326"/>
                  <a:pt x="3726335" y="4073374"/>
                  <a:pt x="3726335" y="4037660"/>
                </a:cubicBezTo>
                <a:cubicBezTo>
                  <a:pt x="3726335" y="4001946"/>
                  <a:pt x="3755287" y="3972994"/>
                  <a:pt x="3791003" y="3972994"/>
                </a:cubicBezTo>
                <a:close/>
                <a:moveTo>
                  <a:pt x="3630515" y="3972994"/>
                </a:moveTo>
                <a:cubicBezTo>
                  <a:pt x="3666227" y="3972994"/>
                  <a:pt x="3695180" y="4001946"/>
                  <a:pt x="3695180" y="4037660"/>
                </a:cubicBezTo>
                <a:cubicBezTo>
                  <a:pt x="3695180" y="4073374"/>
                  <a:pt x="3666227" y="4102326"/>
                  <a:pt x="3630515" y="4102326"/>
                </a:cubicBezTo>
                <a:cubicBezTo>
                  <a:pt x="3594798" y="4102326"/>
                  <a:pt x="3565845" y="4073374"/>
                  <a:pt x="3565845" y="4037660"/>
                </a:cubicBezTo>
                <a:cubicBezTo>
                  <a:pt x="3565845" y="4001946"/>
                  <a:pt x="3594798" y="3972994"/>
                  <a:pt x="3630515" y="3972994"/>
                </a:cubicBezTo>
                <a:close/>
                <a:moveTo>
                  <a:pt x="3481768" y="3972994"/>
                </a:moveTo>
                <a:cubicBezTo>
                  <a:pt x="3517481" y="3972994"/>
                  <a:pt x="3546437" y="4001946"/>
                  <a:pt x="3546437" y="4037660"/>
                </a:cubicBezTo>
                <a:cubicBezTo>
                  <a:pt x="3546437" y="4073374"/>
                  <a:pt x="3517481" y="4102326"/>
                  <a:pt x="3481768" y="4102326"/>
                </a:cubicBezTo>
                <a:cubicBezTo>
                  <a:pt x="3446056" y="4102326"/>
                  <a:pt x="3417106" y="4073374"/>
                  <a:pt x="3417106" y="4037660"/>
                </a:cubicBezTo>
                <a:cubicBezTo>
                  <a:pt x="3417106" y="4001946"/>
                  <a:pt x="3446056" y="3972994"/>
                  <a:pt x="3481768" y="3972994"/>
                </a:cubicBezTo>
                <a:close/>
                <a:moveTo>
                  <a:pt x="3321288" y="3972994"/>
                </a:moveTo>
                <a:cubicBezTo>
                  <a:pt x="3357002" y="3972994"/>
                  <a:pt x="3385949" y="4001946"/>
                  <a:pt x="3385949" y="4037660"/>
                </a:cubicBezTo>
                <a:cubicBezTo>
                  <a:pt x="3385949" y="4073374"/>
                  <a:pt x="3357002" y="4102326"/>
                  <a:pt x="3321288" y="4102326"/>
                </a:cubicBezTo>
                <a:cubicBezTo>
                  <a:pt x="3285571" y="4102326"/>
                  <a:pt x="3256626" y="4073374"/>
                  <a:pt x="3256626" y="4037660"/>
                </a:cubicBezTo>
                <a:cubicBezTo>
                  <a:pt x="3256626" y="4001946"/>
                  <a:pt x="3285571" y="3972994"/>
                  <a:pt x="3321288" y="3972994"/>
                </a:cubicBezTo>
                <a:close/>
                <a:moveTo>
                  <a:pt x="3172540" y="3972994"/>
                </a:moveTo>
                <a:cubicBezTo>
                  <a:pt x="3208257" y="3972994"/>
                  <a:pt x="3237208" y="4001946"/>
                  <a:pt x="3237208" y="4037660"/>
                </a:cubicBezTo>
                <a:cubicBezTo>
                  <a:pt x="3237208" y="4073374"/>
                  <a:pt x="3208257" y="4102326"/>
                  <a:pt x="3172540" y="4102326"/>
                </a:cubicBezTo>
                <a:cubicBezTo>
                  <a:pt x="3136823" y="4102326"/>
                  <a:pt x="3107868" y="4073374"/>
                  <a:pt x="3107868" y="4037660"/>
                </a:cubicBezTo>
                <a:cubicBezTo>
                  <a:pt x="3107868" y="4001946"/>
                  <a:pt x="3136823" y="3972994"/>
                  <a:pt x="3172540" y="3972994"/>
                </a:cubicBezTo>
                <a:close/>
                <a:moveTo>
                  <a:pt x="3012045" y="3972994"/>
                </a:moveTo>
                <a:cubicBezTo>
                  <a:pt x="3047758" y="3972994"/>
                  <a:pt x="3076711" y="4001946"/>
                  <a:pt x="3076711" y="4037660"/>
                </a:cubicBezTo>
                <a:cubicBezTo>
                  <a:pt x="3076711" y="4073374"/>
                  <a:pt x="3047758" y="4102326"/>
                  <a:pt x="3012045" y="4102326"/>
                </a:cubicBezTo>
                <a:cubicBezTo>
                  <a:pt x="2976332" y="4102326"/>
                  <a:pt x="2947381" y="4073374"/>
                  <a:pt x="2947381" y="4037660"/>
                </a:cubicBezTo>
                <a:cubicBezTo>
                  <a:pt x="2947381" y="4001946"/>
                  <a:pt x="2976332" y="3972994"/>
                  <a:pt x="3012045" y="3972994"/>
                </a:cubicBezTo>
                <a:close/>
                <a:moveTo>
                  <a:pt x="2855478" y="3972994"/>
                </a:moveTo>
                <a:cubicBezTo>
                  <a:pt x="2891191" y="3972994"/>
                  <a:pt x="2920141" y="4001946"/>
                  <a:pt x="2920141" y="4037660"/>
                </a:cubicBezTo>
                <a:cubicBezTo>
                  <a:pt x="2920141" y="4073374"/>
                  <a:pt x="2891191" y="4102326"/>
                  <a:pt x="2855478" y="4102326"/>
                </a:cubicBezTo>
                <a:cubicBezTo>
                  <a:pt x="2819765" y="4102326"/>
                  <a:pt x="2790815" y="4073374"/>
                  <a:pt x="2790815" y="4037660"/>
                </a:cubicBezTo>
                <a:cubicBezTo>
                  <a:pt x="2790815" y="4001946"/>
                  <a:pt x="2819765" y="3972994"/>
                  <a:pt x="2855478" y="3972994"/>
                </a:cubicBezTo>
                <a:close/>
                <a:moveTo>
                  <a:pt x="6742377" y="3835996"/>
                </a:moveTo>
                <a:cubicBezTo>
                  <a:pt x="6778091" y="3835996"/>
                  <a:pt x="6807043" y="3864948"/>
                  <a:pt x="6807043" y="3900662"/>
                </a:cubicBezTo>
                <a:cubicBezTo>
                  <a:pt x="6807043" y="3936376"/>
                  <a:pt x="6778091" y="3965328"/>
                  <a:pt x="6742377" y="3965328"/>
                </a:cubicBezTo>
                <a:cubicBezTo>
                  <a:pt x="6706663" y="3965328"/>
                  <a:pt x="6677711" y="3936376"/>
                  <a:pt x="6677711" y="3900662"/>
                </a:cubicBezTo>
                <a:cubicBezTo>
                  <a:pt x="6677711" y="3864948"/>
                  <a:pt x="6706663" y="3835996"/>
                  <a:pt x="6742377" y="3835996"/>
                </a:cubicBezTo>
                <a:close/>
                <a:moveTo>
                  <a:pt x="6585804" y="3835996"/>
                </a:moveTo>
                <a:cubicBezTo>
                  <a:pt x="6621518" y="3835996"/>
                  <a:pt x="6650470" y="3864948"/>
                  <a:pt x="6650470" y="3900662"/>
                </a:cubicBezTo>
                <a:cubicBezTo>
                  <a:pt x="6650470" y="3936376"/>
                  <a:pt x="6621518" y="3965328"/>
                  <a:pt x="6585804" y="3965328"/>
                </a:cubicBezTo>
                <a:cubicBezTo>
                  <a:pt x="6550090" y="3965328"/>
                  <a:pt x="6521138" y="3936376"/>
                  <a:pt x="6521138" y="3900662"/>
                </a:cubicBezTo>
                <a:cubicBezTo>
                  <a:pt x="6521138" y="3864948"/>
                  <a:pt x="6550090" y="3835996"/>
                  <a:pt x="6585804" y="3835996"/>
                </a:cubicBezTo>
                <a:close/>
                <a:moveTo>
                  <a:pt x="6429231" y="3835996"/>
                </a:moveTo>
                <a:cubicBezTo>
                  <a:pt x="6464945" y="3835996"/>
                  <a:pt x="6493897" y="3864948"/>
                  <a:pt x="6493897" y="3900662"/>
                </a:cubicBezTo>
                <a:cubicBezTo>
                  <a:pt x="6493897" y="3936376"/>
                  <a:pt x="6464945" y="3965328"/>
                  <a:pt x="6429231" y="3965328"/>
                </a:cubicBezTo>
                <a:cubicBezTo>
                  <a:pt x="6393517" y="3965328"/>
                  <a:pt x="6364565" y="3936376"/>
                  <a:pt x="6364565" y="3900662"/>
                </a:cubicBezTo>
                <a:cubicBezTo>
                  <a:pt x="6364565" y="3864948"/>
                  <a:pt x="6393517" y="3835996"/>
                  <a:pt x="6429231" y="3835996"/>
                </a:cubicBezTo>
                <a:close/>
                <a:moveTo>
                  <a:pt x="6276571" y="3835996"/>
                </a:moveTo>
                <a:cubicBezTo>
                  <a:pt x="6312285" y="3835996"/>
                  <a:pt x="6341237" y="3864948"/>
                  <a:pt x="6341237" y="3900662"/>
                </a:cubicBezTo>
                <a:cubicBezTo>
                  <a:pt x="6341237" y="3936376"/>
                  <a:pt x="6312285" y="3965328"/>
                  <a:pt x="6276571" y="3965328"/>
                </a:cubicBezTo>
                <a:cubicBezTo>
                  <a:pt x="6240857" y="3965328"/>
                  <a:pt x="6211905" y="3936376"/>
                  <a:pt x="6211905" y="3900662"/>
                </a:cubicBezTo>
                <a:cubicBezTo>
                  <a:pt x="6211905" y="3864948"/>
                  <a:pt x="6240857" y="3835996"/>
                  <a:pt x="6276571" y="3835996"/>
                </a:cubicBezTo>
                <a:close/>
                <a:moveTo>
                  <a:pt x="6119999" y="3835996"/>
                </a:moveTo>
                <a:cubicBezTo>
                  <a:pt x="6155713" y="3835996"/>
                  <a:pt x="6184665" y="3864948"/>
                  <a:pt x="6184665" y="3900662"/>
                </a:cubicBezTo>
                <a:cubicBezTo>
                  <a:pt x="6184665" y="3936376"/>
                  <a:pt x="6155713" y="3965328"/>
                  <a:pt x="6119999" y="3965328"/>
                </a:cubicBezTo>
                <a:cubicBezTo>
                  <a:pt x="6084285" y="3965328"/>
                  <a:pt x="6055333" y="3936376"/>
                  <a:pt x="6055333" y="3900662"/>
                </a:cubicBezTo>
                <a:cubicBezTo>
                  <a:pt x="6055333" y="3864948"/>
                  <a:pt x="6084285" y="3835996"/>
                  <a:pt x="6119999" y="3835996"/>
                </a:cubicBezTo>
                <a:close/>
                <a:moveTo>
                  <a:pt x="5967339" y="3835996"/>
                </a:moveTo>
                <a:cubicBezTo>
                  <a:pt x="6003053" y="3835996"/>
                  <a:pt x="6032005" y="3864948"/>
                  <a:pt x="6032005" y="3900662"/>
                </a:cubicBezTo>
                <a:cubicBezTo>
                  <a:pt x="6032005" y="3936376"/>
                  <a:pt x="6003053" y="3965328"/>
                  <a:pt x="5967339" y="3965328"/>
                </a:cubicBezTo>
                <a:cubicBezTo>
                  <a:pt x="5931625" y="3965328"/>
                  <a:pt x="5902673" y="3936376"/>
                  <a:pt x="5902673" y="3900662"/>
                </a:cubicBezTo>
                <a:cubicBezTo>
                  <a:pt x="5902673" y="3864948"/>
                  <a:pt x="5931625" y="3835996"/>
                  <a:pt x="5967339" y="3835996"/>
                </a:cubicBezTo>
                <a:close/>
                <a:moveTo>
                  <a:pt x="5810776" y="3835996"/>
                </a:moveTo>
                <a:cubicBezTo>
                  <a:pt x="5846480" y="3835996"/>
                  <a:pt x="5875432" y="3864948"/>
                  <a:pt x="5875432" y="3900662"/>
                </a:cubicBezTo>
                <a:cubicBezTo>
                  <a:pt x="5875432" y="3936376"/>
                  <a:pt x="5846480" y="3965328"/>
                  <a:pt x="5810776" y="3965328"/>
                </a:cubicBezTo>
                <a:cubicBezTo>
                  <a:pt x="5775059" y="3965328"/>
                  <a:pt x="5746106" y="3936376"/>
                  <a:pt x="5746106" y="3900662"/>
                </a:cubicBezTo>
                <a:cubicBezTo>
                  <a:pt x="5746106" y="3864948"/>
                  <a:pt x="5775059" y="3835996"/>
                  <a:pt x="5810776" y="3835996"/>
                </a:cubicBezTo>
                <a:close/>
                <a:moveTo>
                  <a:pt x="3791007" y="3835996"/>
                </a:moveTo>
                <a:cubicBezTo>
                  <a:pt x="3826720" y="3835996"/>
                  <a:pt x="3855672" y="3864948"/>
                  <a:pt x="3855672" y="3900662"/>
                </a:cubicBezTo>
                <a:cubicBezTo>
                  <a:pt x="3855672" y="3936376"/>
                  <a:pt x="3826720" y="3965328"/>
                  <a:pt x="3791007" y="3965328"/>
                </a:cubicBezTo>
                <a:cubicBezTo>
                  <a:pt x="3755291" y="3965328"/>
                  <a:pt x="3726338" y="3936376"/>
                  <a:pt x="3726338" y="3900662"/>
                </a:cubicBezTo>
                <a:cubicBezTo>
                  <a:pt x="3726338" y="3864948"/>
                  <a:pt x="3755291" y="3835996"/>
                  <a:pt x="3791007" y="3835996"/>
                </a:cubicBezTo>
                <a:close/>
                <a:moveTo>
                  <a:pt x="3630520" y="3835996"/>
                </a:moveTo>
                <a:cubicBezTo>
                  <a:pt x="3666234" y="3835996"/>
                  <a:pt x="3695188" y="3864948"/>
                  <a:pt x="3695188" y="3900662"/>
                </a:cubicBezTo>
                <a:cubicBezTo>
                  <a:pt x="3695188" y="3936376"/>
                  <a:pt x="3666234" y="3965328"/>
                  <a:pt x="3630520" y="3965328"/>
                </a:cubicBezTo>
                <a:cubicBezTo>
                  <a:pt x="3594803" y="3965328"/>
                  <a:pt x="3565851" y="3936376"/>
                  <a:pt x="3565851" y="3900662"/>
                </a:cubicBezTo>
                <a:cubicBezTo>
                  <a:pt x="3565851" y="3864948"/>
                  <a:pt x="3594803" y="3835996"/>
                  <a:pt x="3630520" y="3835996"/>
                </a:cubicBezTo>
                <a:close/>
                <a:moveTo>
                  <a:pt x="3481771" y="3835996"/>
                </a:moveTo>
                <a:cubicBezTo>
                  <a:pt x="3517485" y="3835996"/>
                  <a:pt x="3546439" y="3864948"/>
                  <a:pt x="3546439" y="3900662"/>
                </a:cubicBezTo>
                <a:cubicBezTo>
                  <a:pt x="3546439" y="3936376"/>
                  <a:pt x="3517485" y="3965328"/>
                  <a:pt x="3481771" y="3965328"/>
                </a:cubicBezTo>
                <a:cubicBezTo>
                  <a:pt x="3446060" y="3965328"/>
                  <a:pt x="3417108" y="3936376"/>
                  <a:pt x="3417108" y="3900662"/>
                </a:cubicBezTo>
                <a:cubicBezTo>
                  <a:pt x="3417108" y="3864948"/>
                  <a:pt x="3446060" y="3835996"/>
                  <a:pt x="3481771" y="3835996"/>
                </a:cubicBezTo>
                <a:close/>
                <a:moveTo>
                  <a:pt x="3321291" y="3835996"/>
                </a:moveTo>
                <a:cubicBezTo>
                  <a:pt x="3357003" y="3835996"/>
                  <a:pt x="3385951" y="3864948"/>
                  <a:pt x="3385951" y="3900662"/>
                </a:cubicBezTo>
                <a:cubicBezTo>
                  <a:pt x="3385951" y="3936376"/>
                  <a:pt x="3357003" y="3965328"/>
                  <a:pt x="3321291" y="3965328"/>
                </a:cubicBezTo>
                <a:cubicBezTo>
                  <a:pt x="3285576" y="3965328"/>
                  <a:pt x="3256626" y="3936376"/>
                  <a:pt x="3256626" y="3900662"/>
                </a:cubicBezTo>
                <a:cubicBezTo>
                  <a:pt x="3256626" y="3864948"/>
                  <a:pt x="3285576" y="3835996"/>
                  <a:pt x="3321291" y="3835996"/>
                </a:cubicBezTo>
                <a:close/>
                <a:moveTo>
                  <a:pt x="3172544" y="3835996"/>
                </a:moveTo>
                <a:cubicBezTo>
                  <a:pt x="3208260" y="3835996"/>
                  <a:pt x="3237212" y="3864948"/>
                  <a:pt x="3237212" y="3900662"/>
                </a:cubicBezTo>
                <a:cubicBezTo>
                  <a:pt x="3237212" y="3936376"/>
                  <a:pt x="3208260" y="3965328"/>
                  <a:pt x="3172544" y="3965328"/>
                </a:cubicBezTo>
                <a:cubicBezTo>
                  <a:pt x="3136828" y="3965328"/>
                  <a:pt x="3107874" y="3936376"/>
                  <a:pt x="3107874" y="3900662"/>
                </a:cubicBezTo>
                <a:cubicBezTo>
                  <a:pt x="3107874" y="3864948"/>
                  <a:pt x="3136828" y="3835996"/>
                  <a:pt x="3172544" y="3835996"/>
                </a:cubicBezTo>
                <a:close/>
                <a:moveTo>
                  <a:pt x="3012048" y="3835996"/>
                </a:moveTo>
                <a:cubicBezTo>
                  <a:pt x="3047760" y="3835996"/>
                  <a:pt x="3076714" y="3864948"/>
                  <a:pt x="3076714" y="3900662"/>
                </a:cubicBezTo>
                <a:cubicBezTo>
                  <a:pt x="3076714" y="3936376"/>
                  <a:pt x="3047760" y="3965328"/>
                  <a:pt x="3012048" y="3965328"/>
                </a:cubicBezTo>
                <a:cubicBezTo>
                  <a:pt x="2976335" y="3965328"/>
                  <a:pt x="2947384" y="3936376"/>
                  <a:pt x="2947384" y="3900662"/>
                </a:cubicBezTo>
                <a:cubicBezTo>
                  <a:pt x="2947384" y="3864948"/>
                  <a:pt x="2976335" y="3835996"/>
                  <a:pt x="3012048" y="3835996"/>
                </a:cubicBezTo>
                <a:close/>
                <a:moveTo>
                  <a:pt x="9227976" y="3835993"/>
                </a:moveTo>
                <a:cubicBezTo>
                  <a:pt x="9263690" y="3835993"/>
                  <a:pt x="9292642" y="3864945"/>
                  <a:pt x="9292642" y="3900659"/>
                </a:cubicBezTo>
                <a:cubicBezTo>
                  <a:pt x="9292642" y="3936373"/>
                  <a:pt x="9263690" y="3965325"/>
                  <a:pt x="9227976" y="3965325"/>
                </a:cubicBezTo>
                <a:cubicBezTo>
                  <a:pt x="9192262" y="3965325"/>
                  <a:pt x="9163310" y="3936373"/>
                  <a:pt x="9163310" y="3900659"/>
                </a:cubicBezTo>
                <a:cubicBezTo>
                  <a:pt x="9163310" y="3864945"/>
                  <a:pt x="9192262" y="3835993"/>
                  <a:pt x="9227976" y="3835993"/>
                </a:cubicBezTo>
                <a:close/>
                <a:moveTo>
                  <a:pt x="8766084" y="3835993"/>
                </a:moveTo>
                <a:cubicBezTo>
                  <a:pt x="8801798" y="3835993"/>
                  <a:pt x="8830750" y="3864945"/>
                  <a:pt x="8830750" y="3900659"/>
                </a:cubicBezTo>
                <a:cubicBezTo>
                  <a:pt x="8830750" y="3936373"/>
                  <a:pt x="8801798" y="3965325"/>
                  <a:pt x="8766084" y="3965325"/>
                </a:cubicBezTo>
                <a:cubicBezTo>
                  <a:pt x="8730370" y="3965325"/>
                  <a:pt x="8701418" y="3936373"/>
                  <a:pt x="8701418" y="3900659"/>
                </a:cubicBezTo>
                <a:cubicBezTo>
                  <a:pt x="8701418" y="3864945"/>
                  <a:pt x="8730370" y="3835993"/>
                  <a:pt x="8766084" y="3835993"/>
                </a:cubicBezTo>
                <a:close/>
                <a:moveTo>
                  <a:pt x="7055521" y="3835993"/>
                </a:moveTo>
                <a:cubicBezTo>
                  <a:pt x="7091235" y="3835993"/>
                  <a:pt x="7120187" y="3864945"/>
                  <a:pt x="7120187" y="3900659"/>
                </a:cubicBezTo>
                <a:cubicBezTo>
                  <a:pt x="7120187" y="3936373"/>
                  <a:pt x="7091235" y="3965325"/>
                  <a:pt x="7055521" y="3965325"/>
                </a:cubicBezTo>
                <a:cubicBezTo>
                  <a:pt x="7019807" y="3965325"/>
                  <a:pt x="6990855" y="3936373"/>
                  <a:pt x="6990855" y="3900659"/>
                </a:cubicBezTo>
                <a:cubicBezTo>
                  <a:pt x="6990855" y="3864945"/>
                  <a:pt x="7019807" y="3835993"/>
                  <a:pt x="7055521" y="3835993"/>
                </a:cubicBezTo>
                <a:close/>
                <a:moveTo>
                  <a:pt x="6895035" y="3835993"/>
                </a:moveTo>
                <a:cubicBezTo>
                  <a:pt x="6930749" y="3835993"/>
                  <a:pt x="6959701" y="3864945"/>
                  <a:pt x="6959701" y="3900659"/>
                </a:cubicBezTo>
                <a:cubicBezTo>
                  <a:pt x="6959701" y="3936373"/>
                  <a:pt x="6930749" y="3965325"/>
                  <a:pt x="6895035" y="3965325"/>
                </a:cubicBezTo>
                <a:cubicBezTo>
                  <a:pt x="6859321" y="3965325"/>
                  <a:pt x="6830369" y="3936373"/>
                  <a:pt x="6830369" y="3900659"/>
                </a:cubicBezTo>
                <a:cubicBezTo>
                  <a:pt x="6830369" y="3864945"/>
                  <a:pt x="6859321" y="3835993"/>
                  <a:pt x="6895035" y="3835993"/>
                </a:cubicBezTo>
                <a:close/>
                <a:moveTo>
                  <a:pt x="9541125" y="3695080"/>
                </a:moveTo>
                <a:cubicBezTo>
                  <a:pt x="9576839" y="3695080"/>
                  <a:pt x="9605791" y="3724032"/>
                  <a:pt x="9605791" y="3759746"/>
                </a:cubicBezTo>
                <a:cubicBezTo>
                  <a:pt x="9605791" y="3795460"/>
                  <a:pt x="9576839" y="3824412"/>
                  <a:pt x="9541125" y="3824412"/>
                </a:cubicBezTo>
                <a:cubicBezTo>
                  <a:pt x="9505411" y="3824412"/>
                  <a:pt x="9476459" y="3795460"/>
                  <a:pt x="9476459" y="3759746"/>
                </a:cubicBezTo>
                <a:cubicBezTo>
                  <a:pt x="9476459" y="3724032"/>
                  <a:pt x="9505411" y="3695080"/>
                  <a:pt x="9541125" y="3695080"/>
                </a:cubicBezTo>
                <a:close/>
                <a:moveTo>
                  <a:pt x="8766086" y="3695080"/>
                </a:moveTo>
                <a:cubicBezTo>
                  <a:pt x="8801800" y="3695080"/>
                  <a:pt x="8830752" y="3724032"/>
                  <a:pt x="8830752" y="3759746"/>
                </a:cubicBezTo>
                <a:cubicBezTo>
                  <a:pt x="8830752" y="3795460"/>
                  <a:pt x="8801800" y="3824412"/>
                  <a:pt x="8766086" y="3824412"/>
                </a:cubicBezTo>
                <a:cubicBezTo>
                  <a:pt x="8730372" y="3824412"/>
                  <a:pt x="8701420" y="3795460"/>
                  <a:pt x="8701420" y="3759746"/>
                </a:cubicBezTo>
                <a:cubicBezTo>
                  <a:pt x="8701420" y="3724032"/>
                  <a:pt x="8730372" y="3695080"/>
                  <a:pt x="8766086" y="3695080"/>
                </a:cubicBezTo>
                <a:close/>
                <a:moveTo>
                  <a:pt x="8139793" y="3695080"/>
                </a:moveTo>
                <a:cubicBezTo>
                  <a:pt x="8175507" y="3695080"/>
                  <a:pt x="8204459" y="3724032"/>
                  <a:pt x="8204459" y="3759746"/>
                </a:cubicBezTo>
                <a:cubicBezTo>
                  <a:pt x="8204459" y="3795460"/>
                  <a:pt x="8175507" y="3824412"/>
                  <a:pt x="8139793" y="3824412"/>
                </a:cubicBezTo>
                <a:cubicBezTo>
                  <a:pt x="8104079" y="3824412"/>
                  <a:pt x="8075127" y="3795460"/>
                  <a:pt x="8075127" y="3759746"/>
                </a:cubicBezTo>
                <a:cubicBezTo>
                  <a:pt x="8075127" y="3724032"/>
                  <a:pt x="8104079" y="3695080"/>
                  <a:pt x="8139793" y="3695080"/>
                </a:cubicBezTo>
                <a:close/>
                <a:moveTo>
                  <a:pt x="7055523" y="3695080"/>
                </a:moveTo>
                <a:cubicBezTo>
                  <a:pt x="7091237" y="3695080"/>
                  <a:pt x="7120189" y="3724032"/>
                  <a:pt x="7120189" y="3759746"/>
                </a:cubicBezTo>
                <a:cubicBezTo>
                  <a:pt x="7120189" y="3795460"/>
                  <a:pt x="7091237" y="3824412"/>
                  <a:pt x="7055523" y="3824412"/>
                </a:cubicBezTo>
                <a:cubicBezTo>
                  <a:pt x="7019809" y="3824412"/>
                  <a:pt x="6990857" y="3795460"/>
                  <a:pt x="6990857" y="3759746"/>
                </a:cubicBezTo>
                <a:cubicBezTo>
                  <a:pt x="6990857" y="3724032"/>
                  <a:pt x="7019809" y="3695080"/>
                  <a:pt x="7055523" y="3695080"/>
                </a:cubicBezTo>
                <a:close/>
                <a:moveTo>
                  <a:pt x="6895037" y="3695080"/>
                </a:moveTo>
                <a:cubicBezTo>
                  <a:pt x="6930751" y="3695080"/>
                  <a:pt x="6959703" y="3724032"/>
                  <a:pt x="6959703" y="3759746"/>
                </a:cubicBezTo>
                <a:cubicBezTo>
                  <a:pt x="6959703" y="3795460"/>
                  <a:pt x="6930751" y="3824412"/>
                  <a:pt x="6895037" y="3824412"/>
                </a:cubicBezTo>
                <a:cubicBezTo>
                  <a:pt x="6859323" y="3824412"/>
                  <a:pt x="6830371" y="3795460"/>
                  <a:pt x="6830371" y="3759746"/>
                </a:cubicBezTo>
                <a:cubicBezTo>
                  <a:pt x="6830371" y="3724032"/>
                  <a:pt x="6859323" y="3695080"/>
                  <a:pt x="6895037" y="3695080"/>
                </a:cubicBezTo>
                <a:close/>
                <a:moveTo>
                  <a:pt x="6742377" y="3695080"/>
                </a:moveTo>
                <a:cubicBezTo>
                  <a:pt x="6778091" y="3695080"/>
                  <a:pt x="6807043" y="3724032"/>
                  <a:pt x="6807043" y="3759746"/>
                </a:cubicBezTo>
                <a:cubicBezTo>
                  <a:pt x="6807043" y="3795460"/>
                  <a:pt x="6778091" y="3824412"/>
                  <a:pt x="6742377" y="3824412"/>
                </a:cubicBezTo>
                <a:cubicBezTo>
                  <a:pt x="6706663" y="3824412"/>
                  <a:pt x="6677711" y="3795460"/>
                  <a:pt x="6677711" y="3759746"/>
                </a:cubicBezTo>
                <a:cubicBezTo>
                  <a:pt x="6677711" y="3724032"/>
                  <a:pt x="6706663" y="3695080"/>
                  <a:pt x="6742377" y="3695080"/>
                </a:cubicBezTo>
                <a:close/>
                <a:moveTo>
                  <a:pt x="6585804" y="3695080"/>
                </a:moveTo>
                <a:cubicBezTo>
                  <a:pt x="6621518" y="3695080"/>
                  <a:pt x="6650470" y="3724032"/>
                  <a:pt x="6650470" y="3759746"/>
                </a:cubicBezTo>
                <a:cubicBezTo>
                  <a:pt x="6650470" y="3795460"/>
                  <a:pt x="6621518" y="3824412"/>
                  <a:pt x="6585804" y="3824412"/>
                </a:cubicBezTo>
                <a:cubicBezTo>
                  <a:pt x="6550090" y="3824412"/>
                  <a:pt x="6521138" y="3795460"/>
                  <a:pt x="6521138" y="3759746"/>
                </a:cubicBezTo>
                <a:cubicBezTo>
                  <a:pt x="6521138" y="3724032"/>
                  <a:pt x="6550090" y="3695080"/>
                  <a:pt x="6585804" y="3695080"/>
                </a:cubicBezTo>
                <a:close/>
                <a:moveTo>
                  <a:pt x="6429231" y="3695080"/>
                </a:moveTo>
                <a:cubicBezTo>
                  <a:pt x="6464945" y="3695080"/>
                  <a:pt x="6493897" y="3724032"/>
                  <a:pt x="6493897" y="3759746"/>
                </a:cubicBezTo>
                <a:cubicBezTo>
                  <a:pt x="6493897" y="3795460"/>
                  <a:pt x="6464945" y="3824412"/>
                  <a:pt x="6429231" y="3824412"/>
                </a:cubicBezTo>
                <a:cubicBezTo>
                  <a:pt x="6393517" y="3824412"/>
                  <a:pt x="6364565" y="3795460"/>
                  <a:pt x="6364565" y="3759746"/>
                </a:cubicBezTo>
                <a:cubicBezTo>
                  <a:pt x="6364565" y="3724032"/>
                  <a:pt x="6393517" y="3695080"/>
                  <a:pt x="6429231" y="3695080"/>
                </a:cubicBezTo>
                <a:close/>
                <a:moveTo>
                  <a:pt x="6276571" y="3695080"/>
                </a:moveTo>
                <a:cubicBezTo>
                  <a:pt x="6312285" y="3695080"/>
                  <a:pt x="6341237" y="3724032"/>
                  <a:pt x="6341237" y="3759746"/>
                </a:cubicBezTo>
                <a:cubicBezTo>
                  <a:pt x="6341237" y="3795460"/>
                  <a:pt x="6312285" y="3824412"/>
                  <a:pt x="6276571" y="3824412"/>
                </a:cubicBezTo>
                <a:cubicBezTo>
                  <a:pt x="6240857" y="3824412"/>
                  <a:pt x="6211905" y="3795460"/>
                  <a:pt x="6211905" y="3759746"/>
                </a:cubicBezTo>
                <a:cubicBezTo>
                  <a:pt x="6211905" y="3724032"/>
                  <a:pt x="6240857" y="3695080"/>
                  <a:pt x="6276571" y="3695080"/>
                </a:cubicBezTo>
                <a:close/>
                <a:moveTo>
                  <a:pt x="6119999" y="3695080"/>
                </a:moveTo>
                <a:cubicBezTo>
                  <a:pt x="6155713" y="3695080"/>
                  <a:pt x="6184665" y="3724032"/>
                  <a:pt x="6184665" y="3759746"/>
                </a:cubicBezTo>
                <a:cubicBezTo>
                  <a:pt x="6184665" y="3795460"/>
                  <a:pt x="6155713" y="3824412"/>
                  <a:pt x="6119999" y="3824412"/>
                </a:cubicBezTo>
                <a:cubicBezTo>
                  <a:pt x="6084285" y="3824412"/>
                  <a:pt x="6055333" y="3795460"/>
                  <a:pt x="6055333" y="3759746"/>
                </a:cubicBezTo>
                <a:cubicBezTo>
                  <a:pt x="6055333" y="3724032"/>
                  <a:pt x="6084285" y="3695080"/>
                  <a:pt x="6119999" y="3695080"/>
                </a:cubicBezTo>
                <a:close/>
                <a:moveTo>
                  <a:pt x="5967339" y="3695080"/>
                </a:moveTo>
                <a:cubicBezTo>
                  <a:pt x="6003053" y="3695080"/>
                  <a:pt x="6032005" y="3724032"/>
                  <a:pt x="6032005" y="3759746"/>
                </a:cubicBezTo>
                <a:cubicBezTo>
                  <a:pt x="6032005" y="3795460"/>
                  <a:pt x="6003053" y="3824412"/>
                  <a:pt x="5967339" y="3824412"/>
                </a:cubicBezTo>
                <a:cubicBezTo>
                  <a:pt x="5931625" y="3824412"/>
                  <a:pt x="5902673" y="3795460"/>
                  <a:pt x="5902673" y="3759746"/>
                </a:cubicBezTo>
                <a:cubicBezTo>
                  <a:pt x="5902673" y="3724032"/>
                  <a:pt x="5931625" y="3695080"/>
                  <a:pt x="5967339" y="3695080"/>
                </a:cubicBezTo>
                <a:close/>
                <a:moveTo>
                  <a:pt x="5810776" y="3695080"/>
                </a:moveTo>
                <a:cubicBezTo>
                  <a:pt x="5846480" y="3695080"/>
                  <a:pt x="5875432" y="3724032"/>
                  <a:pt x="5875432" y="3759746"/>
                </a:cubicBezTo>
                <a:cubicBezTo>
                  <a:pt x="5875432" y="3795460"/>
                  <a:pt x="5846480" y="3824412"/>
                  <a:pt x="5810776" y="3824412"/>
                </a:cubicBezTo>
                <a:cubicBezTo>
                  <a:pt x="5775059" y="3824412"/>
                  <a:pt x="5746106" y="3795460"/>
                  <a:pt x="5746106" y="3759746"/>
                </a:cubicBezTo>
                <a:cubicBezTo>
                  <a:pt x="5746106" y="3724032"/>
                  <a:pt x="5775059" y="3695080"/>
                  <a:pt x="5810776" y="3695080"/>
                </a:cubicBezTo>
                <a:close/>
                <a:moveTo>
                  <a:pt x="5658107" y="3695080"/>
                </a:moveTo>
                <a:cubicBezTo>
                  <a:pt x="5693821" y="3695080"/>
                  <a:pt x="5722777" y="3724032"/>
                  <a:pt x="5722777" y="3759746"/>
                </a:cubicBezTo>
                <a:cubicBezTo>
                  <a:pt x="5722777" y="3795460"/>
                  <a:pt x="5693821" y="3824412"/>
                  <a:pt x="5658107" y="3824412"/>
                </a:cubicBezTo>
                <a:cubicBezTo>
                  <a:pt x="5622394" y="3824412"/>
                  <a:pt x="5593441" y="3795460"/>
                  <a:pt x="5593441" y="3759746"/>
                </a:cubicBezTo>
                <a:cubicBezTo>
                  <a:pt x="5593441" y="3724032"/>
                  <a:pt x="5622394" y="3695080"/>
                  <a:pt x="5658107" y="3695080"/>
                </a:cubicBezTo>
                <a:close/>
                <a:moveTo>
                  <a:pt x="5501536" y="3695080"/>
                </a:moveTo>
                <a:cubicBezTo>
                  <a:pt x="5537249" y="3695080"/>
                  <a:pt x="5566201" y="3724032"/>
                  <a:pt x="5566201" y="3759746"/>
                </a:cubicBezTo>
                <a:cubicBezTo>
                  <a:pt x="5566201" y="3795460"/>
                  <a:pt x="5537249" y="3824412"/>
                  <a:pt x="5501536" y="3824412"/>
                </a:cubicBezTo>
                <a:cubicBezTo>
                  <a:pt x="5465823" y="3824412"/>
                  <a:pt x="5436873" y="3795460"/>
                  <a:pt x="5436873" y="3759746"/>
                </a:cubicBezTo>
                <a:cubicBezTo>
                  <a:pt x="5436873" y="3724032"/>
                  <a:pt x="5465823" y="3695080"/>
                  <a:pt x="5501536" y="3695080"/>
                </a:cubicBezTo>
                <a:close/>
                <a:moveTo>
                  <a:pt x="5348883" y="3695080"/>
                </a:moveTo>
                <a:cubicBezTo>
                  <a:pt x="5384594" y="3695080"/>
                  <a:pt x="5413547" y="3724032"/>
                  <a:pt x="5413547" y="3759746"/>
                </a:cubicBezTo>
                <a:cubicBezTo>
                  <a:pt x="5413547" y="3795460"/>
                  <a:pt x="5384594" y="3824412"/>
                  <a:pt x="5348883" y="3824412"/>
                </a:cubicBezTo>
                <a:cubicBezTo>
                  <a:pt x="5313171" y="3824412"/>
                  <a:pt x="5284218" y="3795460"/>
                  <a:pt x="5284218" y="3759746"/>
                </a:cubicBezTo>
                <a:cubicBezTo>
                  <a:pt x="5284218" y="3724032"/>
                  <a:pt x="5313171" y="3695080"/>
                  <a:pt x="5348883" y="3695080"/>
                </a:cubicBezTo>
                <a:close/>
                <a:moveTo>
                  <a:pt x="5192310" y="3695080"/>
                </a:moveTo>
                <a:cubicBezTo>
                  <a:pt x="5228024" y="3695080"/>
                  <a:pt x="5256975" y="3724032"/>
                  <a:pt x="5256975" y="3759746"/>
                </a:cubicBezTo>
                <a:cubicBezTo>
                  <a:pt x="5256975" y="3795460"/>
                  <a:pt x="5228024" y="3824412"/>
                  <a:pt x="5192310" y="3824412"/>
                </a:cubicBezTo>
                <a:cubicBezTo>
                  <a:pt x="5156597" y="3824412"/>
                  <a:pt x="5127644" y="3795460"/>
                  <a:pt x="5127644" y="3759746"/>
                </a:cubicBezTo>
                <a:cubicBezTo>
                  <a:pt x="5127644" y="3724032"/>
                  <a:pt x="5156597" y="3695080"/>
                  <a:pt x="5192310" y="3695080"/>
                </a:cubicBezTo>
                <a:close/>
                <a:moveTo>
                  <a:pt x="3481774" y="3695080"/>
                </a:moveTo>
                <a:cubicBezTo>
                  <a:pt x="3517488" y="3695080"/>
                  <a:pt x="3546442" y="3724032"/>
                  <a:pt x="3546442" y="3759746"/>
                </a:cubicBezTo>
                <a:cubicBezTo>
                  <a:pt x="3546442" y="3795460"/>
                  <a:pt x="3517488" y="3824412"/>
                  <a:pt x="3481774" y="3824412"/>
                </a:cubicBezTo>
                <a:cubicBezTo>
                  <a:pt x="3446063" y="3824412"/>
                  <a:pt x="3417111" y="3795460"/>
                  <a:pt x="3417111" y="3759746"/>
                </a:cubicBezTo>
                <a:cubicBezTo>
                  <a:pt x="3417111" y="3724032"/>
                  <a:pt x="3446063" y="3695080"/>
                  <a:pt x="3481774" y="3695080"/>
                </a:cubicBezTo>
                <a:close/>
                <a:moveTo>
                  <a:pt x="3321295" y="3695080"/>
                </a:moveTo>
                <a:cubicBezTo>
                  <a:pt x="3357010" y="3695080"/>
                  <a:pt x="3385953" y="3724032"/>
                  <a:pt x="3385953" y="3759746"/>
                </a:cubicBezTo>
                <a:cubicBezTo>
                  <a:pt x="3385953" y="3795460"/>
                  <a:pt x="3357010" y="3824412"/>
                  <a:pt x="3321295" y="3824412"/>
                </a:cubicBezTo>
                <a:cubicBezTo>
                  <a:pt x="3285578" y="3824412"/>
                  <a:pt x="3256628" y="3795460"/>
                  <a:pt x="3256628" y="3759746"/>
                </a:cubicBezTo>
                <a:cubicBezTo>
                  <a:pt x="3256628" y="3724032"/>
                  <a:pt x="3285578" y="3695080"/>
                  <a:pt x="3321295" y="3695080"/>
                </a:cubicBezTo>
                <a:close/>
                <a:moveTo>
                  <a:pt x="3172548" y="3695080"/>
                </a:moveTo>
                <a:cubicBezTo>
                  <a:pt x="3208265" y="3695080"/>
                  <a:pt x="3237218" y="3724032"/>
                  <a:pt x="3237218" y="3759746"/>
                </a:cubicBezTo>
                <a:cubicBezTo>
                  <a:pt x="3237218" y="3795460"/>
                  <a:pt x="3208265" y="3824412"/>
                  <a:pt x="3172548" y="3824412"/>
                </a:cubicBezTo>
                <a:cubicBezTo>
                  <a:pt x="3136831" y="3824412"/>
                  <a:pt x="3107876" y="3795460"/>
                  <a:pt x="3107876" y="3759746"/>
                </a:cubicBezTo>
                <a:cubicBezTo>
                  <a:pt x="3107876" y="3724032"/>
                  <a:pt x="3136831" y="3695080"/>
                  <a:pt x="3172548" y="3695080"/>
                </a:cubicBezTo>
                <a:close/>
                <a:moveTo>
                  <a:pt x="3012051" y="3695080"/>
                </a:moveTo>
                <a:cubicBezTo>
                  <a:pt x="3047763" y="3695080"/>
                  <a:pt x="3076718" y="3724032"/>
                  <a:pt x="3076718" y="3759746"/>
                </a:cubicBezTo>
                <a:cubicBezTo>
                  <a:pt x="3076718" y="3795460"/>
                  <a:pt x="3047763" y="3824412"/>
                  <a:pt x="3012051" y="3824412"/>
                </a:cubicBezTo>
                <a:cubicBezTo>
                  <a:pt x="2976338" y="3824412"/>
                  <a:pt x="2947387" y="3795460"/>
                  <a:pt x="2947387" y="3759746"/>
                </a:cubicBezTo>
                <a:cubicBezTo>
                  <a:pt x="2947387" y="3724032"/>
                  <a:pt x="2976338" y="3695080"/>
                  <a:pt x="3012051" y="3695080"/>
                </a:cubicBezTo>
                <a:close/>
                <a:moveTo>
                  <a:pt x="9541125" y="3550250"/>
                </a:moveTo>
                <a:cubicBezTo>
                  <a:pt x="9576839" y="3550250"/>
                  <a:pt x="9605791" y="3579202"/>
                  <a:pt x="9605791" y="3614916"/>
                </a:cubicBezTo>
                <a:cubicBezTo>
                  <a:pt x="9605791" y="3650630"/>
                  <a:pt x="9576839" y="3679582"/>
                  <a:pt x="9541125" y="3679582"/>
                </a:cubicBezTo>
                <a:cubicBezTo>
                  <a:pt x="9505411" y="3679582"/>
                  <a:pt x="9476459" y="3650630"/>
                  <a:pt x="9476459" y="3614916"/>
                </a:cubicBezTo>
                <a:cubicBezTo>
                  <a:pt x="9476459" y="3579202"/>
                  <a:pt x="9505411" y="3550250"/>
                  <a:pt x="9541125" y="3550250"/>
                </a:cubicBezTo>
                <a:close/>
                <a:moveTo>
                  <a:pt x="8914831" y="3550250"/>
                </a:moveTo>
                <a:cubicBezTo>
                  <a:pt x="8950545" y="3550250"/>
                  <a:pt x="8979497" y="3579202"/>
                  <a:pt x="8979497" y="3614916"/>
                </a:cubicBezTo>
                <a:cubicBezTo>
                  <a:pt x="8979497" y="3650630"/>
                  <a:pt x="8950545" y="3679582"/>
                  <a:pt x="8914831" y="3679582"/>
                </a:cubicBezTo>
                <a:cubicBezTo>
                  <a:pt x="8879117" y="3679582"/>
                  <a:pt x="8850165" y="3650630"/>
                  <a:pt x="8850165" y="3614916"/>
                </a:cubicBezTo>
                <a:cubicBezTo>
                  <a:pt x="8850165" y="3579202"/>
                  <a:pt x="8879117" y="3550250"/>
                  <a:pt x="8914831" y="3550250"/>
                </a:cubicBezTo>
                <a:close/>
                <a:moveTo>
                  <a:pt x="8766086" y="3550250"/>
                </a:moveTo>
                <a:cubicBezTo>
                  <a:pt x="8801800" y="3550250"/>
                  <a:pt x="8830752" y="3579202"/>
                  <a:pt x="8830752" y="3614916"/>
                </a:cubicBezTo>
                <a:cubicBezTo>
                  <a:pt x="8830752" y="3650630"/>
                  <a:pt x="8801800" y="3679582"/>
                  <a:pt x="8766086" y="3679582"/>
                </a:cubicBezTo>
                <a:cubicBezTo>
                  <a:pt x="8730372" y="3679582"/>
                  <a:pt x="8701420" y="3650630"/>
                  <a:pt x="8701420" y="3614916"/>
                </a:cubicBezTo>
                <a:cubicBezTo>
                  <a:pt x="8701420" y="3579202"/>
                  <a:pt x="8730372" y="3550250"/>
                  <a:pt x="8766086" y="3550250"/>
                </a:cubicBezTo>
                <a:close/>
                <a:moveTo>
                  <a:pt x="7987135" y="3550250"/>
                </a:moveTo>
                <a:cubicBezTo>
                  <a:pt x="8022849" y="3550250"/>
                  <a:pt x="8051801" y="3579202"/>
                  <a:pt x="8051801" y="3614916"/>
                </a:cubicBezTo>
                <a:cubicBezTo>
                  <a:pt x="8051801" y="3650630"/>
                  <a:pt x="8022849" y="3679582"/>
                  <a:pt x="7987135" y="3679582"/>
                </a:cubicBezTo>
                <a:cubicBezTo>
                  <a:pt x="7951421" y="3679582"/>
                  <a:pt x="7922469" y="3650630"/>
                  <a:pt x="7922469" y="3614916"/>
                </a:cubicBezTo>
                <a:cubicBezTo>
                  <a:pt x="7922469" y="3579202"/>
                  <a:pt x="7951421" y="3550250"/>
                  <a:pt x="7987135" y="3550250"/>
                </a:cubicBezTo>
                <a:close/>
                <a:moveTo>
                  <a:pt x="7212096" y="3550250"/>
                </a:moveTo>
                <a:cubicBezTo>
                  <a:pt x="7247810" y="3550250"/>
                  <a:pt x="7276762" y="3579202"/>
                  <a:pt x="7276762" y="3614916"/>
                </a:cubicBezTo>
                <a:cubicBezTo>
                  <a:pt x="7276762" y="3650630"/>
                  <a:pt x="7247810" y="3679582"/>
                  <a:pt x="7212096" y="3679582"/>
                </a:cubicBezTo>
                <a:cubicBezTo>
                  <a:pt x="7176382" y="3679582"/>
                  <a:pt x="7147430" y="3650630"/>
                  <a:pt x="7147430" y="3614916"/>
                </a:cubicBezTo>
                <a:cubicBezTo>
                  <a:pt x="7147430" y="3579202"/>
                  <a:pt x="7176382" y="3550250"/>
                  <a:pt x="7212096" y="3550250"/>
                </a:cubicBezTo>
                <a:close/>
                <a:moveTo>
                  <a:pt x="7055523" y="3550250"/>
                </a:moveTo>
                <a:cubicBezTo>
                  <a:pt x="7091237" y="3550250"/>
                  <a:pt x="7120189" y="3579202"/>
                  <a:pt x="7120189" y="3614916"/>
                </a:cubicBezTo>
                <a:cubicBezTo>
                  <a:pt x="7120189" y="3650630"/>
                  <a:pt x="7091237" y="3679582"/>
                  <a:pt x="7055523" y="3679582"/>
                </a:cubicBezTo>
                <a:cubicBezTo>
                  <a:pt x="7019809" y="3679582"/>
                  <a:pt x="6990857" y="3650630"/>
                  <a:pt x="6990857" y="3614916"/>
                </a:cubicBezTo>
                <a:cubicBezTo>
                  <a:pt x="6990857" y="3579202"/>
                  <a:pt x="7019809" y="3550250"/>
                  <a:pt x="7055523" y="3550250"/>
                </a:cubicBezTo>
                <a:close/>
                <a:moveTo>
                  <a:pt x="6895037" y="3550250"/>
                </a:moveTo>
                <a:cubicBezTo>
                  <a:pt x="6930751" y="3550250"/>
                  <a:pt x="6959703" y="3579202"/>
                  <a:pt x="6959703" y="3614916"/>
                </a:cubicBezTo>
                <a:cubicBezTo>
                  <a:pt x="6959703" y="3650630"/>
                  <a:pt x="6930751" y="3679582"/>
                  <a:pt x="6895037" y="3679582"/>
                </a:cubicBezTo>
                <a:cubicBezTo>
                  <a:pt x="6859323" y="3679582"/>
                  <a:pt x="6830371" y="3650630"/>
                  <a:pt x="6830371" y="3614916"/>
                </a:cubicBezTo>
                <a:cubicBezTo>
                  <a:pt x="6830371" y="3579202"/>
                  <a:pt x="6859323" y="3550250"/>
                  <a:pt x="6895037" y="3550250"/>
                </a:cubicBezTo>
                <a:close/>
                <a:moveTo>
                  <a:pt x="6742377" y="3550250"/>
                </a:moveTo>
                <a:cubicBezTo>
                  <a:pt x="6778091" y="3550250"/>
                  <a:pt x="6807043" y="3579202"/>
                  <a:pt x="6807043" y="3614916"/>
                </a:cubicBezTo>
                <a:cubicBezTo>
                  <a:pt x="6807043" y="3650630"/>
                  <a:pt x="6778091" y="3679582"/>
                  <a:pt x="6742377" y="3679582"/>
                </a:cubicBezTo>
                <a:cubicBezTo>
                  <a:pt x="6706663" y="3679582"/>
                  <a:pt x="6677711" y="3650630"/>
                  <a:pt x="6677711" y="3614916"/>
                </a:cubicBezTo>
                <a:cubicBezTo>
                  <a:pt x="6677711" y="3579202"/>
                  <a:pt x="6706663" y="3550250"/>
                  <a:pt x="6742377" y="3550250"/>
                </a:cubicBezTo>
                <a:close/>
                <a:moveTo>
                  <a:pt x="6585804" y="3550250"/>
                </a:moveTo>
                <a:cubicBezTo>
                  <a:pt x="6621518" y="3550250"/>
                  <a:pt x="6650470" y="3579202"/>
                  <a:pt x="6650470" y="3614916"/>
                </a:cubicBezTo>
                <a:cubicBezTo>
                  <a:pt x="6650470" y="3650630"/>
                  <a:pt x="6621518" y="3679582"/>
                  <a:pt x="6585804" y="3679582"/>
                </a:cubicBezTo>
                <a:cubicBezTo>
                  <a:pt x="6550090" y="3679582"/>
                  <a:pt x="6521138" y="3650630"/>
                  <a:pt x="6521138" y="3614916"/>
                </a:cubicBezTo>
                <a:cubicBezTo>
                  <a:pt x="6521138" y="3579202"/>
                  <a:pt x="6550090" y="3550250"/>
                  <a:pt x="6585804" y="3550250"/>
                </a:cubicBezTo>
                <a:close/>
                <a:moveTo>
                  <a:pt x="6429231" y="3550250"/>
                </a:moveTo>
                <a:cubicBezTo>
                  <a:pt x="6464945" y="3550250"/>
                  <a:pt x="6493897" y="3579202"/>
                  <a:pt x="6493897" y="3614916"/>
                </a:cubicBezTo>
                <a:cubicBezTo>
                  <a:pt x="6493897" y="3650630"/>
                  <a:pt x="6464945" y="3679582"/>
                  <a:pt x="6429231" y="3679582"/>
                </a:cubicBezTo>
                <a:cubicBezTo>
                  <a:pt x="6393517" y="3679582"/>
                  <a:pt x="6364565" y="3650630"/>
                  <a:pt x="6364565" y="3614916"/>
                </a:cubicBezTo>
                <a:cubicBezTo>
                  <a:pt x="6364565" y="3579202"/>
                  <a:pt x="6393517" y="3550250"/>
                  <a:pt x="6429231" y="3550250"/>
                </a:cubicBezTo>
                <a:close/>
                <a:moveTo>
                  <a:pt x="6276571" y="3550250"/>
                </a:moveTo>
                <a:cubicBezTo>
                  <a:pt x="6312285" y="3550250"/>
                  <a:pt x="6341237" y="3579202"/>
                  <a:pt x="6341237" y="3614916"/>
                </a:cubicBezTo>
                <a:cubicBezTo>
                  <a:pt x="6341237" y="3650630"/>
                  <a:pt x="6312285" y="3679582"/>
                  <a:pt x="6276571" y="3679582"/>
                </a:cubicBezTo>
                <a:cubicBezTo>
                  <a:pt x="6240857" y="3679582"/>
                  <a:pt x="6211905" y="3650630"/>
                  <a:pt x="6211905" y="3614916"/>
                </a:cubicBezTo>
                <a:cubicBezTo>
                  <a:pt x="6211905" y="3579202"/>
                  <a:pt x="6240857" y="3550250"/>
                  <a:pt x="6276571" y="3550250"/>
                </a:cubicBezTo>
                <a:close/>
                <a:moveTo>
                  <a:pt x="6119999" y="3550250"/>
                </a:moveTo>
                <a:cubicBezTo>
                  <a:pt x="6155713" y="3550250"/>
                  <a:pt x="6184665" y="3579202"/>
                  <a:pt x="6184665" y="3614916"/>
                </a:cubicBezTo>
                <a:cubicBezTo>
                  <a:pt x="6184665" y="3650630"/>
                  <a:pt x="6155713" y="3679582"/>
                  <a:pt x="6119999" y="3679582"/>
                </a:cubicBezTo>
                <a:cubicBezTo>
                  <a:pt x="6084285" y="3679582"/>
                  <a:pt x="6055333" y="3650630"/>
                  <a:pt x="6055333" y="3614916"/>
                </a:cubicBezTo>
                <a:cubicBezTo>
                  <a:pt x="6055333" y="3579202"/>
                  <a:pt x="6084285" y="3550250"/>
                  <a:pt x="6119999" y="3550250"/>
                </a:cubicBezTo>
                <a:close/>
                <a:moveTo>
                  <a:pt x="5967339" y="3550250"/>
                </a:moveTo>
                <a:cubicBezTo>
                  <a:pt x="6003053" y="3550250"/>
                  <a:pt x="6032005" y="3579202"/>
                  <a:pt x="6032005" y="3614916"/>
                </a:cubicBezTo>
                <a:cubicBezTo>
                  <a:pt x="6032005" y="3650630"/>
                  <a:pt x="6003053" y="3679582"/>
                  <a:pt x="5967339" y="3679582"/>
                </a:cubicBezTo>
                <a:cubicBezTo>
                  <a:pt x="5931625" y="3679582"/>
                  <a:pt x="5902673" y="3650630"/>
                  <a:pt x="5902673" y="3614916"/>
                </a:cubicBezTo>
                <a:cubicBezTo>
                  <a:pt x="5902673" y="3579202"/>
                  <a:pt x="5931625" y="3550250"/>
                  <a:pt x="5967339" y="3550250"/>
                </a:cubicBezTo>
                <a:close/>
                <a:moveTo>
                  <a:pt x="5810778" y="3550250"/>
                </a:moveTo>
                <a:cubicBezTo>
                  <a:pt x="5846480" y="3550250"/>
                  <a:pt x="5875432" y="3579202"/>
                  <a:pt x="5875432" y="3614916"/>
                </a:cubicBezTo>
                <a:cubicBezTo>
                  <a:pt x="5875432" y="3650630"/>
                  <a:pt x="5846480" y="3679582"/>
                  <a:pt x="5810778" y="3679582"/>
                </a:cubicBezTo>
                <a:cubicBezTo>
                  <a:pt x="5775061" y="3679582"/>
                  <a:pt x="5746106" y="3650630"/>
                  <a:pt x="5746106" y="3614916"/>
                </a:cubicBezTo>
                <a:cubicBezTo>
                  <a:pt x="5746106" y="3579202"/>
                  <a:pt x="5775061" y="3550250"/>
                  <a:pt x="5810778" y="3550250"/>
                </a:cubicBezTo>
                <a:close/>
                <a:moveTo>
                  <a:pt x="5658107" y="3550250"/>
                </a:moveTo>
                <a:cubicBezTo>
                  <a:pt x="5693821" y="3550250"/>
                  <a:pt x="5722777" y="3579202"/>
                  <a:pt x="5722777" y="3614916"/>
                </a:cubicBezTo>
                <a:cubicBezTo>
                  <a:pt x="5722777" y="3650630"/>
                  <a:pt x="5693821" y="3679582"/>
                  <a:pt x="5658107" y="3679582"/>
                </a:cubicBezTo>
                <a:cubicBezTo>
                  <a:pt x="5622394" y="3679582"/>
                  <a:pt x="5593441" y="3650630"/>
                  <a:pt x="5593441" y="3614916"/>
                </a:cubicBezTo>
                <a:cubicBezTo>
                  <a:pt x="5593441" y="3579202"/>
                  <a:pt x="5622394" y="3550250"/>
                  <a:pt x="5658107" y="3550250"/>
                </a:cubicBezTo>
                <a:close/>
                <a:moveTo>
                  <a:pt x="5501536" y="3550250"/>
                </a:moveTo>
                <a:cubicBezTo>
                  <a:pt x="5537252" y="3550250"/>
                  <a:pt x="5566201" y="3579202"/>
                  <a:pt x="5566201" y="3614916"/>
                </a:cubicBezTo>
                <a:cubicBezTo>
                  <a:pt x="5566201" y="3650630"/>
                  <a:pt x="5537252" y="3679582"/>
                  <a:pt x="5501536" y="3679582"/>
                </a:cubicBezTo>
                <a:cubicBezTo>
                  <a:pt x="5465823" y="3679582"/>
                  <a:pt x="5436874" y="3650630"/>
                  <a:pt x="5436874" y="3614916"/>
                </a:cubicBezTo>
                <a:cubicBezTo>
                  <a:pt x="5436874" y="3579202"/>
                  <a:pt x="5465823" y="3550250"/>
                  <a:pt x="5501536" y="3550250"/>
                </a:cubicBezTo>
                <a:close/>
                <a:moveTo>
                  <a:pt x="5348883" y="3550250"/>
                </a:moveTo>
                <a:cubicBezTo>
                  <a:pt x="5384594" y="3550250"/>
                  <a:pt x="5413547" y="3579202"/>
                  <a:pt x="5413547" y="3614916"/>
                </a:cubicBezTo>
                <a:cubicBezTo>
                  <a:pt x="5413547" y="3650630"/>
                  <a:pt x="5384594" y="3679582"/>
                  <a:pt x="5348883" y="3679582"/>
                </a:cubicBezTo>
                <a:cubicBezTo>
                  <a:pt x="5313171" y="3679582"/>
                  <a:pt x="5284218" y="3650630"/>
                  <a:pt x="5284218" y="3614916"/>
                </a:cubicBezTo>
                <a:cubicBezTo>
                  <a:pt x="5284218" y="3579202"/>
                  <a:pt x="5313171" y="3550250"/>
                  <a:pt x="5348883" y="3550250"/>
                </a:cubicBezTo>
                <a:close/>
                <a:moveTo>
                  <a:pt x="5192310" y="3550250"/>
                </a:moveTo>
                <a:cubicBezTo>
                  <a:pt x="5228026" y="3550250"/>
                  <a:pt x="5256975" y="3579202"/>
                  <a:pt x="5256975" y="3614916"/>
                </a:cubicBezTo>
                <a:cubicBezTo>
                  <a:pt x="5256975" y="3650630"/>
                  <a:pt x="5228026" y="3679582"/>
                  <a:pt x="5192310" y="3679582"/>
                </a:cubicBezTo>
                <a:cubicBezTo>
                  <a:pt x="5156599" y="3679582"/>
                  <a:pt x="5127644" y="3650630"/>
                  <a:pt x="5127644" y="3614916"/>
                </a:cubicBezTo>
                <a:cubicBezTo>
                  <a:pt x="5127644" y="3579202"/>
                  <a:pt x="5156599" y="3550250"/>
                  <a:pt x="5192310" y="3550250"/>
                </a:cubicBezTo>
                <a:close/>
                <a:moveTo>
                  <a:pt x="5031828" y="3550250"/>
                </a:moveTo>
                <a:cubicBezTo>
                  <a:pt x="5067537" y="3550250"/>
                  <a:pt x="5096490" y="3579202"/>
                  <a:pt x="5096490" y="3614916"/>
                </a:cubicBezTo>
                <a:cubicBezTo>
                  <a:pt x="5096490" y="3650630"/>
                  <a:pt x="5067537" y="3679582"/>
                  <a:pt x="5031828" y="3679582"/>
                </a:cubicBezTo>
                <a:cubicBezTo>
                  <a:pt x="4996106" y="3679582"/>
                  <a:pt x="4967158" y="3650630"/>
                  <a:pt x="4967158" y="3614916"/>
                </a:cubicBezTo>
                <a:cubicBezTo>
                  <a:pt x="4967158" y="3579202"/>
                  <a:pt x="4996106" y="3550250"/>
                  <a:pt x="5031828" y="3550250"/>
                </a:cubicBezTo>
                <a:close/>
                <a:moveTo>
                  <a:pt x="3321299" y="3550250"/>
                </a:moveTo>
                <a:cubicBezTo>
                  <a:pt x="3357010" y="3550250"/>
                  <a:pt x="3385957" y="3579202"/>
                  <a:pt x="3385957" y="3614916"/>
                </a:cubicBezTo>
                <a:cubicBezTo>
                  <a:pt x="3385957" y="3650630"/>
                  <a:pt x="3357010" y="3679582"/>
                  <a:pt x="3321299" y="3679582"/>
                </a:cubicBezTo>
                <a:cubicBezTo>
                  <a:pt x="3285583" y="3679582"/>
                  <a:pt x="3256631" y="3650630"/>
                  <a:pt x="3256631" y="3614916"/>
                </a:cubicBezTo>
                <a:cubicBezTo>
                  <a:pt x="3256631" y="3579202"/>
                  <a:pt x="3285583" y="3550250"/>
                  <a:pt x="3321299" y="3550250"/>
                </a:cubicBezTo>
                <a:close/>
                <a:moveTo>
                  <a:pt x="3172552" y="3550250"/>
                </a:moveTo>
                <a:cubicBezTo>
                  <a:pt x="3208268" y="3550250"/>
                  <a:pt x="3237221" y="3579202"/>
                  <a:pt x="3237221" y="3614916"/>
                </a:cubicBezTo>
                <a:cubicBezTo>
                  <a:pt x="3237221" y="3650630"/>
                  <a:pt x="3208268" y="3679582"/>
                  <a:pt x="3172552" y="3679582"/>
                </a:cubicBezTo>
                <a:cubicBezTo>
                  <a:pt x="3136834" y="3679582"/>
                  <a:pt x="3107879" y="3650630"/>
                  <a:pt x="3107879" y="3614916"/>
                </a:cubicBezTo>
                <a:cubicBezTo>
                  <a:pt x="3107879" y="3579202"/>
                  <a:pt x="3136834" y="3550250"/>
                  <a:pt x="3172552" y="3550250"/>
                </a:cubicBezTo>
                <a:close/>
                <a:moveTo>
                  <a:pt x="3012054" y="3550250"/>
                </a:moveTo>
                <a:cubicBezTo>
                  <a:pt x="3047766" y="3550250"/>
                  <a:pt x="3076721" y="3579202"/>
                  <a:pt x="3076721" y="3614916"/>
                </a:cubicBezTo>
                <a:cubicBezTo>
                  <a:pt x="3076721" y="3650630"/>
                  <a:pt x="3047766" y="3679582"/>
                  <a:pt x="3012054" y="3679582"/>
                </a:cubicBezTo>
                <a:cubicBezTo>
                  <a:pt x="2976341" y="3679582"/>
                  <a:pt x="2947391" y="3650630"/>
                  <a:pt x="2947391" y="3614916"/>
                </a:cubicBezTo>
                <a:cubicBezTo>
                  <a:pt x="2947391" y="3579202"/>
                  <a:pt x="2976341" y="3550250"/>
                  <a:pt x="3012054" y="3550250"/>
                </a:cubicBezTo>
                <a:close/>
                <a:moveTo>
                  <a:pt x="2855489" y="3550250"/>
                </a:moveTo>
                <a:cubicBezTo>
                  <a:pt x="2891200" y="3550250"/>
                  <a:pt x="2920151" y="3579202"/>
                  <a:pt x="2920151" y="3614916"/>
                </a:cubicBezTo>
                <a:cubicBezTo>
                  <a:pt x="2920151" y="3650630"/>
                  <a:pt x="2891200" y="3679582"/>
                  <a:pt x="2855489" y="3679582"/>
                </a:cubicBezTo>
                <a:cubicBezTo>
                  <a:pt x="2819776" y="3679582"/>
                  <a:pt x="2790826" y="3650630"/>
                  <a:pt x="2790826" y="3614916"/>
                </a:cubicBezTo>
                <a:cubicBezTo>
                  <a:pt x="2790826" y="3579202"/>
                  <a:pt x="2819776" y="3550250"/>
                  <a:pt x="2855489" y="3550250"/>
                </a:cubicBezTo>
                <a:close/>
                <a:moveTo>
                  <a:pt x="2698923" y="3550250"/>
                </a:moveTo>
                <a:cubicBezTo>
                  <a:pt x="2734636" y="3550250"/>
                  <a:pt x="2763586" y="3579202"/>
                  <a:pt x="2763586" y="3614916"/>
                </a:cubicBezTo>
                <a:cubicBezTo>
                  <a:pt x="2763586" y="3650630"/>
                  <a:pt x="2734636" y="3679582"/>
                  <a:pt x="2698923" y="3679582"/>
                </a:cubicBezTo>
                <a:cubicBezTo>
                  <a:pt x="2663212" y="3679582"/>
                  <a:pt x="2634261" y="3650630"/>
                  <a:pt x="2634261" y="3614916"/>
                </a:cubicBezTo>
                <a:cubicBezTo>
                  <a:pt x="2634261" y="3579202"/>
                  <a:pt x="2663212" y="3550250"/>
                  <a:pt x="2698923" y="3550250"/>
                </a:cubicBezTo>
                <a:close/>
                <a:moveTo>
                  <a:pt x="9541125" y="3401506"/>
                </a:moveTo>
                <a:cubicBezTo>
                  <a:pt x="9576839" y="3401506"/>
                  <a:pt x="9605791" y="3430458"/>
                  <a:pt x="9605791" y="3466172"/>
                </a:cubicBezTo>
                <a:cubicBezTo>
                  <a:pt x="9605791" y="3501886"/>
                  <a:pt x="9576839" y="3530838"/>
                  <a:pt x="9541125" y="3530838"/>
                </a:cubicBezTo>
                <a:cubicBezTo>
                  <a:pt x="9505411" y="3530838"/>
                  <a:pt x="9476459" y="3501886"/>
                  <a:pt x="9476459" y="3466172"/>
                </a:cubicBezTo>
                <a:cubicBezTo>
                  <a:pt x="9476459" y="3430458"/>
                  <a:pt x="9505411" y="3401506"/>
                  <a:pt x="9541125" y="3401506"/>
                </a:cubicBezTo>
                <a:close/>
                <a:moveTo>
                  <a:pt x="8914831" y="3401506"/>
                </a:moveTo>
                <a:cubicBezTo>
                  <a:pt x="8950545" y="3401506"/>
                  <a:pt x="8979497" y="3430458"/>
                  <a:pt x="8979497" y="3466172"/>
                </a:cubicBezTo>
                <a:cubicBezTo>
                  <a:pt x="8979497" y="3501886"/>
                  <a:pt x="8950545" y="3530838"/>
                  <a:pt x="8914831" y="3530838"/>
                </a:cubicBezTo>
                <a:cubicBezTo>
                  <a:pt x="8879117" y="3530838"/>
                  <a:pt x="8850165" y="3501886"/>
                  <a:pt x="8850165" y="3466172"/>
                </a:cubicBezTo>
                <a:cubicBezTo>
                  <a:pt x="8850165" y="3430458"/>
                  <a:pt x="8879117" y="3401506"/>
                  <a:pt x="8914831" y="3401506"/>
                </a:cubicBezTo>
                <a:close/>
                <a:moveTo>
                  <a:pt x="8766086" y="3401506"/>
                </a:moveTo>
                <a:cubicBezTo>
                  <a:pt x="8801800" y="3401506"/>
                  <a:pt x="8830752" y="3430458"/>
                  <a:pt x="8830752" y="3466172"/>
                </a:cubicBezTo>
                <a:cubicBezTo>
                  <a:pt x="8830752" y="3501886"/>
                  <a:pt x="8801800" y="3530838"/>
                  <a:pt x="8766086" y="3530838"/>
                </a:cubicBezTo>
                <a:cubicBezTo>
                  <a:pt x="8730372" y="3530838"/>
                  <a:pt x="8701420" y="3501886"/>
                  <a:pt x="8701420" y="3466172"/>
                </a:cubicBezTo>
                <a:cubicBezTo>
                  <a:pt x="8701420" y="3430458"/>
                  <a:pt x="8730372" y="3401506"/>
                  <a:pt x="8766086" y="3401506"/>
                </a:cubicBezTo>
                <a:close/>
                <a:moveTo>
                  <a:pt x="8139793" y="3401506"/>
                </a:moveTo>
                <a:cubicBezTo>
                  <a:pt x="8175507" y="3401506"/>
                  <a:pt x="8204459" y="3430458"/>
                  <a:pt x="8204459" y="3466172"/>
                </a:cubicBezTo>
                <a:cubicBezTo>
                  <a:pt x="8204459" y="3501886"/>
                  <a:pt x="8175507" y="3530838"/>
                  <a:pt x="8139793" y="3530838"/>
                </a:cubicBezTo>
                <a:cubicBezTo>
                  <a:pt x="8104079" y="3530838"/>
                  <a:pt x="8075127" y="3501886"/>
                  <a:pt x="8075127" y="3466172"/>
                </a:cubicBezTo>
                <a:cubicBezTo>
                  <a:pt x="8075127" y="3430458"/>
                  <a:pt x="8104079" y="3401506"/>
                  <a:pt x="8139793" y="3401506"/>
                </a:cubicBezTo>
                <a:close/>
                <a:moveTo>
                  <a:pt x="7987135" y="3401506"/>
                </a:moveTo>
                <a:cubicBezTo>
                  <a:pt x="8022849" y="3401506"/>
                  <a:pt x="8051801" y="3430458"/>
                  <a:pt x="8051801" y="3466172"/>
                </a:cubicBezTo>
                <a:cubicBezTo>
                  <a:pt x="8051801" y="3501886"/>
                  <a:pt x="8022849" y="3530838"/>
                  <a:pt x="7987135" y="3530838"/>
                </a:cubicBezTo>
                <a:cubicBezTo>
                  <a:pt x="7951421" y="3530838"/>
                  <a:pt x="7922469" y="3501886"/>
                  <a:pt x="7922469" y="3466172"/>
                </a:cubicBezTo>
                <a:cubicBezTo>
                  <a:pt x="7922469" y="3430458"/>
                  <a:pt x="7951421" y="3401506"/>
                  <a:pt x="7987135" y="3401506"/>
                </a:cubicBezTo>
                <a:close/>
                <a:moveTo>
                  <a:pt x="6742377" y="3401506"/>
                </a:moveTo>
                <a:cubicBezTo>
                  <a:pt x="6778091" y="3401506"/>
                  <a:pt x="6807043" y="3430458"/>
                  <a:pt x="6807043" y="3466172"/>
                </a:cubicBezTo>
                <a:cubicBezTo>
                  <a:pt x="6807043" y="3501886"/>
                  <a:pt x="6778091" y="3530838"/>
                  <a:pt x="6742377" y="3530838"/>
                </a:cubicBezTo>
                <a:cubicBezTo>
                  <a:pt x="6706663" y="3530838"/>
                  <a:pt x="6677711" y="3501886"/>
                  <a:pt x="6677711" y="3466172"/>
                </a:cubicBezTo>
                <a:cubicBezTo>
                  <a:pt x="6677711" y="3430458"/>
                  <a:pt x="6706663" y="3401506"/>
                  <a:pt x="6742377" y="3401506"/>
                </a:cubicBezTo>
                <a:close/>
                <a:moveTo>
                  <a:pt x="6585804" y="3401506"/>
                </a:moveTo>
                <a:cubicBezTo>
                  <a:pt x="6621518" y="3401506"/>
                  <a:pt x="6650470" y="3430458"/>
                  <a:pt x="6650470" y="3466172"/>
                </a:cubicBezTo>
                <a:cubicBezTo>
                  <a:pt x="6650470" y="3501886"/>
                  <a:pt x="6621518" y="3530838"/>
                  <a:pt x="6585804" y="3530838"/>
                </a:cubicBezTo>
                <a:cubicBezTo>
                  <a:pt x="6550090" y="3530838"/>
                  <a:pt x="6521138" y="3501886"/>
                  <a:pt x="6521138" y="3466172"/>
                </a:cubicBezTo>
                <a:cubicBezTo>
                  <a:pt x="6521138" y="3430458"/>
                  <a:pt x="6550090" y="3401506"/>
                  <a:pt x="6585804" y="3401506"/>
                </a:cubicBezTo>
                <a:close/>
                <a:moveTo>
                  <a:pt x="6429231" y="3401506"/>
                </a:moveTo>
                <a:cubicBezTo>
                  <a:pt x="6464945" y="3401506"/>
                  <a:pt x="6493897" y="3430458"/>
                  <a:pt x="6493897" y="3466172"/>
                </a:cubicBezTo>
                <a:cubicBezTo>
                  <a:pt x="6493897" y="3501886"/>
                  <a:pt x="6464945" y="3530838"/>
                  <a:pt x="6429231" y="3530838"/>
                </a:cubicBezTo>
                <a:cubicBezTo>
                  <a:pt x="6393517" y="3530838"/>
                  <a:pt x="6364565" y="3501886"/>
                  <a:pt x="6364565" y="3466172"/>
                </a:cubicBezTo>
                <a:cubicBezTo>
                  <a:pt x="6364565" y="3430458"/>
                  <a:pt x="6393517" y="3401506"/>
                  <a:pt x="6429231" y="3401506"/>
                </a:cubicBezTo>
                <a:close/>
                <a:moveTo>
                  <a:pt x="6276571" y="3401506"/>
                </a:moveTo>
                <a:cubicBezTo>
                  <a:pt x="6312285" y="3401506"/>
                  <a:pt x="6341237" y="3430458"/>
                  <a:pt x="6341237" y="3466172"/>
                </a:cubicBezTo>
                <a:cubicBezTo>
                  <a:pt x="6341237" y="3501886"/>
                  <a:pt x="6312285" y="3530838"/>
                  <a:pt x="6276571" y="3530838"/>
                </a:cubicBezTo>
                <a:cubicBezTo>
                  <a:pt x="6240857" y="3530838"/>
                  <a:pt x="6211905" y="3501886"/>
                  <a:pt x="6211905" y="3466172"/>
                </a:cubicBezTo>
                <a:cubicBezTo>
                  <a:pt x="6211905" y="3430458"/>
                  <a:pt x="6240857" y="3401506"/>
                  <a:pt x="6276571" y="3401506"/>
                </a:cubicBezTo>
                <a:close/>
                <a:moveTo>
                  <a:pt x="6119999" y="3401506"/>
                </a:moveTo>
                <a:cubicBezTo>
                  <a:pt x="6155713" y="3401506"/>
                  <a:pt x="6184665" y="3430458"/>
                  <a:pt x="6184665" y="3466172"/>
                </a:cubicBezTo>
                <a:cubicBezTo>
                  <a:pt x="6184665" y="3501886"/>
                  <a:pt x="6155713" y="3530838"/>
                  <a:pt x="6119999" y="3530838"/>
                </a:cubicBezTo>
                <a:cubicBezTo>
                  <a:pt x="6084285" y="3530838"/>
                  <a:pt x="6055333" y="3501886"/>
                  <a:pt x="6055333" y="3466172"/>
                </a:cubicBezTo>
                <a:cubicBezTo>
                  <a:pt x="6055333" y="3430458"/>
                  <a:pt x="6084285" y="3401506"/>
                  <a:pt x="6119999" y="3401506"/>
                </a:cubicBezTo>
                <a:close/>
                <a:moveTo>
                  <a:pt x="5967338" y="3401504"/>
                </a:moveTo>
                <a:cubicBezTo>
                  <a:pt x="6003052" y="3401504"/>
                  <a:pt x="6032004" y="3430456"/>
                  <a:pt x="6032004" y="3466170"/>
                </a:cubicBezTo>
                <a:cubicBezTo>
                  <a:pt x="6032004" y="3501884"/>
                  <a:pt x="6003052" y="3530836"/>
                  <a:pt x="5967338" y="3530836"/>
                </a:cubicBezTo>
                <a:cubicBezTo>
                  <a:pt x="5931624" y="3530836"/>
                  <a:pt x="5902672" y="3501884"/>
                  <a:pt x="5902672" y="3466170"/>
                </a:cubicBezTo>
                <a:cubicBezTo>
                  <a:pt x="5902672" y="3430456"/>
                  <a:pt x="5931624" y="3401504"/>
                  <a:pt x="5967338" y="3401504"/>
                </a:cubicBezTo>
                <a:close/>
                <a:moveTo>
                  <a:pt x="5810778" y="3401504"/>
                </a:moveTo>
                <a:cubicBezTo>
                  <a:pt x="5846479" y="3401504"/>
                  <a:pt x="5875431" y="3430456"/>
                  <a:pt x="5875431" y="3466170"/>
                </a:cubicBezTo>
                <a:cubicBezTo>
                  <a:pt x="5875431" y="3501884"/>
                  <a:pt x="5846479" y="3530836"/>
                  <a:pt x="5810778" y="3530836"/>
                </a:cubicBezTo>
                <a:cubicBezTo>
                  <a:pt x="5775061" y="3530836"/>
                  <a:pt x="5746106" y="3501884"/>
                  <a:pt x="5746106" y="3466170"/>
                </a:cubicBezTo>
                <a:cubicBezTo>
                  <a:pt x="5746106" y="3430456"/>
                  <a:pt x="5775061" y="3401504"/>
                  <a:pt x="5810778" y="3401504"/>
                </a:cubicBezTo>
                <a:close/>
                <a:moveTo>
                  <a:pt x="5658107" y="3401504"/>
                </a:moveTo>
                <a:cubicBezTo>
                  <a:pt x="5693821" y="3401504"/>
                  <a:pt x="5722777" y="3430456"/>
                  <a:pt x="5722777" y="3466170"/>
                </a:cubicBezTo>
                <a:cubicBezTo>
                  <a:pt x="5722777" y="3501884"/>
                  <a:pt x="5693821" y="3530836"/>
                  <a:pt x="5658107" y="3530836"/>
                </a:cubicBezTo>
                <a:cubicBezTo>
                  <a:pt x="5622394" y="3530836"/>
                  <a:pt x="5593441" y="3501884"/>
                  <a:pt x="5593441" y="3466170"/>
                </a:cubicBezTo>
                <a:cubicBezTo>
                  <a:pt x="5593441" y="3430456"/>
                  <a:pt x="5622394" y="3401504"/>
                  <a:pt x="5658107" y="3401504"/>
                </a:cubicBezTo>
                <a:close/>
                <a:moveTo>
                  <a:pt x="5501536" y="3401504"/>
                </a:moveTo>
                <a:cubicBezTo>
                  <a:pt x="5537252" y="3401504"/>
                  <a:pt x="5566202" y="3430456"/>
                  <a:pt x="5566202" y="3466170"/>
                </a:cubicBezTo>
                <a:cubicBezTo>
                  <a:pt x="5566202" y="3501884"/>
                  <a:pt x="5537252" y="3530836"/>
                  <a:pt x="5501536" y="3530836"/>
                </a:cubicBezTo>
                <a:cubicBezTo>
                  <a:pt x="5465823" y="3530836"/>
                  <a:pt x="5436874" y="3501884"/>
                  <a:pt x="5436874" y="3466170"/>
                </a:cubicBezTo>
                <a:cubicBezTo>
                  <a:pt x="5436874" y="3430456"/>
                  <a:pt x="5465823" y="3401504"/>
                  <a:pt x="5501536" y="3401504"/>
                </a:cubicBezTo>
                <a:close/>
                <a:moveTo>
                  <a:pt x="5348883" y="3401504"/>
                </a:moveTo>
                <a:cubicBezTo>
                  <a:pt x="5384594" y="3401504"/>
                  <a:pt x="5413547" y="3430456"/>
                  <a:pt x="5413547" y="3466170"/>
                </a:cubicBezTo>
                <a:cubicBezTo>
                  <a:pt x="5413547" y="3501884"/>
                  <a:pt x="5384594" y="3530836"/>
                  <a:pt x="5348883" y="3530836"/>
                </a:cubicBezTo>
                <a:cubicBezTo>
                  <a:pt x="5313171" y="3530836"/>
                  <a:pt x="5284218" y="3501884"/>
                  <a:pt x="5284218" y="3466170"/>
                </a:cubicBezTo>
                <a:cubicBezTo>
                  <a:pt x="5284218" y="3430456"/>
                  <a:pt x="5313171" y="3401504"/>
                  <a:pt x="5348883" y="3401504"/>
                </a:cubicBezTo>
                <a:close/>
                <a:moveTo>
                  <a:pt x="5192310" y="3401504"/>
                </a:moveTo>
                <a:cubicBezTo>
                  <a:pt x="5228024" y="3401504"/>
                  <a:pt x="5256973" y="3430456"/>
                  <a:pt x="5256973" y="3466170"/>
                </a:cubicBezTo>
                <a:cubicBezTo>
                  <a:pt x="5256973" y="3501884"/>
                  <a:pt x="5228024" y="3530836"/>
                  <a:pt x="5192310" y="3530836"/>
                </a:cubicBezTo>
                <a:cubicBezTo>
                  <a:pt x="5156597" y="3530836"/>
                  <a:pt x="5127643" y="3501884"/>
                  <a:pt x="5127643" y="3466170"/>
                </a:cubicBezTo>
                <a:cubicBezTo>
                  <a:pt x="5127643" y="3430456"/>
                  <a:pt x="5156597" y="3401504"/>
                  <a:pt x="5192310" y="3401504"/>
                </a:cubicBezTo>
                <a:close/>
                <a:moveTo>
                  <a:pt x="5031826" y="3401504"/>
                </a:moveTo>
                <a:cubicBezTo>
                  <a:pt x="5067537" y="3401504"/>
                  <a:pt x="5096490" y="3430456"/>
                  <a:pt x="5096490" y="3466170"/>
                </a:cubicBezTo>
                <a:cubicBezTo>
                  <a:pt x="5096490" y="3501884"/>
                  <a:pt x="5067537" y="3530836"/>
                  <a:pt x="5031826" y="3530836"/>
                </a:cubicBezTo>
                <a:cubicBezTo>
                  <a:pt x="4996106" y="3530836"/>
                  <a:pt x="4967156" y="3501884"/>
                  <a:pt x="4967156" y="3466170"/>
                </a:cubicBezTo>
                <a:cubicBezTo>
                  <a:pt x="4967156" y="3430456"/>
                  <a:pt x="4996106" y="3401504"/>
                  <a:pt x="5031826" y="3401504"/>
                </a:cubicBezTo>
                <a:close/>
                <a:moveTo>
                  <a:pt x="2698926" y="3401504"/>
                </a:moveTo>
                <a:cubicBezTo>
                  <a:pt x="2734638" y="3401504"/>
                  <a:pt x="2763588" y="3430456"/>
                  <a:pt x="2763588" y="3466170"/>
                </a:cubicBezTo>
                <a:cubicBezTo>
                  <a:pt x="2763588" y="3501884"/>
                  <a:pt x="2734638" y="3530836"/>
                  <a:pt x="2698926" y="3530836"/>
                </a:cubicBezTo>
                <a:cubicBezTo>
                  <a:pt x="2663214" y="3530836"/>
                  <a:pt x="2634264" y="3501884"/>
                  <a:pt x="2634264" y="3466170"/>
                </a:cubicBezTo>
                <a:cubicBezTo>
                  <a:pt x="2634264" y="3430456"/>
                  <a:pt x="2663214" y="3401504"/>
                  <a:pt x="2698926" y="3401504"/>
                </a:cubicBezTo>
                <a:close/>
                <a:moveTo>
                  <a:pt x="2546275" y="3401504"/>
                </a:moveTo>
                <a:cubicBezTo>
                  <a:pt x="2581988" y="3401504"/>
                  <a:pt x="2610938" y="3430456"/>
                  <a:pt x="2610938" y="3466170"/>
                </a:cubicBezTo>
                <a:cubicBezTo>
                  <a:pt x="2610938" y="3501884"/>
                  <a:pt x="2581988" y="3530836"/>
                  <a:pt x="2546275" y="3530836"/>
                </a:cubicBezTo>
                <a:cubicBezTo>
                  <a:pt x="2510557" y="3530836"/>
                  <a:pt x="2481613" y="3501884"/>
                  <a:pt x="2481613" y="3466170"/>
                </a:cubicBezTo>
                <a:cubicBezTo>
                  <a:pt x="2481613" y="3430456"/>
                  <a:pt x="2510557" y="3401504"/>
                  <a:pt x="2546275" y="3401504"/>
                </a:cubicBezTo>
                <a:close/>
                <a:moveTo>
                  <a:pt x="9541123" y="3264501"/>
                </a:moveTo>
                <a:cubicBezTo>
                  <a:pt x="9576837" y="3264501"/>
                  <a:pt x="9605789" y="3293453"/>
                  <a:pt x="9605789" y="3329167"/>
                </a:cubicBezTo>
                <a:cubicBezTo>
                  <a:pt x="9605789" y="3364881"/>
                  <a:pt x="9576837" y="3393833"/>
                  <a:pt x="9541123" y="3393833"/>
                </a:cubicBezTo>
                <a:cubicBezTo>
                  <a:pt x="9505409" y="3393833"/>
                  <a:pt x="9476457" y="3364881"/>
                  <a:pt x="9476457" y="3329167"/>
                </a:cubicBezTo>
                <a:cubicBezTo>
                  <a:pt x="9476457" y="3293453"/>
                  <a:pt x="9505409" y="3264501"/>
                  <a:pt x="9541123" y="3264501"/>
                </a:cubicBezTo>
                <a:close/>
                <a:moveTo>
                  <a:pt x="9384550" y="3264501"/>
                </a:moveTo>
                <a:cubicBezTo>
                  <a:pt x="9420264" y="3264501"/>
                  <a:pt x="9449216" y="3293453"/>
                  <a:pt x="9449216" y="3329167"/>
                </a:cubicBezTo>
                <a:cubicBezTo>
                  <a:pt x="9449216" y="3364881"/>
                  <a:pt x="9420264" y="3393833"/>
                  <a:pt x="9384550" y="3393833"/>
                </a:cubicBezTo>
                <a:cubicBezTo>
                  <a:pt x="9348836" y="3393833"/>
                  <a:pt x="9319884" y="3364881"/>
                  <a:pt x="9319884" y="3329167"/>
                </a:cubicBezTo>
                <a:cubicBezTo>
                  <a:pt x="9319884" y="3293453"/>
                  <a:pt x="9348836" y="3264501"/>
                  <a:pt x="9384550" y="3264501"/>
                </a:cubicBezTo>
                <a:close/>
                <a:moveTo>
                  <a:pt x="9075317" y="3264501"/>
                </a:moveTo>
                <a:cubicBezTo>
                  <a:pt x="9111031" y="3264501"/>
                  <a:pt x="9139983" y="3293453"/>
                  <a:pt x="9139983" y="3329167"/>
                </a:cubicBezTo>
                <a:cubicBezTo>
                  <a:pt x="9139983" y="3364881"/>
                  <a:pt x="9111031" y="3393833"/>
                  <a:pt x="9075317" y="3393833"/>
                </a:cubicBezTo>
                <a:cubicBezTo>
                  <a:pt x="9039603" y="3393833"/>
                  <a:pt x="9010651" y="3364881"/>
                  <a:pt x="9010651" y="3329167"/>
                </a:cubicBezTo>
                <a:cubicBezTo>
                  <a:pt x="9010651" y="3293453"/>
                  <a:pt x="9039603" y="3264501"/>
                  <a:pt x="9075317" y="3264501"/>
                </a:cubicBezTo>
                <a:close/>
                <a:moveTo>
                  <a:pt x="8914829" y="3264501"/>
                </a:moveTo>
                <a:cubicBezTo>
                  <a:pt x="8950543" y="3264501"/>
                  <a:pt x="8979495" y="3293453"/>
                  <a:pt x="8979495" y="3329167"/>
                </a:cubicBezTo>
                <a:cubicBezTo>
                  <a:pt x="8979495" y="3364881"/>
                  <a:pt x="8950543" y="3393833"/>
                  <a:pt x="8914829" y="3393833"/>
                </a:cubicBezTo>
                <a:cubicBezTo>
                  <a:pt x="8879115" y="3393833"/>
                  <a:pt x="8850163" y="3364881"/>
                  <a:pt x="8850163" y="3329167"/>
                </a:cubicBezTo>
                <a:cubicBezTo>
                  <a:pt x="8850163" y="3293453"/>
                  <a:pt x="8879115" y="3264501"/>
                  <a:pt x="8914829" y="3264501"/>
                </a:cubicBezTo>
                <a:close/>
                <a:moveTo>
                  <a:pt x="8766086" y="3264501"/>
                </a:moveTo>
                <a:cubicBezTo>
                  <a:pt x="8801800" y="3264501"/>
                  <a:pt x="8830752" y="3293453"/>
                  <a:pt x="8830752" y="3329167"/>
                </a:cubicBezTo>
                <a:cubicBezTo>
                  <a:pt x="8830752" y="3364881"/>
                  <a:pt x="8801800" y="3393833"/>
                  <a:pt x="8766086" y="3393833"/>
                </a:cubicBezTo>
                <a:cubicBezTo>
                  <a:pt x="8730372" y="3393833"/>
                  <a:pt x="8701420" y="3364881"/>
                  <a:pt x="8701420" y="3329167"/>
                </a:cubicBezTo>
                <a:cubicBezTo>
                  <a:pt x="8701420" y="3293453"/>
                  <a:pt x="8730372" y="3264501"/>
                  <a:pt x="8766086" y="3264501"/>
                </a:cubicBezTo>
                <a:close/>
                <a:moveTo>
                  <a:pt x="8601683" y="3264501"/>
                </a:moveTo>
                <a:cubicBezTo>
                  <a:pt x="8637397" y="3264501"/>
                  <a:pt x="8666349" y="3293453"/>
                  <a:pt x="8666349" y="3329167"/>
                </a:cubicBezTo>
                <a:cubicBezTo>
                  <a:pt x="8666349" y="3364881"/>
                  <a:pt x="8637397" y="3393833"/>
                  <a:pt x="8601683" y="3393833"/>
                </a:cubicBezTo>
                <a:cubicBezTo>
                  <a:pt x="8565969" y="3393833"/>
                  <a:pt x="8537017" y="3364881"/>
                  <a:pt x="8537017" y="3329167"/>
                </a:cubicBezTo>
                <a:cubicBezTo>
                  <a:pt x="8537017" y="3293453"/>
                  <a:pt x="8565969" y="3264501"/>
                  <a:pt x="8601683" y="3264501"/>
                </a:cubicBezTo>
                <a:close/>
                <a:moveTo>
                  <a:pt x="8139792" y="3264501"/>
                </a:moveTo>
                <a:cubicBezTo>
                  <a:pt x="8175506" y="3264501"/>
                  <a:pt x="8204458" y="3293453"/>
                  <a:pt x="8204458" y="3329167"/>
                </a:cubicBezTo>
                <a:cubicBezTo>
                  <a:pt x="8204458" y="3364881"/>
                  <a:pt x="8175506" y="3393833"/>
                  <a:pt x="8139792" y="3393833"/>
                </a:cubicBezTo>
                <a:cubicBezTo>
                  <a:pt x="8104078" y="3393833"/>
                  <a:pt x="8075126" y="3364881"/>
                  <a:pt x="8075126" y="3329167"/>
                </a:cubicBezTo>
                <a:cubicBezTo>
                  <a:pt x="8075126" y="3293453"/>
                  <a:pt x="8104078" y="3264501"/>
                  <a:pt x="8139792" y="3264501"/>
                </a:cubicBezTo>
                <a:close/>
                <a:moveTo>
                  <a:pt x="7987133" y="3264501"/>
                </a:moveTo>
                <a:cubicBezTo>
                  <a:pt x="8022847" y="3264501"/>
                  <a:pt x="8051799" y="3293453"/>
                  <a:pt x="8051799" y="3329167"/>
                </a:cubicBezTo>
                <a:cubicBezTo>
                  <a:pt x="8051799" y="3364881"/>
                  <a:pt x="8022847" y="3393833"/>
                  <a:pt x="7987133" y="3393833"/>
                </a:cubicBezTo>
                <a:cubicBezTo>
                  <a:pt x="7951419" y="3393833"/>
                  <a:pt x="7922467" y="3364881"/>
                  <a:pt x="7922467" y="3329167"/>
                </a:cubicBezTo>
                <a:cubicBezTo>
                  <a:pt x="7922467" y="3293453"/>
                  <a:pt x="7951419" y="3264501"/>
                  <a:pt x="7987133" y="3264501"/>
                </a:cubicBezTo>
                <a:close/>
                <a:moveTo>
                  <a:pt x="7212096" y="3264501"/>
                </a:moveTo>
                <a:cubicBezTo>
                  <a:pt x="7247810" y="3264501"/>
                  <a:pt x="7276762" y="3293453"/>
                  <a:pt x="7276762" y="3329167"/>
                </a:cubicBezTo>
                <a:cubicBezTo>
                  <a:pt x="7276762" y="3364881"/>
                  <a:pt x="7247810" y="3393833"/>
                  <a:pt x="7212096" y="3393833"/>
                </a:cubicBezTo>
                <a:cubicBezTo>
                  <a:pt x="7176382" y="3393833"/>
                  <a:pt x="7147430" y="3364881"/>
                  <a:pt x="7147430" y="3329167"/>
                </a:cubicBezTo>
                <a:cubicBezTo>
                  <a:pt x="7147430" y="3293453"/>
                  <a:pt x="7176382" y="3264501"/>
                  <a:pt x="7212096" y="3264501"/>
                </a:cubicBezTo>
                <a:close/>
                <a:moveTo>
                  <a:pt x="7055523" y="3264501"/>
                </a:moveTo>
                <a:cubicBezTo>
                  <a:pt x="7091237" y="3264501"/>
                  <a:pt x="7120189" y="3293453"/>
                  <a:pt x="7120189" y="3329167"/>
                </a:cubicBezTo>
                <a:cubicBezTo>
                  <a:pt x="7120189" y="3364881"/>
                  <a:pt x="7091237" y="3393833"/>
                  <a:pt x="7055523" y="3393833"/>
                </a:cubicBezTo>
                <a:cubicBezTo>
                  <a:pt x="7019809" y="3393833"/>
                  <a:pt x="6990857" y="3364881"/>
                  <a:pt x="6990857" y="3329167"/>
                </a:cubicBezTo>
                <a:cubicBezTo>
                  <a:pt x="6990857" y="3293453"/>
                  <a:pt x="7019809" y="3264501"/>
                  <a:pt x="7055523" y="3264501"/>
                </a:cubicBezTo>
                <a:close/>
                <a:moveTo>
                  <a:pt x="6895037" y="3264501"/>
                </a:moveTo>
                <a:cubicBezTo>
                  <a:pt x="6930751" y="3264501"/>
                  <a:pt x="6959703" y="3293453"/>
                  <a:pt x="6959703" y="3329167"/>
                </a:cubicBezTo>
                <a:cubicBezTo>
                  <a:pt x="6959703" y="3364881"/>
                  <a:pt x="6930751" y="3393833"/>
                  <a:pt x="6895037" y="3393833"/>
                </a:cubicBezTo>
                <a:cubicBezTo>
                  <a:pt x="6859323" y="3393833"/>
                  <a:pt x="6830371" y="3364881"/>
                  <a:pt x="6830371" y="3329167"/>
                </a:cubicBezTo>
                <a:cubicBezTo>
                  <a:pt x="6830371" y="3293453"/>
                  <a:pt x="6859323" y="3264501"/>
                  <a:pt x="6895037" y="3264501"/>
                </a:cubicBezTo>
                <a:close/>
                <a:moveTo>
                  <a:pt x="6585802" y="3264501"/>
                </a:moveTo>
                <a:cubicBezTo>
                  <a:pt x="6621516" y="3264501"/>
                  <a:pt x="6650468" y="3293453"/>
                  <a:pt x="6650468" y="3329167"/>
                </a:cubicBezTo>
                <a:cubicBezTo>
                  <a:pt x="6650468" y="3364881"/>
                  <a:pt x="6621516" y="3393833"/>
                  <a:pt x="6585802" y="3393833"/>
                </a:cubicBezTo>
                <a:cubicBezTo>
                  <a:pt x="6550088" y="3393833"/>
                  <a:pt x="6521136" y="3364881"/>
                  <a:pt x="6521136" y="3329167"/>
                </a:cubicBezTo>
                <a:cubicBezTo>
                  <a:pt x="6521136" y="3293453"/>
                  <a:pt x="6550088" y="3264501"/>
                  <a:pt x="6585802" y="3264501"/>
                </a:cubicBezTo>
                <a:close/>
                <a:moveTo>
                  <a:pt x="6429229" y="3264501"/>
                </a:moveTo>
                <a:cubicBezTo>
                  <a:pt x="6464943" y="3264501"/>
                  <a:pt x="6493895" y="3293453"/>
                  <a:pt x="6493895" y="3329167"/>
                </a:cubicBezTo>
                <a:cubicBezTo>
                  <a:pt x="6493895" y="3364881"/>
                  <a:pt x="6464943" y="3393833"/>
                  <a:pt x="6429229" y="3393833"/>
                </a:cubicBezTo>
                <a:cubicBezTo>
                  <a:pt x="6393515" y="3393833"/>
                  <a:pt x="6364563" y="3364881"/>
                  <a:pt x="6364563" y="3329167"/>
                </a:cubicBezTo>
                <a:cubicBezTo>
                  <a:pt x="6364563" y="3293453"/>
                  <a:pt x="6393515" y="3264501"/>
                  <a:pt x="6429229" y="3264501"/>
                </a:cubicBezTo>
                <a:close/>
                <a:moveTo>
                  <a:pt x="6276571" y="3264501"/>
                </a:moveTo>
                <a:cubicBezTo>
                  <a:pt x="6312285" y="3264501"/>
                  <a:pt x="6341237" y="3293453"/>
                  <a:pt x="6341237" y="3329167"/>
                </a:cubicBezTo>
                <a:cubicBezTo>
                  <a:pt x="6341237" y="3364881"/>
                  <a:pt x="6312285" y="3393833"/>
                  <a:pt x="6276571" y="3393833"/>
                </a:cubicBezTo>
                <a:cubicBezTo>
                  <a:pt x="6240857" y="3393833"/>
                  <a:pt x="6211905" y="3364881"/>
                  <a:pt x="6211905" y="3329167"/>
                </a:cubicBezTo>
                <a:cubicBezTo>
                  <a:pt x="6211905" y="3293453"/>
                  <a:pt x="6240857" y="3264501"/>
                  <a:pt x="6276571" y="3264501"/>
                </a:cubicBezTo>
                <a:close/>
                <a:moveTo>
                  <a:pt x="6119999" y="3264501"/>
                </a:moveTo>
                <a:cubicBezTo>
                  <a:pt x="6155713" y="3264501"/>
                  <a:pt x="6184665" y="3293453"/>
                  <a:pt x="6184665" y="3329167"/>
                </a:cubicBezTo>
                <a:cubicBezTo>
                  <a:pt x="6184665" y="3364881"/>
                  <a:pt x="6155713" y="3393833"/>
                  <a:pt x="6119999" y="3393833"/>
                </a:cubicBezTo>
                <a:cubicBezTo>
                  <a:pt x="6084285" y="3393833"/>
                  <a:pt x="6055333" y="3364881"/>
                  <a:pt x="6055333" y="3329167"/>
                </a:cubicBezTo>
                <a:cubicBezTo>
                  <a:pt x="6055333" y="3293453"/>
                  <a:pt x="6084285" y="3264501"/>
                  <a:pt x="6119999" y="3264501"/>
                </a:cubicBezTo>
                <a:close/>
                <a:moveTo>
                  <a:pt x="5967338" y="3264501"/>
                </a:moveTo>
                <a:cubicBezTo>
                  <a:pt x="6003052" y="3264501"/>
                  <a:pt x="6032004" y="3293453"/>
                  <a:pt x="6032004" y="3329167"/>
                </a:cubicBezTo>
                <a:cubicBezTo>
                  <a:pt x="6032004" y="3364881"/>
                  <a:pt x="6003052" y="3393833"/>
                  <a:pt x="5967338" y="3393833"/>
                </a:cubicBezTo>
                <a:cubicBezTo>
                  <a:pt x="5931624" y="3393833"/>
                  <a:pt x="5902672" y="3364881"/>
                  <a:pt x="5902672" y="3329167"/>
                </a:cubicBezTo>
                <a:cubicBezTo>
                  <a:pt x="5902672" y="3293453"/>
                  <a:pt x="5931624" y="3264501"/>
                  <a:pt x="5967338" y="3264501"/>
                </a:cubicBezTo>
                <a:close/>
                <a:moveTo>
                  <a:pt x="5810780" y="3264501"/>
                </a:moveTo>
                <a:cubicBezTo>
                  <a:pt x="5846479" y="3264501"/>
                  <a:pt x="5875431" y="3293453"/>
                  <a:pt x="5875431" y="3329167"/>
                </a:cubicBezTo>
                <a:cubicBezTo>
                  <a:pt x="5875431" y="3364881"/>
                  <a:pt x="5846479" y="3393833"/>
                  <a:pt x="5810780" y="3393833"/>
                </a:cubicBezTo>
                <a:cubicBezTo>
                  <a:pt x="5775061" y="3393833"/>
                  <a:pt x="5746106" y="3364881"/>
                  <a:pt x="5746106" y="3329167"/>
                </a:cubicBezTo>
                <a:cubicBezTo>
                  <a:pt x="5746106" y="3293453"/>
                  <a:pt x="5775061" y="3264501"/>
                  <a:pt x="5810780" y="3264501"/>
                </a:cubicBezTo>
                <a:close/>
                <a:moveTo>
                  <a:pt x="5658107" y="3264501"/>
                </a:moveTo>
                <a:cubicBezTo>
                  <a:pt x="5693821" y="3264501"/>
                  <a:pt x="5722777" y="3293453"/>
                  <a:pt x="5722777" y="3329167"/>
                </a:cubicBezTo>
                <a:cubicBezTo>
                  <a:pt x="5722777" y="3364881"/>
                  <a:pt x="5693821" y="3393833"/>
                  <a:pt x="5658107" y="3393833"/>
                </a:cubicBezTo>
                <a:cubicBezTo>
                  <a:pt x="5622394" y="3393833"/>
                  <a:pt x="5593441" y="3364881"/>
                  <a:pt x="5593441" y="3329167"/>
                </a:cubicBezTo>
                <a:cubicBezTo>
                  <a:pt x="5593441" y="3293453"/>
                  <a:pt x="5622394" y="3264501"/>
                  <a:pt x="5658107" y="3264501"/>
                </a:cubicBezTo>
                <a:close/>
                <a:moveTo>
                  <a:pt x="5501536" y="3264501"/>
                </a:moveTo>
                <a:cubicBezTo>
                  <a:pt x="5537252" y="3264501"/>
                  <a:pt x="5566202" y="3293453"/>
                  <a:pt x="5566202" y="3329167"/>
                </a:cubicBezTo>
                <a:cubicBezTo>
                  <a:pt x="5566202" y="3364881"/>
                  <a:pt x="5537252" y="3393833"/>
                  <a:pt x="5501536" y="3393833"/>
                </a:cubicBezTo>
                <a:cubicBezTo>
                  <a:pt x="5465823" y="3393833"/>
                  <a:pt x="5436876" y="3364881"/>
                  <a:pt x="5436876" y="3329167"/>
                </a:cubicBezTo>
                <a:cubicBezTo>
                  <a:pt x="5436876" y="3293453"/>
                  <a:pt x="5465823" y="3264501"/>
                  <a:pt x="5501536" y="3264501"/>
                </a:cubicBezTo>
                <a:close/>
                <a:moveTo>
                  <a:pt x="5348883" y="3264501"/>
                </a:moveTo>
                <a:cubicBezTo>
                  <a:pt x="5384594" y="3264501"/>
                  <a:pt x="5413547" y="3293453"/>
                  <a:pt x="5413547" y="3329167"/>
                </a:cubicBezTo>
                <a:cubicBezTo>
                  <a:pt x="5413547" y="3364881"/>
                  <a:pt x="5384594" y="3393833"/>
                  <a:pt x="5348883" y="3393833"/>
                </a:cubicBezTo>
                <a:cubicBezTo>
                  <a:pt x="5313173" y="3393833"/>
                  <a:pt x="5284218" y="3364881"/>
                  <a:pt x="5284218" y="3329167"/>
                </a:cubicBezTo>
                <a:cubicBezTo>
                  <a:pt x="5284218" y="3293453"/>
                  <a:pt x="5313173" y="3264501"/>
                  <a:pt x="5348883" y="3264501"/>
                </a:cubicBezTo>
                <a:close/>
                <a:moveTo>
                  <a:pt x="5192310" y="3264501"/>
                </a:moveTo>
                <a:cubicBezTo>
                  <a:pt x="5228024" y="3264501"/>
                  <a:pt x="5256973" y="3293453"/>
                  <a:pt x="5256973" y="3329167"/>
                </a:cubicBezTo>
                <a:cubicBezTo>
                  <a:pt x="5256973" y="3364881"/>
                  <a:pt x="5228024" y="3393833"/>
                  <a:pt x="5192310" y="3393833"/>
                </a:cubicBezTo>
                <a:cubicBezTo>
                  <a:pt x="5156599" y="3393833"/>
                  <a:pt x="5127643" y="3364881"/>
                  <a:pt x="5127643" y="3329167"/>
                </a:cubicBezTo>
                <a:cubicBezTo>
                  <a:pt x="5127643" y="3293453"/>
                  <a:pt x="5156599" y="3264501"/>
                  <a:pt x="5192310" y="3264501"/>
                </a:cubicBezTo>
                <a:close/>
                <a:moveTo>
                  <a:pt x="5031828" y="3264501"/>
                </a:moveTo>
                <a:cubicBezTo>
                  <a:pt x="5067537" y="3264501"/>
                  <a:pt x="5096490" y="3293453"/>
                  <a:pt x="5096490" y="3329167"/>
                </a:cubicBezTo>
                <a:cubicBezTo>
                  <a:pt x="5096490" y="3364881"/>
                  <a:pt x="5067537" y="3393833"/>
                  <a:pt x="5031828" y="3393833"/>
                </a:cubicBezTo>
                <a:cubicBezTo>
                  <a:pt x="4996106" y="3393833"/>
                  <a:pt x="4967156" y="3364881"/>
                  <a:pt x="4967156" y="3329167"/>
                </a:cubicBezTo>
                <a:cubicBezTo>
                  <a:pt x="4967156" y="3293453"/>
                  <a:pt x="4996106" y="3264501"/>
                  <a:pt x="5031828" y="3264501"/>
                </a:cubicBezTo>
                <a:close/>
                <a:moveTo>
                  <a:pt x="3172560" y="3264501"/>
                </a:moveTo>
                <a:cubicBezTo>
                  <a:pt x="3208276" y="3264501"/>
                  <a:pt x="3237227" y="3293453"/>
                  <a:pt x="3237227" y="3329167"/>
                </a:cubicBezTo>
                <a:cubicBezTo>
                  <a:pt x="3237227" y="3364881"/>
                  <a:pt x="3208276" y="3393833"/>
                  <a:pt x="3172560" y="3393833"/>
                </a:cubicBezTo>
                <a:cubicBezTo>
                  <a:pt x="3136842" y="3393833"/>
                  <a:pt x="3107886" y="3364881"/>
                  <a:pt x="3107886" y="3329167"/>
                </a:cubicBezTo>
                <a:cubicBezTo>
                  <a:pt x="3107886" y="3293453"/>
                  <a:pt x="3136842" y="3264501"/>
                  <a:pt x="3172560" y="3264501"/>
                </a:cubicBezTo>
                <a:close/>
                <a:moveTo>
                  <a:pt x="2546279" y="3264501"/>
                </a:moveTo>
                <a:cubicBezTo>
                  <a:pt x="2581993" y="3264501"/>
                  <a:pt x="2610943" y="3293453"/>
                  <a:pt x="2610943" y="3329167"/>
                </a:cubicBezTo>
                <a:cubicBezTo>
                  <a:pt x="2610943" y="3364881"/>
                  <a:pt x="2581993" y="3393833"/>
                  <a:pt x="2546279" y="3393833"/>
                </a:cubicBezTo>
                <a:cubicBezTo>
                  <a:pt x="2510563" y="3393833"/>
                  <a:pt x="2481617" y="3364881"/>
                  <a:pt x="2481617" y="3329167"/>
                </a:cubicBezTo>
                <a:cubicBezTo>
                  <a:pt x="2481617" y="3293453"/>
                  <a:pt x="2510563" y="3264501"/>
                  <a:pt x="2546279" y="3264501"/>
                </a:cubicBezTo>
                <a:close/>
                <a:moveTo>
                  <a:pt x="2389697" y="3264501"/>
                </a:moveTo>
                <a:cubicBezTo>
                  <a:pt x="2425429" y="3264501"/>
                  <a:pt x="2454380" y="3293453"/>
                  <a:pt x="2454380" y="3329167"/>
                </a:cubicBezTo>
                <a:cubicBezTo>
                  <a:pt x="2454380" y="3364881"/>
                  <a:pt x="2425429" y="3393833"/>
                  <a:pt x="2389697" y="3393833"/>
                </a:cubicBezTo>
                <a:cubicBezTo>
                  <a:pt x="2354000" y="3393833"/>
                  <a:pt x="2325045" y="3364881"/>
                  <a:pt x="2325045" y="3329167"/>
                </a:cubicBezTo>
                <a:cubicBezTo>
                  <a:pt x="2325045" y="3293453"/>
                  <a:pt x="2354000" y="3264501"/>
                  <a:pt x="2389697" y="3264501"/>
                </a:cubicBezTo>
                <a:close/>
                <a:moveTo>
                  <a:pt x="2237042" y="3264501"/>
                </a:moveTo>
                <a:cubicBezTo>
                  <a:pt x="2272760" y="3264501"/>
                  <a:pt x="2301715" y="3293453"/>
                  <a:pt x="2301715" y="3329167"/>
                </a:cubicBezTo>
                <a:cubicBezTo>
                  <a:pt x="2301715" y="3364881"/>
                  <a:pt x="2272760" y="3393833"/>
                  <a:pt x="2237042" y="3393833"/>
                </a:cubicBezTo>
                <a:cubicBezTo>
                  <a:pt x="2201324" y="3393833"/>
                  <a:pt x="2172369" y="3364881"/>
                  <a:pt x="2172369" y="3329167"/>
                </a:cubicBezTo>
                <a:cubicBezTo>
                  <a:pt x="2172369" y="3293453"/>
                  <a:pt x="2201324" y="3264501"/>
                  <a:pt x="2237042" y="3264501"/>
                </a:cubicBezTo>
                <a:close/>
                <a:moveTo>
                  <a:pt x="2084374" y="3264501"/>
                </a:moveTo>
                <a:cubicBezTo>
                  <a:pt x="2120086" y="3264501"/>
                  <a:pt x="2149037" y="3293453"/>
                  <a:pt x="2149037" y="3329167"/>
                </a:cubicBezTo>
                <a:cubicBezTo>
                  <a:pt x="2149037" y="3364881"/>
                  <a:pt x="2120086" y="3393833"/>
                  <a:pt x="2084374" y="3393833"/>
                </a:cubicBezTo>
                <a:cubicBezTo>
                  <a:pt x="2048653" y="3393833"/>
                  <a:pt x="2019717" y="3364881"/>
                  <a:pt x="2019717" y="3329167"/>
                </a:cubicBezTo>
                <a:cubicBezTo>
                  <a:pt x="2019717" y="3293453"/>
                  <a:pt x="2048653" y="3264501"/>
                  <a:pt x="2084374" y="3264501"/>
                </a:cubicBezTo>
                <a:close/>
                <a:moveTo>
                  <a:pt x="8914829" y="3131417"/>
                </a:moveTo>
                <a:cubicBezTo>
                  <a:pt x="8950543" y="3131417"/>
                  <a:pt x="8979495" y="3160369"/>
                  <a:pt x="8979495" y="3196083"/>
                </a:cubicBezTo>
                <a:cubicBezTo>
                  <a:pt x="8979495" y="3231797"/>
                  <a:pt x="8950543" y="3260749"/>
                  <a:pt x="8914829" y="3260749"/>
                </a:cubicBezTo>
                <a:cubicBezTo>
                  <a:pt x="8879115" y="3260749"/>
                  <a:pt x="8850163" y="3231797"/>
                  <a:pt x="8850163" y="3196083"/>
                </a:cubicBezTo>
                <a:cubicBezTo>
                  <a:pt x="8850163" y="3160369"/>
                  <a:pt x="8879115" y="3131417"/>
                  <a:pt x="8914829" y="3131417"/>
                </a:cubicBezTo>
                <a:close/>
                <a:moveTo>
                  <a:pt x="8766086" y="3131417"/>
                </a:moveTo>
                <a:cubicBezTo>
                  <a:pt x="8801800" y="3131417"/>
                  <a:pt x="8830752" y="3160369"/>
                  <a:pt x="8830752" y="3196083"/>
                </a:cubicBezTo>
                <a:cubicBezTo>
                  <a:pt x="8830752" y="3231797"/>
                  <a:pt x="8801800" y="3260749"/>
                  <a:pt x="8766086" y="3260749"/>
                </a:cubicBezTo>
                <a:cubicBezTo>
                  <a:pt x="8730372" y="3260749"/>
                  <a:pt x="8701420" y="3231797"/>
                  <a:pt x="8701420" y="3196083"/>
                </a:cubicBezTo>
                <a:cubicBezTo>
                  <a:pt x="8701420" y="3160369"/>
                  <a:pt x="8730372" y="3131417"/>
                  <a:pt x="8766086" y="3131417"/>
                </a:cubicBezTo>
                <a:close/>
                <a:moveTo>
                  <a:pt x="8601683" y="3131417"/>
                </a:moveTo>
                <a:cubicBezTo>
                  <a:pt x="8637397" y="3131417"/>
                  <a:pt x="8666349" y="3160369"/>
                  <a:pt x="8666349" y="3196083"/>
                </a:cubicBezTo>
                <a:cubicBezTo>
                  <a:pt x="8666349" y="3231797"/>
                  <a:pt x="8637397" y="3260749"/>
                  <a:pt x="8601683" y="3260749"/>
                </a:cubicBezTo>
                <a:cubicBezTo>
                  <a:pt x="8565969" y="3260749"/>
                  <a:pt x="8537017" y="3231797"/>
                  <a:pt x="8537017" y="3196083"/>
                </a:cubicBezTo>
                <a:cubicBezTo>
                  <a:pt x="8537017" y="3160369"/>
                  <a:pt x="8565969" y="3131417"/>
                  <a:pt x="8601683" y="3131417"/>
                </a:cubicBezTo>
                <a:close/>
                <a:moveTo>
                  <a:pt x="8296367" y="3131417"/>
                </a:moveTo>
                <a:cubicBezTo>
                  <a:pt x="8332081" y="3131417"/>
                  <a:pt x="8361033" y="3160369"/>
                  <a:pt x="8361033" y="3196083"/>
                </a:cubicBezTo>
                <a:cubicBezTo>
                  <a:pt x="8361033" y="3231797"/>
                  <a:pt x="8332081" y="3260749"/>
                  <a:pt x="8296367" y="3260749"/>
                </a:cubicBezTo>
                <a:cubicBezTo>
                  <a:pt x="8260653" y="3260749"/>
                  <a:pt x="8231701" y="3231797"/>
                  <a:pt x="8231701" y="3196083"/>
                </a:cubicBezTo>
                <a:cubicBezTo>
                  <a:pt x="8231701" y="3160369"/>
                  <a:pt x="8260653" y="3131417"/>
                  <a:pt x="8296367" y="3131417"/>
                </a:cubicBezTo>
                <a:close/>
                <a:moveTo>
                  <a:pt x="8139792" y="3131417"/>
                </a:moveTo>
                <a:cubicBezTo>
                  <a:pt x="8175506" y="3131417"/>
                  <a:pt x="8204458" y="3160369"/>
                  <a:pt x="8204458" y="3196083"/>
                </a:cubicBezTo>
                <a:cubicBezTo>
                  <a:pt x="8204458" y="3231797"/>
                  <a:pt x="8175506" y="3260749"/>
                  <a:pt x="8139792" y="3260749"/>
                </a:cubicBezTo>
                <a:cubicBezTo>
                  <a:pt x="8104078" y="3260749"/>
                  <a:pt x="8075126" y="3231797"/>
                  <a:pt x="8075126" y="3196083"/>
                </a:cubicBezTo>
                <a:cubicBezTo>
                  <a:pt x="8075126" y="3160369"/>
                  <a:pt x="8104078" y="3131417"/>
                  <a:pt x="8139792" y="3131417"/>
                </a:cubicBezTo>
                <a:close/>
                <a:moveTo>
                  <a:pt x="7987133" y="3131417"/>
                </a:moveTo>
                <a:cubicBezTo>
                  <a:pt x="8022847" y="3131417"/>
                  <a:pt x="8051799" y="3160369"/>
                  <a:pt x="8051799" y="3196083"/>
                </a:cubicBezTo>
                <a:cubicBezTo>
                  <a:pt x="8051799" y="3231797"/>
                  <a:pt x="8022847" y="3260749"/>
                  <a:pt x="7987133" y="3260749"/>
                </a:cubicBezTo>
                <a:cubicBezTo>
                  <a:pt x="7951419" y="3260749"/>
                  <a:pt x="7922467" y="3231797"/>
                  <a:pt x="7922467" y="3196083"/>
                </a:cubicBezTo>
                <a:cubicBezTo>
                  <a:pt x="7922467" y="3160369"/>
                  <a:pt x="7951419" y="3131417"/>
                  <a:pt x="7987133" y="3131417"/>
                </a:cubicBezTo>
                <a:close/>
                <a:moveTo>
                  <a:pt x="7830562" y="3131417"/>
                </a:moveTo>
                <a:cubicBezTo>
                  <a:pt x="7866276" y="3131417"/>
                  <a:pt x="7895228" y="3160369"/>
                  <a:pt x="7895228" y="3196083"/>
                </a:cubicBezTo>
                <a:cubicBezTo>
                  <a:pt x="7895228" y="3231797"/>
                  <a:pt x="7866276" y="3260749"/>
                  <a:pt x="7830562" y="3260749"/>
                </a:cubicBezTo>
                <a:cubicBezTo>
                  <a:pt x="7794848" y="3260749"/>
                  <a:pt x="7765896" y="3231797"/>
                  <a:pt x="7765896" y="3196083"/>
                </a:cubicBezTo>
                <a:cubicBezTo>
                  <a:pt x="7765896" y="3160369"/>
                  <a:pt x="7794848" y="3131417"/>
                  <a:pt x="7830562" y="3131417"/>
                </a:cubicBezTo>
                <a:close/>
                <a:moveTo>
                  <a:pt x="7368669" y="3131417"/>
                </a:moveTo>
                <a:cubicBezTo>
                  <a:pt x="7404383" y="3131417"/>
                  <a:pt x="7433335" y="3160369"/>
                  <a:pt x="7433335" y="3196083"/>
                </a:cubicBezTo>
                <a:cubicBezTo>
                  <a:pt x="7433335" y="3231797"/>
                  <a:pt x="7404383" y="3260749"/>
                  <a:pt x="7368669" y="3260749"/>
                </a:cubicBezTo>
                <a:cubicBezTo>
                  <a:pt x="7332955" y="3260749"/>
                  <a:pt x="7304003" y="3231797"/>
                  <a:pt x="7304003" y="3196083"/>
                </a:cubicBezTo>
                <a:cubicBezTo>
                  <a:pt x="7304003" y="3160369"/>
                  <a:pt x="7332955" y="3131417"/>
                  <a:pt x="7368669" y="3131417"/>
                </a:cubicBezTo>
                <a:close/>
                <a:moveTo>
                  <a:pt x="7212096" y="3131417"/>
                </a:moveTo>
                <a:cubicBezTo>
                  <a:pt x="7247810" y="3131417"/>
                  <a:pt x="7276762" y="3160369"/>
                  <a:pt x="7276762" y="3196083"/>
                </a:cubicBezTo>
                <a:cubicBezTo>
                  <a:pt x="7276762" y="3231797"/>
                  <a:pt x="7247810" y="3260749"/>
                  <a:pt x="7212096" y="3260749"/>
                </a:cubicBezTo>
                <a:cubicBezTo>
                  <a:pt x="7176382" y="3260749"/>
                  <a:pt x="7147430" y="3231797"/>
                  <a:pt x="7147430" y="3196083"/>
                </a:cubicBezTo>
                <a:cubicBezTo>
                  <a:pt x="7147430" y="3160369"/>
                  <a:pt x="7176382" y="3131417"/>
                  <a:pt x="7212096" y="3131417"/>
                </a:cubicBezTo>
                <a:close/>
                <a:moveTo>
                  <a:pt x="7055523" y="3131417"/>
                </a:moveTo>
                <a:cubicBezTo>
                  <a:pt x="7091237" y="3131417"/>
                  <a:pt x="7120189" y="3160369"/>
                  <a:pt x="7120189" y="3196083"/>
                </a:cubicBezTo>
                <a:cubicBezTo>
                  <a:pt x="7120189" y="3231797"/>
                  <a:pt x="7091237" y="3260749"/>
                  <a:pt x="7055523" y="3260749"/>
                </a:cubicBezTo>
                <a:cubicBezTo>
                  <a:pt x="7019809" y="3260749"/>
                  <a:pt x="6990857" y="3231797"/>
                  <a:pt x="6990857" y="3196083"/>
                </a:cubicBezTo>
                <a:cubicBezTo>
                  <a:pt x="6990857" y="3160369"/>
                  <a:pt x="7019809" y="3131417"/>
                  <a:pt x="7055523" y="3131417"/>
                </a:cubicBezTo>
                <a:close/>
                <a:moveTo>
                  <a:pt x="6895037" y="3131417"/>
                </a:moveTo>
                <a:cubicBezTo>
                  <a:pt x="6930751" y="3131417"/>
                  <a:pt x="6959703" y="3160369"/>
                  <a:pt x="6959703" y="3196083"/>
                </a:cubicBezTo>
                <a:cubicBezTo>
                  <a:pt x="6959703" y="3231797"/>
                  <a:pt x="6930751" y="3260749"/>
                  <a:pt x="6895037" y="3260749"/>
                </a:cubicBezTo>
                <a:cubicBezTo>
                  <a:pt x="6859323" y="3260749"/>
                  <a:pt x="6830371" y="3231797"/>
                  <a:pt x="6830371" y="3196083"/>
                </a:cubicBezTo>
                <a:cubicBezTo>
                  <a:pt x="6830371" y="3160369"/>
                  <a:pt x="6859323" y="3131417"/>
                  <a:pt x="6895037" y="3131417"/>
                </a:cubicBezTo>
                <a:close/>
                <a:moveTo>
                  <a:pt x="6585802" y="3131417"/>
                </a:moveTo>
                <a:cubicBezTo>
                  <a:pt x="6621516" y="3131417"/>
                  <a:pt x="6650468" y="3160369"/>
                  <a:pt x="6650468" y="3196083"/>
                </a:cubicBezTo>
                <a:cubicBezTo>
                  <a:pt x="6650468" y="3231797"/>
                  <a:pt x="6621516" y="3260749"/>
                  <a:pt x="6585802" y="3260749"/>
                </a:cubicBezTo>
                <a:cubicBezTo>
                  <a:pt x="6550088" y="3260749"/>
                  <a:pt x="6521136" y="3231797"/>
                  <a:pt x="6521136" y="3196083"/>
                </a:cubicBezTo>
                <a:cubicBezTo>
                  <a:pt x="6521136" y="3160369"/>
                  <a:pt x="6550088" y="3131417"/>
                  <a:pt x="6585802" y="3131417"/>
                </a:cubicBezTo>
                <a:close/>
                <a:moveTo>
                  <a:pt x="6429229" y="3131417"/>
                </a:moveTo>
                <a:cubicBezTo>
                  <a:pt x="6464943" y="3131417"/>
                  <a:pt x="6493895" y="3160369"/>
                  <a:pt x="6493895" y="3196083"/>
                </a:cubicBezTo>
                <a:cubicBezTo>
                  <a:pt x="6493895" y="3231797"/>
                  <a:pt x="6464943" y="3260749"/>
                  <a:pt x="6429229" y="3260749"/>
                </a:cubicBezTo>
                <a:cubicBezTo>
                  <a:pt x="6393515" y="3260749"/>
                  <a:pt x="6364563" y="3231797"/>
                  <a:pt x="6364563" y="3196083"/>
                </a:cubicBezTo>
                <a:cubicBezTo>
                  <a:pt x="6364563" y="3160369"/>
                  <a:pt x="6393515" y="3131417"/>
                  <a:pt x="6429229" y="3131417"/>
                </a:cubicBezTo>
                <a:close/>
                <a:moveTo>
                  <a:pt x="6276571" y="3131417"/>
                </a:moveTo>
                <a:cubicBezTo>
                  <a:pt x="6312285" y="3131417"/>
                  <a:pt x="6341237" y="3160369"/>
                  <a:pt x="6341237" y="3196083"/>
                </a:cubicBezTo>
                <a:cubicBezTo>
                  <a:pt x="6341237" y="3231797"/>
                  <a:pt x="6312285" y="3260749"/>
                  <a:pt x="6276571" y="3260749"/>
                </a:cubicBezTo>
                <a:cubicBezTo>
                  <a:pt x="6240857" y="3260749"/>
                  <a:pt x="6211905" y="3231797"/>
                  <a:pt x="6211905" y="3196083"/>
                </a:cubicBezTo>
                <a:cubicBezTo>
                  <a:pt x="6211905" y="3160369"/>
                  <a:pt x="6240857" y="3131417"/>
                  <a:pt x="6276571" y="3131417"/>
                </a:cubicBezTo>
                <a:close/>
                <a:moveTo>
                  <a:pt x="6119999" y="3131417"/>
                </a:moveTo>
                <a:cubicBezTo>
                  <a:pt x="6155713" y="3131417"/>
                  <a:pt x="6184665" y="3160369"/>
                  <a:pt x="6184665" y="3196083"/>
                </a:cubicBezTo>
                <a:cubicBezTo>
                  <a:pt x="6184665" y="3231797"/>
                  <a:pt x="6155713" y="3260749"/>
                  <a:pt x="6119999" y="3260749"/>
                </a:cubicBezTo>
                <a:cubicBezTo>
                  <a:pt x="6084285" y="3260749"/>
                  <a:pt x="6055333" y="3231797"/>
                  <a:pt x="6055333" y="3196083"/>
                </a:cubicBezTo>
                <a:cubicBezTo>
                  <a:pt x="6055333" y="3160369"/>
                  <a:pt x="6084285" y="3131417"/>
                  <a:pt x="6119999" y="3131417"/>
                </a:cubicBezTo>
                <a:close/>
                <a:moveTo>
                  <a:pt x="5967338" y="3131417"/>
                </a:moveTo>
                <a:cubicBezTo>
                  <a:pt x="6003052" y="3131417"/>
                  <a:pt x="6032004" y="3160369"/>
                  <a:pt x="6032004" y="3196083"/>
                </a:cubicBezTo>
                <a:cubicBezTo>
                  <a:pt x="6032004" y="3231797"/>
                  <a:pt x="6003052" y="3260749"/>
                  <a:pt x="5967338" y="3260749"/>
                </a:cubicBezTo>
                <a:cubicBezTo>
                  <a:pt x="5931624" y="3260749"/>
                  <a:pt x="5902672" y="3231797"/>
                  <a:pt x="5902672" y="3196083"/>
                </a:cubicBezTo>
                <a:cubicBezTo>
                  <a:pt x="5902672" y="3160369"/>
                  <a:pt x="5931624" y="3131417"/>
                  <a:pt x="5967338" y="3131417"/>
                </a:cubicBezTo>
                <a:close/>
                <a:moveTo>
                  <a:pt x="5810780" y="3131417"/>
                </a:moveTo>
                <a:cubicBezTo>
                  <a:pt x="5846479" y="3131417"/>
                  <a:pt x="5875431" y="3160369"/>
                  <a:pt x="5875431" y="3196083"/>
                </a:cubicBezTo>
                <a:cubicBezTo>
                  <a:pt x="5875431" y="3231797"/>
                  <a:pt x="5846479" y="3260749"/>
                  <a:pt x="5810780" y="3260749"/>
                </a:cubicBezTo>
                <a:cubicBezTo>
                  <a:pt x="5775061" y="3260749"/>
                  <a:pt x="5746108" y="3231797"/>
                  <a:pt x="5746108" y="3196083"/>
                </a:cubicBezTo>
                <a:cubicBezTo>
                  <a:pt x="5746108" y="3160369"/>
                  <a:pt x="5775061" y="3131417"/>
                  <a:pt x="5810780" y="3131417"/>
                </a:cubicBezTo>
                <a:close/>
                <a:moveTo>
                  <a:pt x="5658107" y="3131417"/>
                </a:moveTo>
                <a:cubicBezTo>
                  <a:pt x="5693821" y="3131417"/>
                  <a:pt x="5722777" y="3160369"/>
                  <a:pt x="5722777" y="3196083"/>
                </a:cubicBezTo>
                <a:cubicBezTo>
                  <a:pt x="5722777" y="3231797"/>
                  <a:pt x="5693821" y="3260749"/>
                  <a:pt x="5658107" y="3260749"/>
                </a:cubicBezTo>
                <a:cubicBezTo>
                  <a:pt x="5622394" y="3260749"/>
                  <a:pt x="5593441" y="3231797"/>
                  <a:pt x="5593441" y="3196083"/>
                </a:cubicBezTo>
                <a:cubicBezTo>
                  <a:pt x="5593441" y="3160369"/>
                  <a:pt x="5622394" y="3131417"/>
                  <a:pt x="5658107" y="3131417"/>
                </a:cubicBezTo>
                <a:close/>
                <a:moveTo>
                  <a:pt x="5501538" y="3131417"/>
                </a:moveTo>
                <a:cubicBezTo>
                  <a:pt x="5537252" y="3131417"/>
                  <a:pt x="5566202" y="3160369"/>
                  <a:pt x="5566202" y="3196083"/>
                </a:cubicBezTo>
                <a:cubicBezTo>
                  <a:pt x="5566202" y="3231797"/>
                  <a:pt x="5537252" y="3260749"/>
                  <a:pt x="5501538" y="3260749"/>
                </a:cubicBezTo>
                <a:cubicBezTo>
                  <a:pt x="5465825" y="3260749"/>
                  <a:pt x="5436876" y="3231797"/>
                  <a:pt x="5436876" y="3196083"/>
                </a:cubicBezTo>
                <a:cubicBezTo>
                  <a:pt x="5436876" y="3160369"/>
                  <a:pt x="5465825" y="3131417"/>
                  <a:pt x="5501538" y="3131417"/>
                </a:cubicBezTo>
                <a:close/>
                <a:moveTo>
                  <a:pt x="5348883" y="3131417"/>
                </a:moveTo>
                <a:cubicBezTo>
                  <a:pt x="5384598" y="3131417"/>
                  <a:pt x="5413549" y="3160369"/>
                  <a:pt x="5413549" y="3196083"/>
                </a:cubicBezTo>
                <a:cubicBezTo>
                  <a:pt x="5413549" y="3231797"/>
                  <a:pt x="5384598" y="3260749"/>
                  <a:pt x="5348883" y="3260749"/>
                </a:cubicBezTo>
                <a:cubicBezTo>
                  <a:pt x="5313174" y="3260749"/>
                  <a:pt x="5284218" y="3231797"/>
                  <a:pt x="5284218" y="3196083"/>
                </a:cubicBezTo>
                <a:cubicBezTo>
                  <a:pt x="5284218" y="3160369"/>
                  <a:pt x="5313174" y="3131417"/>
                  <a:pt x="5348883" y="3131417"/>
                </a:cubicBezTo>
                <a:close/>
                <a:moveTo>
                  <a:pt x="5192310" y="3131417"/>
                </a:moveTo>
                <a:cubicBezTo>
                  <a:pt x="5228026" y="3131417"/>
                  <a:pt x="5256975" y="3160369"/>
                  <a:pt x="5256975" y="3196083"/>
                </a:cubicBezTo>
                <a:cubicBezTo>
                  <a:pt x="5256975" y="3231797"/>
                  <a:pt x="5228026" y="3260749"/>
                  <a:pt x="5192310" y="3260749"/>
                </a:cubicBezTo>
                <a:cubicBezTo>
                  <a:pt x="5156601" y="3260749"/>
                  <a:pt x="5127644" y="3231797"/>
                  <a:pt x="5127644" y="3196083"/>
                </a:cubicBezTo>
                <a:cubicBezTo>
                  <a:pt x="5127644" y="3160369"/>
                  <a:pt x="5156601" y="3131417"/>
                  <a:pt x="5192310" y="3131417"/>
                </a:cubicBezTo>
                <a:close/>
                <a:moveTo>
                  <a:pt x="5031828" y="3131417"/>
                </a:moveTo>
                <a:cubicBezTo>
                  <a:pt x="5067539" y="3131417"/>
                  <a:pt x="5096490" y="3160369"/>
                  <a:pt x="5096490" y="3196083"/>
                </a:cubicBezTo>
                <a:cubicBezTo>
                  <a:pt x="5096490" y="3231797"/>
                  <a:pt x="5067539" y="3260749"/>
                  <a:pt x="5031828" y="3260749"/>
                </a:cubicBezTo>
                <a:cubicBezTo>
                  <a:pt x="4996106" y="3260749"/>
                  <a:pt x="4967158" y="3231797"/>
                  <a:pt x="4967158" y="3196083"/>
                </a:cubicBezTo>
                <a:cubicBezTo>
                  <a:pt x="4967158" y="3160369"/>
                  <a:pt x="4996106" y="3131417"/>
                  <a:pt x="5031828" y="3131417"/>
                </a:cubicBezTo>
                <a:close/>
                <a:moveTo>
                  <a:pt x="2855500" y="3131417"/>
                </a:moveTo>
                <a:cubicBezTo>
                  <a:pt x="2891211" y="3131417"/>
                  <a:pt x="2920162" y="3160369"/>
                  <a:pt x="2920162" y="3196083"/>
                </a:cubicBezTo>
                <a:cubicBezTo>
                  <a:pt x="2920162" y="3231797"/>
                  <a:pt x="2891211" y="3260749"/>
                  <a:pt x="2855500" y="3260749"/>
                </a:cubicBezTo>
                <a:cubicBezTo>
                  <a:pt x="2819788" y="3260749"/>
                  <a:pt x="2790838" y="3231797"/>
                  <a:pt x="2790838" y="3196083"/>
                </a:cubicBezTo>
                <a:cubicBezTo>
                  <a:pt x="2790838" y="3160369"/>
                  <a:pt x="2819788" y="3131417"/>
                  <a:pt x="2855500" y="3131417"/>
                </a:cubicBezTo>
                <a:close/>
                <a:moveTo>
                  <a:pt x="2546285" y="3131417"/>
                </a:moveTo>
                <a:cubicBezTo>
                  <a:pt x="2581998" y="3131417"/>
                  <a:pt x="2610949" y="3160369"/>
                  <a:pt x="2610949" y="3196083"/>
                </a:cubicBezTo>
                <a:cubicBezTo>
                  <a:pt x="2610949" y="3231797"/>
                  <a:pt x="2581998" y="3260749"/>
                  <a:pt x="2546285" y="3260749"/>
                </a:cubicBezTo>
                <a:cubicBezTo>
                  <a:pt x="2510569" y="3260749"/>
                  <a:pt x="2481623" y="3231797"/>
                  <a:pt x="2481623" y="3196083"/>
                </a:cubicBezTo>
                <a:cubicBezTo>
                  <a:pt x="2481623" y="3160369"/>
                  <a:pt x="2510569" y="3131417"/>
                  <a:pt x="2546285" y="3131417"/>
                </a:cubicBezTo>
                <a:close/>
                <a:moveTo>
                  <a:pt x="2237047" y="3131417"/>
                </a:moveTo>
                <a:cubicBezTo>
                  <a:pt x="2272765" y="3131417"/>
                  <a:pt x="2301721" y="3160369"/>
                  <a:pt x="2301721" y="3196083"/>
                </a:cubicBezTo>
                <a:cubicBezTo>
                  <a:pt x="2301721" y="3231797"/>
                  <a:pt x="2272765" y="3260749"/>
                  <a:pt x="2237047" y="3260749"/>
                </a:cubicBezTo>
                <a:cubicBezTo>
                  <a:pt x="2201328" y="3260749"/>
                  <a:pt x="2172373" y="3231797"/>
                  <a:pt x="2172373" y="3196083"/>
                </a:cubicBezTo>
                <a:cubicBezTo>
                  <a:pt x="2172373" y="3160369"/>
                  <a:pt x="2201328" y="3131417"/>
                  <a:pt x="2237047" y="3131417"/>
                </a:cubicBezTo>
                <a:close/>
                <a:moveTo>
                  <a:pt x="2084377" y="3131417"/>
                </a:moveTo>
                <a:cubicBezTo>
                  <a:pt x="2120091" y="3131417"/>
                  <a:pt x="2149042" y="3160369"/>
                  <a:pt x="2149042" y="3196083"/>
                </a:cubicBezTo>
                <a:cubicBezTo>
                  <a:pt x="2149042" y="3231797"/>
                  <a:pt x="2120091" y="3260749"/>
                  <a:pt x="2084377" y="3260749"/>
                </a:cubicBezTo>
                <a:cubicBezTo>
                  <a:pt x="2048655" y="3260749"/>
                  <a:pt x="2019725" y="3231797"/>
                  <a:pt x="2019725" y="3196083"/>
                </a:cubicBezTo>
                <a:cubicBezTo>
                  <a:pt x="2019725" y="3160369"/>
                  <a:pt x="2048655" y="3131417"/>
                  <a:pt x="2084377" y="3131417"/>
                </a:cubicBezTo>
                <a:close/>
                <a:moveTo>
                  <a:pt x="9227976" y="2986586"/>
                </a:moveTo>
                <a:cubicBezTo>
                  <a:pt x="9263690" y="2986586"/>
                  <a:pt x="9292642" y="3015538"/>
                  <a:pt x="9292642" y="3051252"/>
                </a:cubicBezTo>
                <a:cubicBezTo>
                  <a:pt x="9292642" y="3086966"/>
                  <a:pt x="9263690" y="3115919"/>
                  <a:pt x="9227976" y="3115919"/>
                </a:cubicBezTo>
                <a:cubicBezTo>
                  <a:pt x="9192262" y="3115919"/>
                  <a:pt x="9163310" y="3086966"/>
                  <a:pt x="9163310" y="3051252"/>
                </a:cubicBezTo>
                <a:cubicBezTo>
                  <a:pt x="9163310" y="3015538"/>
                  <a:pt x="9192262" y="2986586"/>
                  <a:pt x="9227976" y="2986586"/>
                </a:cubicBezTo>
                <a:close/>
                <a:moveTo>
                  <a:pt x="9075317" y="2986586"/>
                </a:moveTo>
                <a:cubicBezTo>
                  <a:pt x="9111031" y="2986586"/>
                  <a:pt x="9139983" y="3015538"/>
                  <a:pt x="9139983" y="3051252"/>
                </a:cubicBezTo>
                <a:cubicBezTo>
                  <a:pt x="9139983" y="3086966"/>
                  <a:pt x="9111031" y="3115919"/>
                  <a:pt x="9075317" y="3115919"/>
                </a:cubicBezTo>
                <a:cubicBezTo>
                  <a:pt x="9039603" y="3115919"/>
                  <a:pt x="9010651" y="3086966"/>
                  <a:pt x="9010651" y="3051252"/>
                </a:cubicBezTo>
                <a:cubicBezTo>
                  <a:pt x="9010651" y="3015538"/>
                  <a:pt x="9039603" y="2986586"/>
                  <a:pt x="9075317" y="2986586"/>
                </a:cubicBezTo>
                <a:close/>
                <a:moveTo>
                  <a:pt x="9384550" y="2986584"/>
                </a:moveTo>
                <a:cubicBezTo>
                  <a:pt x="9420264" y="2986584"/>
                  <a:pt x="9449216" y="3015536"/>
                  <a:pt x="9449216" y="3051250"/>
                </a:cubicBezTo>
                <a:cubicBezTo>
                  <a:pt x="9449216" y="3086964"/>
                  <a:pt x="9420264" y="3115917"/>
                  <a:pt x="9384550" y="3115917"/>
                </a:cubicBezTo>
                <a:cubicBezTo>
                  <a:pt x="9348836" y="3115917"/>
                  <a:pt x="9319884" y="3086964"/>
                  <a:pt x="9319884" y="3051250"/>
                </a:cubicBezTo>
                <a:cubicBezTo>
                  <a:pt x="9319884" y="3015536"/>
                  <a:pt x="9348836" y="2986584"/>
                  <a:pt x="9384550" y="2986584"/>
                </a:cubicBezTo>
                <a:close/>
                <a:moveTo>
                  <a:pt x="8914829" y="2986584"/>
                </a:moveTo>
                <a:cubicBezTo>
                  <a:pt x="8950543" y="2986584"/>
                  <a:pt x="8979495" y="3015536"/>
                  <a:pt x="8979495" y="3051250"/>
                </a:cubicBezTo>
                <a:cubicBezTo>
                  <a:pt x="8979495" y="3086964"/>
                  <a:pt x="8950543" y="3115917"/>
                  <a:pt x="8914829" y="3115917"/>
                </a:cubicBezTo>
                <a:cubicBezTo>
                  <a:pt x="8879115" y="3115917"/>
                  <a:pt x="8850163" y="3086964"/>
                  <a:pt x="8850163" y="3051250"/>
                </a:cubicBezTo>
                <a:cubicBezTo>
                  <a:pt x="8850163" y="3015536"/>
                  <a:pt x="8879115" y="2986584"/>
                  <a:pt x="8914829" y="2986584"/>
                </a:cubicBezTo>
                <a:close/>
                <a:moveTo>
                  <a:pt x="8766086" y="2986584"/>
                </a:moveTo>
                <a:cubicBezTo>
                  <a:pt x="8801800" y="2986584"/>
                  <a:pt x="8830752" y="3015536"/>
                  <a:pt x="8830752" y="3051250"/>
                </a:cubicBezTo>
                <a:cubicBezTo>
                  <a:pt x="8830752" y="3086964"/>
                  <a:pt x="8801800" y="3115917"/>
                  <a:pt x="8766086" y="3115917"/>
                </a:cubicBezTo>
                <a:cubicBezTo>
                  <a:pt x="8730372" y="3115917"/>
                  <a:pt x="8701420" y="3086964"/>
                  <a:pt x="8701420" y="3051250"/>
                </a:cubicBezTo>
                <a:cubicBezTo>
                  <a:pt x="8701420" y="3015536"/>
                  <a:pt x="8730372" y="2986584"/>
                  <a:pt x="8766086" y="2986584"/>
                </a:cubicBezTo>
                <a:close/>
                <a:moveTo>
                  <a:pt x="8601683" y="2986584"/>
                </a:moveTo>
                <a:cubicBezTo>
                  <a:pt x="8637397" y="2986584"/>
                  <a:pt x="8666349" y="3015536"/>
                  <a:pt x="8666349" y="3051250"/>
                </a:cubicBezTo>
                <a:cubicBezTo>
                  <a:pt x="8666349" y="3086964"/>
                  <a:pt x="8637397" y="3115917"/>
                  <a:pt x="8601683" y="3115917"/>
                </a:cubicBezTo>
                <a:cubicBezTo>
                  <a:pt x="8565969" y="3115917"/>
                  <a:pt x="8537017" y="3086964"/>
                  <a:pt x="8537017" y="3051250"/>
                </a:cubicBezTo>
                <a:cubicBezTo>
                  <a:pt x="8537017" y="3015536"/>
                  <a:pt x="8565969" y="2986584"/>
                  <a:pt x="8601683" y="2986584"/>
                </a:cubicBezTo>
                <a:close/>
                <a:moveTo>
                  <a:pt x="8449025" y="2986584"/>
                </a:moveTo>
                <a:cubicBezTo>
                  <a:pt x="8484739" y="2986584"/>
                  <a:pt x="8513691" y="3015536"/>
                  <a:pt x="8513691" y="3051250"/>
                </a:cubicBezTo>
                <a:cubicBezTo>
                  <a:pt x="8513691" y="3086964"/>
                  <a:pt x="8484739" y="3115917"/>
                  <a:pt x="8449025" y="3115917"/>
                </a:cubicBezTo>
                <a:cubicBezTo>
                  <a:pt x="8413311" y="3115917"/>
                  <a:pt x="8384359" y="3086964"/>
                  <a:pt x="8384359" y="3051250"/>
                </a:cubicBezTo>
                <a:cubicBezTo>
                  <a:pt x="8384359" y="3015536"/>
                  <a:pt x="8413311" y="2986584"/>
                  <a:pt x="8449025" y="2986584"/>
                </a:cubicBezTo>
                <a:close/>
                <a:moveTo>
                  <a:pt x="8139793" y="2986584"/>
                </a:moveTo>
                <a:cubicBezTo>
                  <a:pt x="8175507" y="2986584"/>
                  <a:pt x="8204459" y="3015536"/>
                  <a:pt x="8204459" y="3051250"/>
                </a:cubicBezTo>
                <a:cubicBezTo>
                  <a:pt x="8204459" y="3086964"/>
                  <a:pt x="8175507" y="3115917"/>
                  <a:pt x="8139793" y="3115917"/>
                </a:cubicBezTo>
                <a:cubicBezTo>
                  <a:pt x="8104079" y="3115917"/>
                  <a:pt x="8075127" y="3086964"/>
                  <a:pt x="8075127" y="3051250"/>
                </a:cubicBezTo>
                <a:cubicBezTo>
                  <a:pt x="8075127" y="3015536"/>
                  <a:pt x="8104079" y="2986584"/>
                  <a:pt x="8139793" y="2986584"/>
                </a:cubicBezTo>
                <a:close/>
                <a:moveTo>
                  <a:pt x="7987133" y="2986584"/>
                </a:moveTo>
                <a:cubicBezTo>
                  <a:pt x="8022847" y="2986584"/>
                  <a:pt x="8051799" y="3015536"/>
                  <a:pt x="8051799" y="3051250"/>
                </a:cubicBezTo>
                <a:cubicBezTo>
                  <a:pt x="8051799" y="3086964"/>
                  <a:pt x="8022847" y="3115917"/>
                  <a:pt x="7987133" y="3115917"/>
                </a:cubicBezTo>
                <a:cubicBezTo>
                  <a:pt x="7951419" y="3115917"/>
                  <a:pt x="7922467" y="3086964"/>
                  <a:pt x="7922467" y="3051250"/>
                </a:cubicBezTo>
                <a:cubicBezTo>
                  <a:pt x="7922467" y="3015536"/>
                  <a:pt x="7951419" y="2986584"/>
                  <a:pt x="7987133" y="2986584"/>
                </a:cubicBezTo>
                <a:close/>
                <a:moveTo>
                  <a:pt x="7830562" y="2986584"/>
                </a:moveTo>
                <a:cubicBezTo>
                  <a:pt x="7866276" y="2986584"/>
                  <a:pt x="7895228" y="3015536"/>
                  <a:pt x="7895228" y="3051250"/>
                </a:cubicBezTo>
                <a:cubicBezTo>
                  <a:pt x="7895228" y="3086964"/>
                  <a:pt x="7866276" y="3115917"/>
                  <a:pt x="7830562" y="3115917"/>
                </a:cubicBezTo>
                <a:cubicBezTo>
                  <a:pt x="7794848" y="3115917"/>
                  <a:pt x="7765896" y="3086964"/>
                  <a:pt x="7765896" y="3051250"/>
                </a:cubicBezTo>
                <a:cubicBezTo>
                  <a:pt x="7765896" y="3015536"/>
                  <a:pt x="7794848" y="2986584"/>
                  <a:pt x="7830562" y="2986584"/>
                </a:cubicBezTo>
                <a:close/>
                <a:moveTo>
                  <a:pt x="7368669" y="2986584"/>
                </a:moveTo>
                <a:cubicBezTo>
                  <a:pt x="7404383" y="2986584"/>
                  <a:pt x="7433335" y="3015536"/>
                  <a:pt x="7433335" y="3051250"/>
                </a:cubicBezTo>
                <a:cubicBezTo>
                  <a:pt x="7433335" y="3086964"/>
                  <a:pt x="7404383" y="3115917"/>
                  <a:pt x="7368669" y="3115917"/>
                </a:cubicBezTo>
                <a:cubicBezTo>
                  <a:pt x="7332955" y="3115917"/>
                  <a:pt x="7304003" y="3086964"/>
                  <a:pt x="7304003" y="3051250"/>
                </a:cubicBezTo>
                <a:cubicBezTo>
                  <a:pt x="7304003" y="3015536"/>
                  <a:pt x="7332955" y="2986584"/>
                  <a:pt x="7368669" y="2986584"/>
                </a:cubicBezTo>
                <a:close/>
                <a:moveTo>
                  <a:pt x="6742377" y="2986584"/>
                </a:moveTo>
                <a:cubicBezTo>
                  <a:pt x="6778091" y="2986584"/>
                  <a:pt x="6807043" y="3015536"/>
                  <a:pt x="6807043" y="3051250"/>
                </a:cubicBezTo>
                <a:cubicBezTo>
                  <a:pt x="6807043" y="3086964"/>
                  <a:pt x="6778091" y="3115917"/>
                  <a:pt x="6742377" y="3115917"/>
                </a:cubicBezTo>
                <a:cubicBezTo>
                  <a:pt x="6706663" y="3115917"/>
                  <a:pt x="6677711" y="3086964"/>
                  <a:pt x="6677711" y="3051250"/>
                </a:cubicBezTo>
                <a:cubicBezTo>
                  <a:pt x="6677711" y="3015536"/>
                  <a:pt x="6706663" y="2986584"/>
                  <a:pt x="6742377" y="2986584"/>
                </a:cubicBezTo>
                <a:close/>
                <a:moveTo>
                  <a:pt x="6429229" y="2986584"/>
                </a:moveTo>
                <a:cubicBezTo>
                  <a:pt x="6464943" y="2986584"/>
                  <a:pt x="6493895" y="3015536"/>
                  <a:pt x="6493895" y="3051250"/>
                </a:cubicBezTo>
                <a:cubicBezTo>
                  <a:pt x="6493895" y="3086964"/>
                  <a:pt x="6464943" y="3115917"/>
                  <a:pt x="6429229" y="3115917"/>
                </a:cubicBezTo>
                <a:cubicBezTo>
                  <a:pt x="6393515" y="3115917"/>
                  <a:pt x="6364563" y="3086964"/>
                  <a:pt x="6364563" y="3051250"/>
                </a:cubicBezTo>
                <a:cubicBezTo>
                  <a:pt x="6364563" y="3015536"/>
                  <a:pt x="6393515" y="2986584"/>
                  <a:pt x="6429229" y="2986584"/>
                </a:cubicBezTo>
                <a:close/>
                <a:moveTo>
                  <a:pt x="6276571" y="2986584"/>
                </a:moveTo>
                <a:cubicBezTo>
                  <a:pt x="6312285" y="2986584"/>
                  <a:pt x="6341237" y="3015536"/>
                  <a:pt x="6341237" y="3051250"/>
                </a:cubicBezTo>
                <a:cubicBezTo>
                  <a:pt x="6341237" y="3086964"/>
                  <a:pt x="6312285" y="3115917"/>
                  <a:pt x="6276571" y="3115917"/>
                </a:cubicBezTo>
                <a:cubicBezTo>
                  <a:pt x="6240857" y="3115917"/>
                  <a:pt x="6211905" y="3086964"/>
                  <a:pt x="6211905" y="3051250"/>
                </a:cubicBezTo>
                <a:cubicBezTo>
                  <a:pt x="6211905" y="3015536"/>
                  <a:pt x="6240857" y="2986584"/>
                  <a:pt x="6276571" y="2986584"/>
                </a:cubicBezTo>
                <a:close/>
                <a:moveTo>
                  <a:pt x="5967339" y="2986584"/>
                </a:moveTo>
                <a:cubicBezTo>
                  <a:pt x="6003053" y="2986584"/>
                  <a:pt x="6032005" y="3015536"/>
                  <a:pt x="6032005" y="3051250"/>
                </a:cubicBezTo>
                <a:cubicBezTo>
                  <a:pt x="6032005" y="3086964"/>
                  <a:pt x="6003053" y="3115917"/>
                  <a:pt x="5967339" y="3115917"/>
                </a:cubicBezTo>
                <a:cubicBezTo>
                  <a:pt x="5931625" y="3115917"/>
                  <a:pt x="5902673" y="3086964"/>
                  <a:pt x="5902673" y="3051250"/>
                </a:cubicBezTo>
                <a:cubicBezTo>
                  <a:pt x="5902673" y="3015536"/>
                  <a:pt x="5931625" y="2986584"/>
                  <a:pt x="5967339" y="2986584"/>
                </a:cubicBezTo>
                <a:close/>
                <a:moveTo>
                  <a:pt x="5810783" y="2986584"/>
                </a:moveTo>
                <a:cubicBezTo>
                  <a:pt x="5846479" y="2986584"/>
                  <a:pt x="5875431" y="3015536"/>
                  <a:pt x="5875431" y="3051250"/>
                </a:cubicBezTo>
                <a:cubicBezTo>
                  <a:pt x="5875431" y="3086964"/>
                  <a:pt x="5846479" y="3115917"/>
                  <a:pt x="5810783" y="3115917"/>
                </a:cubicBezTo>
                <a:cubicBezTo>
                  <a:pt x="5775064" y="3115917"/>
                  <a:pt x="5746108" y="3086964"/>
                  <a:pt x="5746108" y="3051250"/>
                </a:cubicBezTo>
                <a:cubicBezTo>
                  <a:pt x="5746108" y="3015536"/>
                  <a:pt x="5775064" y="2986584"/>
                  <a:pt x="5810783" y="2986584"/>
                </a:cubicBezTo>
                <a:close/>
                <a:moveTo>
                  <a:pt x="5658107" y="2986584"/>
                </a:moveTo>
                <a:cubicBezTo>
                  <a:pt x="5693821" y="2986584"/>
                  <a:pt x="5722777" y="3015536"/>
                  <a:pt x="5722777" y="3051250"/>
                </a:cubicBezTo>
                <a:cubicBezTo>
                  <a:pt x="5722777" y="3086964"/>
                  <a:pt x="5693821" y="3115917"/>
                  <a:pt x="5658107" y="3115917"/>
                </a:cubicBezTo>
                <a:cubicBezTo>
                  <a:pt x="5622395" y="3115917"/>
                  <a:pt x="5593441" y="3086964"/>
                  <a:pt x="5593441" y="3051250"/>
                </a:cubicBezTo>
                <a:cubicBezTo>
                  <a:pt x="5593441" y="3015536"/>
                  <a:pt x="5622395" y="2986584"/>
                  <a:pt x="5658107" y="2986584"/>
                </a:cubicBezTo>
                <a:close/>
                <a:moveTo>
                  <a:pt x="5501538" y="2986584"/>
                </a:moveTo>
                <a:cubicBezTo>
                  <a:pt x="5537252" y="2986584"/>
                  <a:pt x="5566202" y="3015536"/>
                  <a:pt x="5566202" y="3051250"/>
                </a:cubicBezTo>
                <a:cubicBezTo>
                  <a:pt x="5566202" y="3086964"/>
                  <a:pt x="5537252" y="3115917"/>
                  <a:pt x="5501538" y="3115917"/>
                </a:cubicBezTo>
                <a:cubicBezTo>
                  <a:pt x="5465825" y="3115917"/>
                  <a:pt x="5436877" y="3086964"/>
                  <a:pt x="5436877" y="3051250"/>
                </a:cubicBezTo>
                <a:cubicBezTo>
                  <a:pt x="5436877" y="3015536"/>
                  <a:pt x="5465825" y="2986584"/>
                  <a:pt x="5501538" y="2986584"/>
                </a:cubicBezTo>
                <a:close/>
                <a:moveTo>
                  <a:pt x="5192312" y="2986584"/>
                </a:moveTo>
                <a:cubicBezTo>
                  <a:pt x="5228028" y="2986584"/>
                  <a:pt x="5256975" y="3015536"/>
                  <a:pt x="5256975" y="3051250"/>
                </a:cubicBezTo>
                <a:cubicBezTo>
                  <a:pt x="5256975" y="3086964"/>
                  <a:pt x="5228028" y="3115917"/>
                  <a:pt x="5192312" y="3115917"/>
                </a:cubicBezTo>
                <a:cubicBezTo>
                  <a:pt x="5156602" y="3115917"/>
                  <a:pt x="5127645" y="3086964"/>
                  <a:pt x="5127645" y="3051250"/>
                </a:cubicBezTo>
                <a:cubicBezTo>
                  <a:pt x="5127645" y="3015536"/>
                  <a:pt x="5156602" y="2986584"/>
                  <a:pt x="5192312" y="2986584"/>
                </a:cubicBezTo>
                <a:close/>
                <a:moveTo>
                  <a:pt x="8296368" y="2986583"/>
                </a:moveTo>
                <a:cubicBezTo>
                  <a:pt x="8332082" y="2986583"/>
                  <a:pt x="8361034" y="3015535"/>
                  <a:pt x="8361034" y="3051249"/>
                </a:cubicBezTo>
                <a:cubicBezTo>
                  <a:pt x="8361034" y="3086963"/>
                  <a:pt x="8332082" y="3115916"/>
                  <a:pt x="8296368" y="3115916"/>
                </a:cubicBezTo>
                <a:cubicBezTo>
                  <a:pt x="8260654" y="3115916"/>
                  <a:pt x="8231702" y="3086963"/>
                  <a:pt x="8231702" y="3051249"/>
                </a:cubicBezTo>
                <a:cubicBezTo>
                  <a:pt x="8231702" y="3015535"/>
                  <a:pt x="8260654" y="2986583"/>
                  <a:pt x="8296368" y="2986583"/>
                </a:cubicBezTo>
                <a:close/>
                <a:moveTo>
                  <a:pt x="7677904" y="2986583"/>
                </a:moveTo>
                <a:cubicBezTo>
                  <a:pt x="7713618" y="2986583"/>
                  <a:pt x="7742570" y="3015535"/>
                  <a:pt x="7742570" y="3051249"/>
                </a:cubicBezTo>
                <a:cubicBezTo>
                  <a:pt x="7742570" y="3086963"/>
                  <a:pt x="7713618" y="3115916"/>
                  <a:pt x="7677904" y="3115916"/>
                </a:cubicBezTo>
                <a:cubicBezTo>
                  <a:pt x="7642190" y="3115916"/>
                  <a:pt x="7613238" y="3086963"/>
                  <a:pt x="7613238" y="3051249"/>
                </a:cubicBezTo>
                <a:cubicBezTo>
                  <a:pt x="7613238" y="3015535"/>
                  <a:pt x="7642190" y="2986583"/>
                  <a:pt x="7677904" y="2986583"/>
                </a:cubicBezTo>
                <a:close/>
                <a:moveTo>
                  <a:pt x="7521331" y="2986583"/>
                </a:moveTo>
                <a:cubicBezTo>
                  <a:pt x="7557045" y="2986583"/>
                  <a:pt x="7585997" y="3015535"/>
                  <a:pt x="7585997" y="3051249"/>
                </a:cubicBezTo>
                <a:cubicBezTo>
                  <a:pt x="7585997" y="3086963"/>
                  <a:pt x="7557045" y="3115916"/>
                  <a:pt x="7521331" y="3115916"/>
                </a:cubicBezTo>
                <a:cubicBezTo>
                  <a:pt x="7485617" y="3115916"/>
                  <a:pt x="7456665" y="3086963"/>
                  <a:pt x="7456665" y="3051249"/>
                </a:cubicBezTo>
                <a:cubicBezTo>
                  <a:pt x="7456665" y="3015535"/>
                  <a:pt x="7485617" y="2986583"/>
                  <a:pt x="7521331" y="2986583"/>
                </a:cubicBezTo>
                <a:close/>
                <a:moveTo>
                  <a:pt x="7212096" y="2986583"/>
                </a:moveTo>
                <a:cubicBezTo>
                  <a:pt x="7247810" y="2986583"/>
                  <a:pt x="7276762" y="3015535"/>
                  <a:pt x="7276762" y="3051249"/>
                </a:cubicBezTo>
                <a:cubicBezTo>
                  <a:pt x="7276762" y="3086963"/>
                  <a:pt x="7247810" y="3115916"/>
                  <a:pt x="7212096" y="3115916"/>
                </a:cubicBezTo>
                <a:cubicBezTo>
                  <a:pt x="7176382" y="3115916"/>
                  <a:pt x="7147430" y="3086963"/>
                  <a:pt x="7147430" y="3051249"/>
                </a:cubicBezTo>
                <a:cubicBezTo>
                  <a:pt x="7147430" y="3015535"/>
                  <a:pt x="7176382" y="2986583"/>
                  <a:pt x="7212096" y="2986583"/>
                </a:cubicBezTo>
                <a:close/>
                <a:moveTo>
                  <a:pt x="7055523" y="2986583"/>
                </a:moveTo>
                <a:cubicBezTo>
                  <a:pt x="7091237" y="2986583"/>
                  <a:pt x="7120189" y="3015535"/>
                  <a:pt x="7120189" y="3051249"/>
                </a:cubicBezTo>
                <a:cubicBezTo>
                  <a:pt x="7120189" y="3086963"/>
                  <a:pt x="7091237" y="3115916"/>
                  <a:pt x="7055523" y="3115916"/>
                </a:cubicBezTo>
                <a:cubicBezTo>
                  <a:pt x="7019809" y="3115916"/>
                  <a:pt x="6990857" y="3086963"/>
                  <a:pt x="6990857" y="3051249"/>
                </a:cubicBezTo>
                <a:cubicBezTo>
                  <a:pt x="6990857" y="3015535"/>
                  <a:pt x="7019809" y="2986583"/>
                  <a:pt x="7055523" y="2986583"/>
                </a:cubicBezTo>
                <a:close/>
                <a:moveTo>
                  <a:pt x="6895037" y="2986583"/>
                </a:moveTo>
                <a:cubicBezTo>
                  <a:pt x="6930751" y="2986583"/>
                  <a:pt x="6959703" y="3015535"/>
                  <a:pt x="6959703" y="3051249"/>
                </a:cubicBezTo>
                <a:cubicBezTo>
                  <a:pt x="6959703" y="3086963"/>
                  <a:pt x="6930751" y="3115916"/>
                  <a:pt x="6895037" y="3115916"/>
                </a:cubicBezTo>
                <a:cubicBezTo>
                  <a:pt x="6859323" y="3115916"/>
                  <a:pt x="6830371" y="3086963"/>
                  <a:pt x="6830371" y="3051249"/>
                </a:cubicBezTo>
                <a:cubicBezTo>
                  <a:pt x="6830371" y="3015535"/>
                  <a:pt x="6859323" y="2986583"/>
                  <a:pt x="6895037" y="2986583"/>
                </a:cubicBezTo>
                <a:close/>
                <a:moveTo>
                  <a:pt x="6585804" y="2986583"/>
                </a:moveTo>
                <a:cubicBezTo>
                  <a:pt x="6621518" y="2986583"/>
                  <a:pt x="6650470" y="3015535"/>
                  <a:pt x="6650470" y="3051249"/>
                </a:cubicBezTo>
                <a:cubicBezTo>
                  <a:pt x="6650470" y="3086963"/>
                  <a:pt x="6621518" y="3115916"/>
                  <a:pt x="6585804" y="3115916"/>
                </a:cubicBezTo>
                <a:cubicBezTo>
                  <a:pt x="6550090" y="3115916"/>
                  <a:pt x="6521138" y="3086963"/>
                  <a:pt x="6521138" y="3051249"/>
                </a:cubicBezTo>
                <a:cubicBezTo>
                  <a:pt x="6521138" y="3015535"/>
                  <a:pt x="6550090" y="2986583"/>
                  <a:pt x="6585804" y="2986583"/>
                </a:cubicBezTo>
                <a:close/>
                <a:moveTo>
                  <a:pt x="6119999" y="2986583"/>
                </a:moveTo>
                <a:cubicBezTo>
                  <a:pt x="6155713" y="2986583"/>
                  <a:pt x="6184665" y="3015535"/>
                  <a:pt x="6184665" y="3051249"/>
                </a:cubicBezTo>
                <a:cubicBezTo>
                  <a:pt x="6184665" y="3086963"/>
                  <a:pt x="6155713" y="3115916"/>
                  <a:pt x="6119999" y="3115916"/>
                </a:cubicBezTo>
                <a:cubicBezTo>
                  <a:pt x="6084285" y="3115916"/>
                  <a:pt x="6055333" y="3086963"/>
                  <a:pt x="6055333" y="3051249"/>
                </a:cubicBezTo>
                <a:cubicBezTo>
                  <a:pt x="6055333" y="3015535"/>
                  <a:pt x="6084285" y="2986583"/>
                  <a:pt x="6119999" y="2986583"/>
                </a:cubicBezTo>
                <a:close/>
                <a:moveTo>
                  <a:pt x="5348883" y="2986583"/>
                </a:moveTo>
                <a:cubicBezTo>
                  <a:pt x="5384600" y="2986583"/>
                  <a:pt x="5413550" y="3015535"/>
                  <a:pt x="5413550" y="3051249"/>
                </a:cubicBezTo>
                <a:cubicBezTo>
                  <a:pt x="5413550" y="3086963"/>
                  <a:pt x="5384600" y="3115916"/>
                  <a:pt x="5348883" y="3115916"/>
                </a:cubicBezTo>
                <a:cubicBezTo>
                  <a:pt x="5313177" y="3115916"/>
                  <a:pt x="5284221" y="3086963"/>
                  <a:pt x="5284221" y="3051249"/>
                </a:cubicBezTo>
                <a:cubicBezTo>
                  <a:pt x="5284221" y="3015535"/>
                  <a:pt x="5313177" y="2986583"/>
                  <a:pt x="5348883" y="2986583"/>
                </a:cubicBezTo>
                <a:close/>
                <a:moveTo>
                  <a:pt x="5031831" y="2986583"/>
                </a:moveTo>
                <a:cubicBezTo>
                  <a:pt x="5067541" y="2986583"/>
                  <a:pt x="5096494" y="3015535"/>
                  <a:pt x="5096494" y="3051249"/>
                </a:cubicBezTo>
                <a:cubicBezTo>
                  <a:pt x="5096494" y="3086963"/>
                  <a:pt x="5067541" y="3115916"/>
                  <a:pt x="5031831" y="3115916"/>
                </a:cubicBezTo>
                <a:cubicBezTo>
                  <a:pt x="4996109" y="3115916"/>
                  <a:pt x="4967160" y="3086963"/>
                  <a:pt x="4967160" y="3051249"/>
                </a:cubicBezTo>
                <a:cubicBezTo>
                  <a:pt x="4967160" y="3015535"/>
                  <a:pt x="4996109" y="2986583"/>
                  <a:pt x="5031831" y="2986583"/>
                </a:cubicBezTo>
                <a:close/>
                <a:moveTo>
                  <a:pt x="2237053" y="2986583"/>
                </a:moveTo>
                <a:cubicBezTo>
                  <a:pt x="2272772" y="2986583"/>
                  <a:pt x="2301728" y="3015535"/>
                  <a:pt x="2301728" y="3051249"/>
                </a:cubicBezTo>
                <a:cubicBezTo>
                  <a:pt x="2301728" y="3086963"/>
                  <a:pt x="2272772" y="3115916"/>
                  <a:pt x="2237053" y="3115916"/>
                </a:cubicBezTo>
                <a:cubicBezTo>
                  <a:pt x="2201334" y="3115916"/>
                  <a:pt x="2172378" y="3086963"/>
                  <a:pt x="2172378" y="3051249"/>
                </a:cubicBezTo>
                <a:cubicBezTo>
                  <a:pt x="2172378" y="3015535"/>
                  <a:pt x="2201334" y="2986583"/>
                  <a:pt x="2237053" y="2986583"/>
                </a:cubicBezTo>
                <a:close/>
                <a:moveTo>
                  <a:pt x="2084380" y="2986583"/>
                </a:moveTo>
                <a:cubicBezTo>
                  <a:pt x="2120098" y="2986583"/>
                  <a:pt x="2149047" y="3015535"/>
                  <a:pt x="2149047" y="3051249"/>
                </a:cubicBezTo>
                <a:cubicBezTo>
                  <a:pt x="2149047" y="3086963"/>
                  <a:pt x="2120098" y="3115916"/>
                  <a:pt x="2084380" y="3115916"/>
                </a:cubicBezTo>
                <a:cubicBezTo>
                  <a:pt x="2048661" y="3115916"/>
                  <a:pt x="2019725" y="3086963"/>
                  <a:pt x="2019725" y="3051249"/>
                </a:cubicBezTo>
                <a:cubicBezTo>
                  <a:pt x="2019725" y="3015535"/>
                  <a:pt x="2048661" y="2986583"/>
                  <a:pt x="2084380" y="2986583"/>
                </a:cubicBezTo>
                <a:close/>
                <a:moveTo>
                  <a:pt x="1927806" y="2986583"/>
                </a:moveTo>
                <a:cubicBezTo>
                  <a:pt x="1963522" y="2986583"/>
                  <a:pt x="1992481" y="3015535"/>
                  <a:pt x="1992481" y="3051249"/>
                </a:cubicBezTo>
                <a:cubicBezTo>
                  <a:pt x="1992481" y="3086963"/>
                  <a:pt x="1963522" y="3115916"/>
                  <a:pt x="1927806" y="3115916"/>
                </a:cubicBezTo>
                <a:cubicBezTo>
                  <a:pt x="1892104" y="3115916"/>
                  <a:pt x="1863153" y="3086963"/>
                  <a:pt x="1863153" y="3051249"/>
                </a:cubicBezTo>
                <a:cubicBezTo>
                  <a:pt x="1863153" y="3015535"/>
                  <a:pt x="1892104" y="2986583"/>
                  <a:pt x="1927806" y="2986583"/>
                </a:cubicBezTo>
                <a:close/>
                <a:moveTo>
                  <a:pt x="9384550" y="2841752"/>
                </a:moveTo>
                <a:cubicBezTo>
                  <a:pt x="9420264" y="2841752"/>
                  <a:pt x="9449216" y="2870704"/>
                  <a:pt x="9449216" y="2906419"/>
                </a:cubicBezTo>
                <a:cubicBezTo>
                  <a:pt x="9449216" y="2942133"/>
                  <a:pt x="9420264" y="2971084"/>
                  <a:pt x="9384550" y="2971084"/>
                </a:cubicBezTo>
                <a:cubicBezTo>
                  <a:pt x="9348836" y="2971084"/>
                  <a:pt x="9319884" y="2942133"/>
                  <a:pt x="9319884" y="2906419"/>
                </a:cubicBezTo>
                <a:cubicBezTo>
                  <a:pt x="9319884" y="2870704"/>
                  <a:pt x="9348836" y="2841752"/>
                  <a:pt x="9384550" y="2841752"/>
                </a:cubicBezTo>
                <a:close/>
                <a:moveTo>
                  <a:pt x="9227977" y="2841752"/>
                </a:moveTo>
                <a:cubicBezTo>
                  <a:pt x="9263691" y="2841752"/>
                  <a:pt x="9292643" y="2870704"/>
                  <a:pt x="9292643" y="2906419"/>
                </a:cubicBezTo>
                <a:cubicBezTo>
                  <a:pt x="9292643" y="2942133"/>
                  <a:pt x="9263691" y="2971084"/>
                  <a:pt x="9227977" y="2971084"/>
                </a:cubicBezTo>
                <a:cubicBezTo>
                  <a:pt x="9192263" y="2971084"/>
                  <a:pt x="9163311" y="2942133"/>
                  <a:pt x="9163311" y="2906419"/>
                </a:cubicBezTo>
                <a:cubicBezTo>
                  <a:pt x="9163311" y="2870704"/>
                  <a:pt x="9192263" y="2841752"/>
                  <a:pt x="9227977" y="2841752"/>
                </a:cubicBezTo>
                <a:close/>
                <a:moveTo>
                  <a:pt x="9075319" y="2841752"/>
                </a:moveTo>
                <a:cubicBezTo>
                  <a:pt x="9111033" y="2841752"/>
                  <a:pt x="9139985" y="2870704"/>
                  <a:pt x="9139985" y="2906419"/>
                </a:cubicBezTo>
                <a:cubicBezTo>
                  <a:pt x="9139985" y="2942133"/>
                  <a:pt x="9111033" y="2971084"/>
                  <a:pt x="9075319" y="2971084"/>
                </a:cubicBezTo>
                <a:cubicBezTo>
                  <a:pt x="9039605" y="2971084"/>
                  <a:pt x="9010653" y="2942133"/>
                  <a:pt x="9010653" y="2906419"/>
                </a:cubicBezTo>
                <a:cubicBezTo>
                  <a:pt x="9010653" y="2870704"/>
                  <a:pt x="9039605" y="2841752"/>
                  <a:pt x="9075319" y="2841752"/>
                </a:cubicBezTo>
                <a:close/>
                <a:moveTo>
                  <a:pt x="8914831" y="2841752"/>
                </a:moveTo>
                <a:cubicBezTo>
                  <a:pt x="8950545" y="2841752"/>
                  <a:pt x="8979497" y="2870704"/>
                  <a:pt x="8979497" y="2906419"/>
                </a:cubicBezTo>
                <a:cubicBezTo>
                  <a:pt x="8979497" y="2942133"/>
                  <a:pt x="8950545" y="2971084"/>
                  <a:pt x="8914831" y="2971084"/>
                </a:cubicBezTo>
                <a:cubicBezTo>
                  <a:pt x="8879117" y="2971084"/>
                  <a:pt x="8850165" y="2942133"/>
                  <a:pt x="8850165" y="2906419"/>
                </a:cubicBezTo>
                <a:cubicBezTo>
                  <a:pt x="8850165" y="2870704"/>
                  <a:pt x="8879117" y="2841752"/>
                  <a:pt x="8914831" y="2841752"/>
                </a:cubicBezTo>
                <a:close/>
                <a:moveTo>
                  <a:pt x="8766086" y="2841752"/>
                </a:moveTo>
                <a:cubicBezTo>
                  <a:pt x="8801800" y="2841752"/>
                  <a:pt x="8830752" y="2870704"/>
                  <a:pt x="8830752" y="2906419"/>
                </a:cubicBezTo>
                <a:cubicBezTo>
                  <a:pt x="8830752" y="2942133"/>
                  <a:pt x="8801800" y="2971084"/>
                  <a:pt x="8766086" y="2971084"/>
                </a:cubicBezTo>
                <a:cubicBezTo>
                  <a:pt x="8730372" y="2971084"/>
                  <a:pt x="8701420" y="2942133"/>
                  <a:pt x="8701420" y="2906419"/>
                </a:cubicBezTo>
                <a:cubicBezTo>
                  <a:pt x="8701420" y="2870704"/>
                  <a:pt x="8730372" y="2841752"/>
                  <a:pt x="8766086" y="2841752"/>
                </a:cubicBezTo>
                <a:close/>
                <a:moveTo>
                  <a:pt x="8601683" y="2841752"/>
                </a:moveTo>
                <a:cubicBezTo>
                  <a:pt x="8637397" y="2841752"/>
                  <a:pt x="8666349" y="2870704"/>
                  <a:pt x="8666349" y="2906419"/>
                </a:cubicBezTo>
                <a:cubicBezTo>
                  <a:pt x="8666349" y="2942133"/>
                  <a:pt x="8637397" y="2971084"/>
                  <a:pt x="8601683" y="2971084"/>
                </a:cubicBezTo>
                <a:cubicBezTo>
                  <a:pt x="8565969" y="2971084"/>
                  <a:pt x="8537017" y="2942133"/>
                  <a:pt x="8537017" y="2906419"/>
                </a:cubicBezTo>
                <a:cubicBezTo>
                  <a:pt x="8537017" y="2870704"/>
                  <a:pt x="8565969" y="2841752"/>
                  <a:pt x="8601683" y="2841752"/>
                </a:cubicBezTo>
                <a:close/>
                <a:moveTo>
                  <a:pt x="8449025" y="2841752"/>
                </a:moveTo>
                <a:cubicBezTo>
                  <a:pt x="8484739" y="2841752"/>
                  <a:pt x="8513691" y="2870704"/>
                  <a:pt x="8513691" y="2906419"/>
                </a:cubicBezTo>
                <a:cubicBezTo>
                  <a:pt x="8513691" y="2942133"/>
                  <a:pt x="8484739" y="2971084"/>
                  <a:pt x="8449025" y="2971084"/>
                </a:cubicBezTo>
                <a:cubicBezTo>
                  <a:pt x="8413311" y="2971084"/>
                  <a:pt x="8384359" y="2942133"/>
                  <a:pt x="8384359" y="2906419"/>
                </a:cubicBezTo>
                <a:cubicBezTo>
                  <a:pt x="8384359" y="2870704"/>
                  <a:pt x="8413311" y="2841752"/>
                  <a:pt x="8449025" y="2841752"/>
                </a:cubicBezTo>
                <a:close/>
                <a:moveTo>
                  <a:pt x="8296368" y="2841752"/>
                </a:moveTo>
                <a:cubicBezTo>
                  <a:pt x="8332082" y="2841752"/>
                  <a:pt x="8361034" y="2870704"/>
                  <a:pt x="8361034" y="2906419"/>
                </a:cubicBezTo>
                <a:cubicBezTo>
                  <a:pt x="8361034" y="2942133"/>
                  <a:pt x="8332082" y="2971084"/>
                  <a:pt x="8296368" y="2971084"/>
                </a:cubicBezTo>
                <a:cubicBezTo>
                  <a:pt x="8260654" y="2971084"/>
                  <a:pt x="8231702" y="2942133"/>
                  <a:pt x="8231702" y="2906419"/>
                </a:cubicBezTo>
                <a:cubicBezTo>
                  <a:pt x="8231702" y="2870704"/>
                  <a:pt x="8260654" y="2841752"/>
                  <a:pt x="8296368" y="2841752"/>
                </a:cubicBezTo>
                <a:close/>
                <a:moveTo>
                  <a:pt x="8139793" y="2841752"/>
                </a:moveTo>
                <a:cubicBezTo>
                  <a:pt x="8175507" y="2841752"/>
                  <a:pt x="8204459" y="2870704"/>
                  <a:pt x="8204459" y="2906419"/>
                </a:cubicBezTo>
                <a:cubicBezTo>
                  <a:pt x="8204459" y="2942133"/>
                  <a:pt x="8175507" y="2971084"/>
                  <a:pt x="8139793" y="2971084"/>
                </a:cubicBezTo>
                <a:cubicBezTo>
                  <a:pt x="8104079" y="2971084"/>
                  <a:pt x="8075127" y="2942133"/>
                  <a:pt x="8075127" y="2906419"/>
                </a:cubicBezTo>
                <a:cubicBezTo>
                  <a:pt x="8075127" y="2870704"/>
                  <a:pt x="8104079" y="2841752"/>
                  <a:pt x="8139793" y="2841752"/>
                </a:cubicBezTo>
                <a:close/>
                <a:moveTo>
                  <a:pt x="7987133" y="2841752"/>
                </a:moveTo>
                <a:cubicBezTo>
                  <a:pt x="8022847" y="2841752"/>
                  <a:pt x="8051799" y="2870704"/>
                  <a:pt x="8051799" y="2906419"/>
                </a:cubicBezTo>
                <a:cubicBezTo>
                  <a:pt x="8051799" y="2942133"/>
                  <a:pt x="8022847" y="2971084"/>
                  <a:pt x="7987133" y="2971084"/>
                </a:cubicBezTo>
                <a:cubicBezTo>
                  <a:pt x="7951419" y="2971084"/>
                  <a:pt x="7922467" y="2942133"/>
                  <a:pt x="7922467" y="2906419"/>
                </a:cubicBezTo>
                <a:cubicBezTo>
                  <a:pt x="7922467" y="2870704"/>
                  <a:pt x="7951419" y="2841752"/>
                  <a:pt x="7987133" y="2841752"/>
                </a:cubicBezTo>
                <a:close/>
                <a:moveTo>
                  <a:pt x="7830562" y="2841752"/>
                </a:moveTo>
                <a:cubicBezTo>
                  <a:pt x="7866276" y="2841752"/>
                  <a:pt x="7895228" y="2870704"/>
                  <a:pt x="7895228" y="2906419"/>
                </a:cubicBezTo>
                <a:cubicBezTo>
                  <a:pt x="7895228" y="2942133"/>
                  <a:pt x="7866276" y="2971084"/>
                  <a:pt x="7830562" y="2971084"/>
                </a:cubicBezTo>
                <a:cubicBezTo>
                  <a:pt x="7794848" y="2971084"/>
                  <a:pt x="7765896" y="2942133"/>
                  <a:pt x="7765896" y="2906419"/>
                </a:cubicBezTo>
                <a:cubicBezTo>
                  <a:pt x="7765896" y="2870704"/>
                  <a:pt x="7794848" y="2841752"/>
                  <a:pt x="7830562" y="2841752"/>
                </a:cubicBezTo>
                <a:close/>
                <a:moveTo>
                  <a:pt x="7677904" y="2841752"/>
                </a:moveTo>
                <a:cubicBezTo>
                  <a:pt x="7713618" y="2841752"/>
                  <a:pt x="7742570" y="2870704"/>
                  <a:pt x="7742570" y="2906419"/>
                </a:cubicBezTo>
                <a:cubicBezTo>
                  <a:pt x="7742570" y="2942133"/>
                  <a:pt x="7713618" y="2971084"/>
                  <a:pt x="7677904" y="2971084"/>
                </a:cubicBezTo>
                <a:cubicBezTo>
                  <a:pt x="7642190" y="2971084"/>
                  <a:pt x="7613238" y="2942133"/>
                  <a:pt x="7613238" y="2906419"/>
                </a:cubicBezTo>
                <a:cubicBezTo>
                  <a:pt x="7613238" y="2870704"/>
                  <a:pt x="7642190" y="2841752"/>
                  <a:pt x="7677904" y="2841752"/>
                </a:cubicBezTo>
                <a:close/>
                <a:moveTo>
                  <a:pt x="7521331" y="2841752"/>
                </a:moveTo>
                <a:cubicBezTo>
                  <a:pt x="7557045" y="2841752"/>
                  <a:pt x="7585997" y="2870704"/>
                  <a:pt x="7585997" y="2906419"/>
                </a:cubicBezTo>
                <a:cubicBezTo>
                  <a:pt x="7585997" y="2942133"/>
                  <a:pt x="7557045" y="2971084"/>
                  <a:pt x="7521331" y="2971084"/>
                </a:cubicBezTo>
                <a:cubicBezTo>
                  <a:pt x="7485617" y="2971084"/>
                  <a:pt x="7456665" y="2942133"/>
                  <a:pt x="7456665" y="2906419"/>
                </a:cubicBezTo>
                <a:cubicBezTo>
                  <a:pt x="7456665" y="2870704"/>
                  <a:pt x="7485617" y="2841752"/>
                  <a:pt x="7521331" y="2841752"/>
                </a:cubicBezTo>
                <a:close/>
                <a:moveTo>
                  <a:pt x="7368669" y="2841752"/>
                </a:moveTo>
                <a:cubicBezTo>
                  <a:pt x="7404383" y="2841752"/>
                  <a:pt x="7433335" y="2870704"/>
                  <a:pt x="7433335" y="2906419"/>
                </a:cubicBezTo>
                <a:cubicBezTo>
                  <a:pt x="7433335" y="2942133"/>
                  <a:pt x="7404383" y="2971084"/>
                  <a:pt x="7368669" y="2971084"/>
                </a:cubicBezTo>
                <a:cubicBezTo>
                  <a:pt x="7332955" y="2971084"/>
                  <a:pt x="7304003" y="2942133"/>
                  <a:pt x="7304003" y="2906419"/>
                </a:cubicBezTo>
                <a:cubicBezTo>
                  <a:pt x="7304003" y="2870704"/>
                  <a:pt x="7332955" y="2841752"/>
                  <a:pt x="7368669" y="2841752"/>
                </a:cubicBezTo>
                <a:close/>
                <a:moveTo>
                  <a:pt x="7212096" y="2841752"/>
                </a:moveTo>
                <a:cubicBezTo>
                  <a:pt x="7247810" y="2841752"/>
                  <a:pt x="7276762" y="2870704"/>
                  <a:pt x="7276762" y="2906419"/>
                </a:cubicBezTo>
                <a:cubicBezTo>
                  <a:pt x="7276762" y="2942133"/>
                  <a:pt x="7247810" y="2971084"/>
                  <a:pt x="7212096" y="2971084"/>
                </a:cubicBezTo>
                <a:cubicBezTo>
                  <a:pt x="7176382" y="2971084"/>
                  <a:pt x="7147430" y="2942133"/>
                  <a:pt x="7147430" y="2906419"/>
                </a:cubicBezTo>
                <a:cubicBezTo>
                  <a:pt x="7147430" y="2870704"/>
                  <a:pt x="7176382" y="2841752"/>
                  <a:pt x="7212096" y="2841752"/>
                </a:cubicBezTo>
                <a:close/>
                <a:moveTo>
                  <a:pt x="7055523" y="2841752"/>
                </a:moveTo>
                <a:cubicBezTo>
                  <a:pt x="7091237" y="2841752"/>
                  <a:pt x="7120189" y="2870704"/>
                  <a:pt x="7120189" y="2906419"/>
                </a:cubicBezTo>
                <a:cubicBezTo>
                  <a:pt x="7120189" y="2942133"/>
                  <a:pt x="7091237" y="2971084"/>
                  <a:pt x="7055523" y="2971084"/>
                </a:cubicBezTo>
                <a:cubicBezTo>
                  <a:pt x="7019809" y="2971084"/>
                  <a:pt x="6990857" y="2942133"/>
                  <a:pt x="6990857" y="2906419"/>
                </a:cubicBezTo>
                <a:cubicBezTo>
                  <a:pt x="6990857" y="2870704"/>
                  <a:pt x="7019809" y="2841752"/>
                  <a:pt x="7055523" y="2841752"/>
                </a:cubicBezTo>
                <a:close/>
                <a:moveTo>
                  <a:pt x="6895037" y="2841752"/>
                </a:moveTo>
                <a:cubicBezTo>
                  <a:pt x="6930751" y="2841752"/>
                  <a:pt x="6959703" y="2870704"/>
                  <a:pt x="6959703" y="2906419"/>
                </a:cubicBezTo>
                <a:cubicBezTo>
                  <a:pt x="6959703" y="2942133"/>
                  <a:pt x="6930751" y="2971084"/>
                  <a:pt x="6895037" y="2971084"/>
                </a:cubicBezTo>
                <a:cubicBezTo>
                  <a:pt x="6859323" y="2971084"/>
                  <a:pt x="6830371" y="2942133"/>
                  <a:pt x="6830371" y="2906419"/>
                </a:cubicBezTo>
                <a:cubicBezTo>
                  <a:pt x="6830371" y="2870704"/>
                  <a:pt x="6859323" y="2841752"/>
                  <a:pt x="6895037" y="2841752"/>
                </a:cubicBezTo>
                <a:close/>
                <a:moveTo>
                  <a:pt x="6742377" y="2841752"/>
                </a:moveTo>
                <a:cubicBezTo>
                  <a:pt x="6778091" y="2841752"/>
                  <a:pt x="6807043" y="2870704"/>
                  <a:pt x="6807043" y="2906419"/>
                </a:cubicBezTo>
                <a:cubicBezTo>
                  <a:pt x="6807043" y="2942133"/>
                  <a:pt x="6778091" y="2971084"/>
                  <a:pt x="6742377" y="2971084"/>
                </a:cubicBezTo>
                <a:cubicBezTo>
                  <a:pt x="6706663" y="2971084"/>
                  <a:pt x="6677711" y="2942133"/>
                  <a:pt x="6677711" y="2906419"/>
                </a:cubicBezTo>
                <a:cubicBezTo>
                  <a:pt x="6677711" y="2870704"/>
                  <a:pt x="6706663" y="2841752"/>
                  <a:pt x="6742377" y="2841752"/>
                </a:cubicBezTo>
                <a:close/>
                <a:moveTo>
                  <a:pt x="6585804" y="2841752"/>
                </a:moveTo>
                <a:cubicBezTo>
                  <a:pt x="6621518" y="2841752"/>
                  <a:pt x="6650470" y="2870704"/>
                  <a:pt x="6650470" y="2906419"/>
                </a:cubicBezTo>
                <a:cubicBezTo>
                  <a:pt x="6650470" y="2942133"/>
                  <a:pt x="6621518" y="2971084"/>
                  <a:pt x="6585804" y="2971084"/>
                </a:cubicBezTo>
                <a:cubicBezTo>
                  <a:pt x="6550090" y="2971084"/>
                  <a:pt x="6521138" y="2942133"/>
                  <a:pt x="6521138" y="2906419"/>
                </a:cubicBezTo>
                <a:cubicBezTo>
                  <a:pt x="6521138" y="2870704"/>
                  <a:pt x="6550090" y="2841752"/>
                  <a:pt x="6585804" y="2841752"/>
                </a:cubicBezTo>
                <a:close/>
                <a:moveTo>
                  <a:pt x="6429229" y="2841752"/>
                </a:moveTo>
                <a:cubicBezTo>
                  <a:pt x="6464943" y="2841752"/>
                  <a:pt x="6493895" y="2870704"/>
                  <a:pt x="6493895" y="2906419"/>
                </a:cubicBezTo>
                <a:cubicBezTo>
                  <a:pt x="6493895" y="2942133"/>
                  <a:pt x="6464943" y="2971084"/>
                  <a:pt x="6429229" y="2971084"/>
                </a:cubicBezTo>
                <a:cubicBezTo>
                  <a:pt x="6393515" y="2971084"/>
                  <a:pt x="6364563" y="2942133"/>
                  <a:pt x="6364563" y="2906419"/>
                </a:cubicBezTo>
                <a:cubicBezTo>
                  <a:pt x="6364563" y="2870704"/>
                  <a:pt x="6393515" y="2841752"/>
                  <a:pt x="6429229" y="2841752"/>
                </a:cubicBezTo>
                <a:close/>
                <a:moveTo>
                  <a:pt x="6276571" y="2841752"/>
                </a:moveTo>
                <a:cubicBezTo>
                  <a:pt x="6312285" y="2841752"/>
                  <a:pt x="6341237" y="2870704"/>
                  <a:pt x="6341237" y="2906419"/>
                </a:cubicBezTo>
                <a:cubicBezTo>
                  <a:pt x="6341237" y="2942133"/>
                  <a:pt x="6312285" y="2971084"/>
                  <a:pt x="6276571" y="2971084"/>
                </a:cubicBezTo>
                <a:cubicBezTo>
                  <a:pt x="6240857" y="2971084"/>
                  <a:pt x="6211905" y="2942133"/>
                  <a:pt x="6211905" y="2906419"/>
                </a:cubicBezTo>
                <a:cubicBezTo>
                  <a:pt x="6211905" y="2870704"/>
                  <a:pt x="6240857" y="2841752"/>
                  <a:pt x="6276571" y="2841752"/>
                </a:cubicBezTo>
                <a:close/>
                <a:moveTo>
                  <a:pt x="6119999" y="2841752"/>
                </a:moveTo>
                <a:cubicBezTo>
                  <a:pt x="6155713" y="2841752"/>
                  <a:pt x="6184665" y="2870704"/>
                  <a:pt x="6184665" y="2906419"/>
                </a:cubicBezTo>
                <a:cubicBezTo>
                  <a:pt x="6184665" y="2942133"/>
                  <a:pt x="6155713" y="2971084"/>
                  <a:pt x="6119999" y="2971084"/>
                </a:cubicBezTo>
                <a:cubicBezTo>
                  <a:pt x="6084285" y="2971084"/>
                  <a:pt x="6055333" y="2942133"/>
                  <a:pt x="6055333" y="2906419"/>
                </a:cubicBezTo>
                <a:cubicBezTo>
                  <a:pt x="6055333" y="2870704"/>
                  <a:pt x="6084285" y="2841752"/>
                  <a:pt x="6119999" y="2841752"/>
                </a:cubicBezTo>
                <a:close/>
                <a:moveTo>
                  <a:pt x="5967339" y="2841752"/>
                </a:moveTo>
                <a:cubicBezTo>
                  <a:pt x="6003053" y="2841752"/>
                  <a:pt x="6032005" y="2870704"/>
                  <a:pt x="6032005" y="2906419"/>
                </a:cubicBezTo>
                <a:cubicBezTo>
                  <a:pt x="6032005" y="2942133"/>
                  <a:pt x="6003053" y="2971084"/>
                  <a:pt x="5967339" y="2971084"/>
                </a:cubicBezTo>
                <a:cubicBezTo>
                  <a:pt x="5931625" y="2971084"/>
                  <a:pt x="5902673" y="2942133"/>
                  <a:pt x="5902673" y="2906419"/>
                </a:cubicBezTo>
                <a:cubicBezTo>
                  <a:pt x="5902673" y="2870704"/>
                  <a:pt x="5931625" y="2841752"/>
                  <a:pt x="5967339" y="2841752"/>
                </a:cubicBezTo>
                <a:close/>
                <a:moveTo>
                  <a:pt x="5810785" y="2841752"/>
                </a:moveTo>
                <a:cubicBezTo>
                  <a:pt x="5846479" y="2841752"/>
                  <a:pt x="5875431" y="2870704"/>
                  <a:pt x="5875431" y="2906419"/>
                </a:cubicBezTo>
                <a:cubicBezTo>
                  <a:pt x="5875431" y="2942133"/>
                  <a:pt x="5846479" y="2971084"/>
                  <a:pt x="5810785" y="2971084"/>
                </a:cubicBezTo>
                <a:cubicBezTo>
                  <a:pt x="5775064" y="2971084"/>
                  <a:pt x="5746108" y="2942133"/>
                  <a:pt x="5746108" y="2906419"/>
                </a:cubicBezTo>
                <a:cubicBezTo>
                  <a:pt x="5746108" y="2870704"/>
                  <a:pt x="5775064" y="2841752"/>
                  <a:pt x="5810785" y="2841752"/>
                </a:cubicBezTo>
                <a:close/>
                <a:moveTo>
                  <a:pt x="5658107" y="2841752"/>
                </a:moveTo>
                <a:cubicBezTo>
                  <a:pt x="5693823" y="2841752"/>
                  <a:pt x="5722779" y="2870704"/>
                  <a:pt x="5722779" y="2906419"/>
                </a:cubicBezTo>
                <a:cubicBezTo>
                  <a:pt x="5722779" y="2942133"/>
                  <a:pt x="5693823" y="2971084"/>
                  <a:pt x="5658107" y="2971084"/>
                </a:cubicBezTo>
                <a:cubicBezTo>
                  <a:pt x="5622395" y="2971084"/>
                  <a:pt x="5593441" y="2942133"/>
                  <a:pt x="5593441" y="2906419"/>
                </a:cubicBezTo>
                <a:cubicBezTo>
                  <a:pt x="5593441" y="2870704"/>
                  <a:pt x="5622395" y="2841752"/>
                  <a:pt x="5658107" y="2841752"/>
                </a:cubicBezTo>
                <a:close/>
                <a:moveTo>
                  <a:pt x="5501538" y="2841752"/>
                </a:moveTo>
                <a:cubicBezTo>
                  <a:pt x="5537252" y="2841752"/>
                  <a:pt x="5566202" y="2870704"/>
                  <a:pt x="5566202" y="2906419"/>
                </a:cubicBezTo>
                <a:cubicBezTo>
                  <a:pt x="5566202" y="2942133"/>
                  <a:pt x="5537252" y="2971084"/>
                  <a:pt x="5501538" y="2971084"/>
                </a:cubicBezTo>
                <a:cubicBezTo>
                  <a:pt x="5465825" y="2971084"/>
                  <a:pt x="5436878" y="2942133"/>
                  <a:pt x="5436878" y="2906419"/>
                </a:cubicBezTo>
                <a:cubicBezTo>
                  <a:pt x="5436878" y="2870704"/>
                  <a:pt x="5465825" y="2841752"/>
                  <a:pt x="5501538" y="2841752"/>
                </a:cubicBezTo>
                <a:close/>
                <a:moveTo>
                  <a:pt x="5348883" y="2841752"/>
                </a:moveTo>
                <a:cubicBezTo>
                  <a:pt x="5384600" y="2841752"/>
                  <a:pt x="5413550" y="2870704"/>
                  <a:pt x="5413550" y="2906419"/>
                </a:cubicBezTo>
                <a:cubicBezTo>
                  <a:pt x="5413550" y="2942133"/>
                  <a:pt x="5384600" y="2971084"/>
                  <a:pt x="5348883" y="2971084"/>
                </a:cubicBezTo>
                <a:cubicBezTo>
                  <a:pt x="5313178" y="2971084"/>
                  <a:pt x="5284222" y="2942133"/>
                  <a:pt x="5284222" y="2906419"/>
                </a:cubicBezTo>
                <a:cubicBezTo>
                  <a:pt x="5284222" y="2870704"/>
                  <a:pt x="5313178" y="2841752"/>
                  <a:pt x="5348883" y="2841752"/>
                </a:cubicBezTo>
                <a:close/>
                <a:moveTo>
                  <a:pt x="5192312" y="2841752"/>
                </a:moveTo>
                <a:cubicBezTo>
                  <a:pt x="5228028" y="2841752"/>
                  <a:pt x="5256975" y="2870704"/>
                  <a:pt x="5256975" y="2906419"/>
                </a:cubicBezTo>
                <a:cubicBezTo>
                  <a:pt x="5256975" y="2942133"/>
                  <a:pt x="5228028" y="2971084"/>
                  <a:pt x="5192312" y="2971084"/>
                </a:cubicBezTo>
                <a:cubicBezTo>
                  <a:pt x="5156602" y="2971084"/>
                  <a:pt x="5127646" y="2942133"/>
                  <a:pt x="5127646" y="2906419"/>
                </a:cubicBezTo>
                <a:cubicBezTo>
                  <a:pt x="5127646" y="2870704"/>
                  <a:pt x="5156602" y="2841752"/>
                  <a:pt x="5192312" y="2841752"/>
                </a:cubicBezTo>
                <a:close/>
                <a:moveTo>
                  <a:pt x="2855510" y="2841752"/>
                </a:moveTo>
                <a:cubicBezTo>
                  <a:pt x="2891221" y="2841752"/>
                  <a:pt x="2920171" y="2870704"/>
                  <a:pt x="2920171" y="2906419"/>
                </a:cubicBezTo>
                <a:cubicBezTo>
                  <a:pt x="2920171" y="2942133"/>
                  <a:pt x="2891221" y="2971084"/>
                  <a:pt x="2855510" y="2971084"/>
                </a:cubicBezTo>
                <a:cubicBezTo>
                  <a:pt x="2819799" y="2971084"/>
                  <a:pt x="2790849" y="2942133"/>
                  <a:pt x="2790849" y="2906419"/>
                </a:cubicBezTo>
                <a:cubicBezTo>
                  <a:pt x="2790849" y="2870704"/>
                  <a:pt x="2819799" y="2841752"/>
                  <a:pt x="2855510" y="2841752"/>
                </a:cubicBezTo>
                <a:close/>
                <a:moveTo>
                  <a:pt x="2237059" y="2841752"/>
                </a:moveTo>
                <a:cubicBezTo>
                  <a:pt x="2272778" y="2841752"/>
                  <a:pt x="2301735" y="2870704"/>
                  <a:pt x="2301735" y="2906419"/>
                </a:cubicBezTo>
                <a:cubicBezTo>
                  <a:pt x="2301735" y="2942133"/>
                  <a:pt x="2272778" y="2971084"/>
                  <a:pt x="2237059" y="2971084"/>
                </a:cubicBezTo>
                <a:cubicBezTo>
                  <a:pt x="2201340" y="2971084"/>
                  <a:pt x="2172383" y="2942133"/>
                  <a:pt x="2172383" y="2906419"/>
                </a:cubicBezTo>
                <a:cubicBezTo>
                  <a:pt x="2172383" y="2870704"/>
                  <a:pt x="2201340" y="2841752"/>
                  <a:pt x="2237059" y="2841752"/>
                </a:cubicBezTo>
                <a:close/>
                <a:moveTo>
                  <a:pt x="2084385" y="2841752"/>
                </a:moveTo>
                <a:cubicBezTo>
                  <a:pt x="2120101" y="2841752"/>
                  <a:pt x="2149052" y="2870704"/>
                  <a:pt x="2149052" y="2906419"/>
                </a:cubicBezTo>
                <a:cubicBezTo>
                  <a:pt x="2149052" y="2942133"/>
                  <a:pt x="2120101" y="2971084"/>
                  <a:pt x="2084385" y="2971084"/>
                </a:cubicBezTo>
                <a:cubicBezTo>
                  <a:pt x="2048665" y="2971084"/>
                  <a:pt x="2019732" y="2942133"/>
                  <a:pt x="2019732" y="2906419"/>
                </a:cubicBezTo>
                <a:cubicBezTo>
                  <a:pt x="2019732" y="2870704"/>
                  <a:pt x="2048665" y="2841752"/>
                  <a:pt x="2084385" y="2841752"/>
                </a:cubicBezTo>
                <a:close/>
                <a:moveTo>
                  <a:pt x="1927808" y="2841752"/>
                </a:moveTo>
                <a:cubicBezTo>
                  <a:pt x="1963522" y="2841752"/>
                  <a:pt x="1992485" y="2870704"/>
                  <a:pt x="1992485" y="2906419"/>
                </a:cubicBezTo>
                <a:cubicBezTo>
                  <a:pt x="1992485" y="2942133"/>
                  <a:pt x="1963522" y="2971084"/>
                  <a:pt x="1927808" y="2971084"/>
                </a:cubicBezTo>
                <a:cubicBezTo>
                  <a:pt x="1892110" y="2971084"/>
                  <a:pt x="1863159" y="2942133"/>
                  <a:pt x="1863159" y="2906419"/>
                </a:cubicBezTo>
                <a:cubicBezTo>
                  <a:pt x="1863159" y="2870704"/>
                  <a:pt x="1892110" y="2841752"/>
                  <a:pt x="1927808" y="2841752"/>
                </a:cubicBezTo>
                <a:close/>
                <a:moveTo>
                  <a:pt x="1775154" y="2841752"/>
                </a:moveTo>
                <a:cubicBezTo>
                  <a:pt x="1810863" y="2841752"/>
                  <a:pt x="1839830" y="2870704"/>
                  <a:pt x="1839830" y="2906419"/>
                </a:cubicBezTo>
                <a:cubicBezTo>
                  <a:pt x="1839830" y="2942133"/>
                  <a:pt x="1810863" y="2971084"/>
                  <a:pt x="1775154" y="2971084"/>
                </a:cubicBezTo>
                <a:cubicBezTo>
                  <a:pt x="1739439" y="2971084"/>
                  <a:pt x="1710486" y="2942133"/>
                  <a:pt x="1710486" y="2906419"/>
                </a:cubicBezTo>
                <a:cubicBezTo>
                  <a:pt x="1710486" y="2870704"/>
                  <a:pt x="1739439" y="2841752"/>
                  <a:pt x="1775154" y="2841752"/>
                </a:cubicBezTo>
                <a:close/>
                <a:moveTo>
                  <a:pt x="8296367" y="2700840"/>
                </a:moveTo>
                <a:cubicBezTo>
                  <a:pt x="8332081" y="2700840"/>
                  <a:pt x="8361033" y="2729792"/>
                  <a:pt x="8361033" y="2765506"/>
                </a:cubicBezTo>
                <a:cubicBezTo>
                  <a:pt x="8361033" y="2801220"/>
                  <a:pt x="8332081" y="2830172"/>
                  <a:pt x="8296367" y="2830172"/>
                </a:cubicBezTo>
                <a:cubicBezTo>
                  <a:pt x="8260653" y="2830172"/>
                  <a:pt x="8231701" y="2801220"/>
                  <a:pt x="8231701" y="2765506"/>
                </a:cubicBezTo>
                <a:cubicBezTo>
                  <a:pt x="8231701" y="2729792"/>
                  <a:pt x="8260653" y="2700840"/>
                  <a:pt x="8296367" y="2700840"/>
                </a:cubicBezTo>
                <a:close/>
                <a:moveTo>
                  <a:pt x="7677902" y="2700840"/>
                </a:moveTo>
                <a:cubicBezTo>
                  <a:pt x="7713616" y="2700840"/>
                  <a:pt x="7742568" y="2729792"/>
                  <a:pt x="7742568" y="2765506"/>
                </a:cubicBezTo>
                <a:cubicBezTo>
                  <a:pt x="7742568" y="2801220"/>
                  <a:pt x="7713616" y="2830172"/>
                  <a:pt x="7677902" y="2830172"/>
                </a:cubicBezTo>
                <a:cubicBezTo>
                  <a:pt x="7642188" y="2830172"/>
                  <a:pt x="7613236" y="2801220"/>
                  <a:pt x="7613236" y="2765506"/>
                </a:cubicBezTo>
                <a:cubicBezTo>
                  <a:pt x="7613236" y="2729792"/>
                  <a:pt x="7642188" y="2700840"/>
                  <a:pt x="7677902" y="2700840"/>
                </a:cubicBezTo>
                <a:close/>
                <a:moveTo>
                  <a:pt x="7521329" y="2700840"/>
                </a:moveTo>
                <a:cubicBezTo>
                  <a:pt x="7557043" y="2700840"/>
                  <a:pt x="7585995" y="2729792"/>
                  <a:pt x="7585995" y="2765506"/>
                </a:cubicBezTo>
                <a:cubicBezTo>
                  <a:pt x="7585995" y="2801220"/>
                  <a:pt x="7557043" y="2830172"/>
                  <a:pt x="7521329" y="2830172"/>
                </a:cubicBezTo>
                <a:cubicBezTo>
                  <a:pt x="7485615" y="2830172"/>
                  <a:pt x="7456663" y="2801220"/>
                  <a:pt x="7456663" y="2765506"/>
                </a:cubicBezTo>
                <a:cubicBezTo>
                  <a:pt x="7456663" y="2729792"/>
                  <a:pt x="7485615" y="2700840"/>
                  <a:pt x="7521329" y="2700840"/>
                </a:cubicBezTo>
                <a:close/>
                <a:moveTo>
                  <a:pt x="7212096" y="2700840"/>
                </a:moveTo>
                <a:cubicBezTo>
                  <a:pt x="7247810" y="2700840"/>
                  <a:pt x="7276762" y="2729792"/>
                  <a:pt x="7276762" y="2765506"/>
                </a:cubicBezTo>
                <a:cubicBezTo>
                  <a:pt x="7276762" y="2801220"/>
                  <a:pt x="7247810" y="2830172"/>
                  <a:pt x="7212096" y="2830172"/>
                </a:cubicBezTo>
                <a:cubicBezTo>
                  <a:pt x="7176382" y="2830172"/>
                  <a:pt x="7147430" y="2801220"/>
                  <a:pt x="7147430" y="2765506"/>
                </a:cubicBezTo>
                <a:cubicBezTo>
                  <a:pt x="7147430" y="2729792"/>
                  <a:pt x="7176382" y="2700840"/>
                  <a:pt x="7212096" y="2700840"/>
                </a:cubicBezTo>
                <a:close/>
                <a:moveTo>
                  <a:pt x="7055523" y="2700840"/>
                </a:moveTo>
                <a:cubicBezTo>
                  <a:pt x="7091237" y="2700840"/>
                  <a:pt x="7120189" y="2729792"/>
                  <a:pt x="7120189" y="2765506"/>
                </a:cubicBezTo>
                <a:cubicBezTo>
                  <a:pt x="7120189" y="2801220"/>
                  <a:pt x="7091237" y="2830172"/>
                  <a:pt x="7055523" y="2830172"/>
                </a:cubicBezTo>
                <a:cubicBezTo>
                  <a:pt x="7019809" y="2830172"/>
                  <a:pt x="6990857" y="2801220"/>
                  <a:pt x="6990857" y="2765506"/>
                </a:cubicBezTo>
                <a:cubicBezTo>
                  <a:pt x="6990857" y="2729792"/>
                  <a:pt x="7019809" y="2700840"/>
                  <a:pt x="7055523" y="2700840"/>
                </a:cubicBezTo>
                <a:close/>
                <a:moveTo>
                  <a:pt x="6895037" y="2700840"/>
                </a:moveTo>
                <a:cubicBezTo>
                  <a:pt x="6930751" y="2700840"/>
                  <a:pt x="6959703" y="2729792"/>
                  <a:pt x="6959703" y="2765506"/>
                </a:cubicBezTo>
                <a:cubicBezTo>
                  <a:pt x="6959703" y="2801220"/>
                  <a:pt x="6930751" y="2830172"/>
                  <a:pt x="6895037" y="2830172"/>
                </a:cubicBezTo>
                <a:cubicBezTo>
                  <a:pt x="6859323" y="2830172"/>
                  <a:pt x="6830371" y="2801220"/>
                  <a:pt x="6830371" y="2765506"/>
                </a:cubicBezTo>
                <a:cubicBezTo>
                  <a:pt x="6830371" y="2729792"/>
                  <a:pt x="6859323" y="2700840"/>
                  <a:pt x="6895037" y="2700840"/>
                </a:cubicBezTo>
                <a:close/>
                <a:moveTo>
                  <a:pt x="6119999" y="2700840"/>
                </a:moveTo>
                <a:cubicBezTo>
                  <a:pt x="6155713" y="2700840"/>
                  <a:pt x="6184665" y="2729792"/>
                  <a:pt x="6184665" y="2765506"/>
                </a:cubicBezTo>
                <a:cubicBezTo>
                  <a:pt x="6184665" y="2801220"/>
                  <a:pt x="6155713" y="2830172"/>
                  <a:pt x="6119999" y="2830172"/>
                </a:cubicBezTo>
                <a:cubicBezTo>
                  <a:pt x="6084285" y="2830172"/>
                  <a:pt x="6055333" y="2801220"/>
                  <a:pt x="6055333" y="2765506"/>
                </a:cubicBezTo>
                <a:cubicBezTo>
                  <a:pt x="6055333" y="2729792"/>
                  <a:pt x="6084285" y="2700840"/>
                  <a:pt x="6119999" y="2700840"/>
                </a:cubicBezTo>
                <a:close/>
                <a:moveTo>
                  <a:pt x="5348883" y="2700840"/>
                </a:moveTo>
                <a:cubicBezTo>
                  <a:pt x="5384600" y="2700840"/>
                  <a:pt x="5413550" y="2729792"/>
                  <a:pt x="5413550" y="2765506"/>
                </a:cubicBezTo>
                <a:cubicBezTo>
                  <a:pt x="5413550" y="2801220"/>
                  <a:pt x="5384600" y="2830172"/>
                  <a:pt x="5348883" y="2830172"/>
                </a:cubicBezTo>
                <a:cubicBezTo>
                  <a:pt x="5313178" y="2830172"/>
                  <a:pt x="5284222" y="2801220"/>
                  <a:pt x="5284222" y="2765506"/>
                </a:cubicBezTo>
                <a:cubicBezTo>
                  <a:pt x="5284222" y="2729792"/>
                  <a:pt x="5313178" y="2700840"/>
                  <a:pt x="5348883" y="2700840"/>
                </a:cubicBezTo>
                <a:close/>
                <a:moveTo>
                  <a:pt x="2855515" y="2700840"/>
                </a:moveTo>
                <a:cubicBezTo>
                  <a:pt x="2891226" y="2700840"/>
                  <a:pt x="2920176" y="2729792"/>
                  <a:pt x="2920176" y="2765506"/>
                </a:cubicBezTo>
                <a:cubicBezTo>
                  <a:pt x="2920176" y="2801220"/>
                  <a:pt x="2891226" y="2830172"/>
                  <a:pt x="2855515" y="2830172"/>
                </a:cubicBezTo>
                <a:cubicBezTo>
                  <a:pt x="2819804" y="2830172"/>
                  <a:pt x="2790855" y="2801220"/>
                  <a:pt x="2790855" y="2765506"/>
                </a:cubicBezTo>
                <a:cubicBezTo>
                  <a:pt x="2790855" y="2729792"/>
                  <a:pt x="2819804" y="2700840"/>
                  <a:pt x="2855515" y="2700840"/>
                </a:cubicBezTo>
                <a:close/>
                <a:moveTo>
                  <a:pt x="2698955" y="2700840"/>
                </a:moveTo>
                <a:cubicBezTo>
                  <a:pt x="2734666" y="2700840"/>
                  <a:pt x="2763616" y="2729792"/>
                  <a:pt x="2763616" y="2765506"/>
                </a:cubicBezTo>
                <a:cubicBezTo>
                  <a:pt x="2763616" y="2801220"/>
                  <a:pt x="2734666" y="2830172"/>
                  <a:pt x="2698955" y="2830172"/>
                </a:cubicBezTo>
                <a:cubicBezTo>
                  <a:pt x="2663244" y="2830172"/>
                  <a:pt x="2634295" y="2801220"/>
                  <a:pt x="2634295" y="2765506"/>
                </a:cubicBezTo>
                <a:cubicBezTo>
                  <a:pt x="2634295" y="2729792"/>
                  <a:pt x="2663244" y="2700840"/>
                  <a:pt x="2698955" y="2700840"/>
                </a:cubicBezTo>
                <a:close/>
                <a:moveTo>
                  <a:pt x="2389740" y="2700840"/>
                </a:moveTo>
                <a:cubicBezTo>
                  <a:pt x="2425458" y="2700840"/>
                  <a:pt x="2454407" y="2729792"/>
                  <a:pt x="2454407" y="2765506"/>
                </a:cubicBezTo>
                <a:cubicBezTo>
                  <a:pt x="2454407" y="2801220"/>
                  <a:pt x="2425458" y="2830172"/>
                  <a:pt x="2389740" y="2830172"/>
                </a:cubicBezTo>
                <a:cubicBezTo>
                  <a:pt x="2354030" y="2830172"/>
                  <a:pt x="2325073" y="2801220"/>
                  <a:pt x="2325073" y="2765506"/>
                </a:cubicBezTo>
                <a:cubicBezTo>
                  <a:pt x="2325073" y="2729792"/>
                  <a:pt x="2354030" y="2700840"/>
                  <a:pt x="2389740" y="2700840"/>
                </a:cubicBezTo>
                <a:close/>
                <a:moveTo>
                  <a:pt x="2237065" y="2700840"/>
                </a:moveTo>
                <a:cubicBezTo>
                  <a:pt x="2272786" y="2700840"/>
                  <a:pt x="2301741" y="2729792"/>
                  <a:pt x="2301741" y="2765506"/>
                </a:cubicBezTo>
                <a:cubicBezTo>
                  <a:pt x="2301741" y="2801220"/>
                  <a:pt x="2272786" y="2830172"/>
                  <a:pt x="2237065" y="2830172"/>
                </a:cubicBezTo>
                <a:cubicBezTo>
                  <a:pt x="2201346" y="2830172"/>
                  <a:pt x="2172389" y="2801220"/>
                  <a:pt x="2172389" y="2765506"/>
                </a:cubicBezTo>
                <a:cubicBezTo>
                  <a:pt x="2172389" y="2729792"/>
                  <a:pt x="2201346" y="2700840"/>
                  <a:pt x="2237065" y="2700840"/>
                </a:cubicBezTo>
                <a:close/>
                <a:moveTo>
                  <a:pt x="2084396" y="2700840"/>
                </a:moveTo>
                <a:cubicBezTo>
                  <a:pt x="2120108" y="2700840"/>
                  <a:pt x="2149059" y="2729792"/>
                  <a:pt x="2149059" y="2765506"/>
                </a:cubicBezTo>
                <a:cubicBezTo>
                  <a:pt x="2149059" y="2801220"/>
                  <a:pt x="2120108" y="2830172"/>
                  <a:pt x="2084396" y="2830172"/>
                </a:cubicBezTo>
                <a:cubicBezTo>
                  <a:pt x="2048673" y="2830172"/>
                  <a:pt x="2019738" y="2801220"/>
                  <a:pt x="2019738" y="2765506"/>
                </a:cubicBezTo>
                <a:cubicBezTo>
                  <a:pt x="2019738" y="2729792"/>
                  <a:pt x="2048673" y="2700840"/>
                  <a:pt x="2084396" y="2700840"/>
                </a:cubicBezTo>
                <a:close/>
                <a:moveTo>
                  <a:pt x="1927818" y="2700840"/>
                </a:moveTo>
                <a:cubicBezTo>
                  <a:pt x="1963542" y="2700840"/>
                  <a:pt x="1992493" y="2729792"/>
                  <a:pt x="1992493" y="2765506"/>
                </a:cubicBezTo>
                <a:cubicBezTo>
                  <a:pt x="1992493" y="2801220"/>
                  <a:pt x="1963542" y="2830172"/>
                  <a:pt x="1927818" y="2830172"/>
                </a:cubicBezTo>
                <a:cubicBezTo>
                  <a:pt x="1892117" y="2830172"/>
                  <a:pt x="1863165" y="2801220"/>
                  <a:pt x="1863165" y="2765506"/>
                </a:cubicBezTo>
                <a:cubicBezTo>
                  <a:pt x="1863165" y="2729792"/>
                  <a:pt x="1892117" y="2700840"/>
                  <a:pt x="1927818" y="2700840"/>
                </a:cubicBezTo>
                <a:close/>
                <a:moveTo>
                  <a:pt x="1775160" y="2700840"/>
                </a:moveTo>
                <a:cubicBezTo>
                  <a:pt x="1810868" y="2700840"/>
                  <a:pt x="1839836" y="2729792"/>
                  <a:pt x="1839836" y="2765506"/>
                </a:cubicBezTo>
                <a:cubicBezTo>
                  <a:pt x="1839836" y="2801220"/>
                  <a:pt x="1810868" y="2830172"/>
                  <a:pt x="1775160" y="2830172"/>
                </a:cubicBezTo>
                <a:cubicBezTo>
                  <a:pt x="1739444" y="2830172"/>
                  <a:pt x="1710491" y="2801220"/>
                  <a:pt x="1710491" y="2765506"/>
                </a:cubicBezTo>
                <a:cubicBezTo>
                  <a:pt x="1710491" y="2729792"/>
                  <a:pt x="1739444" y="2700840"/>
                  <a:pt x="1775160" y="2700840"/>
                </a:cubicBezTo>
                <a:close/>
                <a:moveTo>
                  <a:pt x="8449023" y="2700839"/>
                </a:moveTo>
                <a:cubicBezTo>
                  <a:pt x="8484737" y="2700839"/>
                  <a:pt x="8513689" y="2729790"/>
                  <a:pt x="8513689" y="2765504"/>
                </a:cubicBezTo>
                <a:cubicBezTo>
                  <a:pt x="8513689" y="2801219"/>
                  <a:pt x="8484737" y="2830170"/>
                  <a:pt x="8449023" y="2830170"/>
                </a:cubicBezTo>
                <a:cubicBezTo>
                  <a:pt x="8413309" y="2830170"/>
                  <a:pt x="8384357" y="2801219"/>
                  <a:pt x="8384357" y="2765504"/>
                </a:cubicBezTo>
                <a:cubicBezTo>
                  <a:pt x="8384357" y="2729790"/>
                  <a:pt x="8413309" y="2700839"/>
                  <a:pt x="8449023" y="2700839"/>
                </a:cubicBezTo>
                <a:close/>
                <a:moveTo>
                  <a:pt x="8139792" y="2700839"/>
                </a:moveTo>
                <a:cubicBezTo>
                  <a:pt x="8175506" y="2700839"/>
                  <a:pt x="8204458" y="2729790"/>
                  <a:pt x="8204458" y="2765504"/>
                </a:cubicBezTo>
                <a:cubicBezTo>
                  <a:pt x="8204458" y="2801219"/>
                  <a:pt x="8175506" y="2830170"/>
                  <a:pt x="8139792" y="2830170"/>
                </a:cubicBezTo>
                <a:cubicBezTo>
                  <a:pt x="8104078" y="2830170"/>
                  <a:pt x="8075126" y="2801219"/>
                  <a:pt x="8075126" y="2765504"/>
                </a:cubicBezTo>
                <a:cubicBezTo>
                  <a:pt x="8075126" y="2729790"/>
                  <a:pt x="8104078" y="2700839"/>
                  <a:pt x="8139792" y="2700839"/>
                </a:cubicBezTo>
                <a:close/>
                <a:moveTo>
                  <a:pt x="7987133" y="2700839"/>
                </a:moveTo>
                <a:cubicBezTo>
                  <a:pt x="8022847" y="2700839"/>
                  <a:pt x="8051799" y="2729790"/>
                  <a:pt x="8051799" y="2765504"/>
                </a:cubicBezTo>
                <a:cubicBezTo>
                  <a:pt x="8051799" y="2801219"/>
                  <a:pt x="8022847" y="2830170"/>
                  <a:pt x="7987133" y="2830170"/>
                </a:cubicBezTo>
                <a:cubicBezTo>
                  <a:pt x="7951419" y="2830170"/>
                  <a:pt x="7922467" y="2801219"/>
                  <a:pt x="7922467" y="2765504"/>
                </a:cubicBezTo>
                <a:cubicBezTo>
                  <a:pt x="7922467" y="2729790"/>
                  <a:pt x="7951419" y="2700839"/>
                  <a:pt x="7987133" y="2700839"/>
                </a:cubicBezTo>
                <a:close/>
                <a:moveTo>
                  <a:pt x="7830562" y="2700839"/>
                </a:moveTo>
                <a:cubicBezTo>
                  <a:pt x="7866276" y="2700839"/>
                  <a:pt x="7895228" y="2729790"/>
                  <a:pt x="7895228" y="2765504"/>
                </a:cubicBezTo>
                <a:cubicBezTo>
                  <a:pt x="7895228" y="2801219"/>
                  <a:pt x="7866276" y="2830170"/>
                  <a:pt x="7830562" y="2830170"/>
                </a:cubicBezTo>
                <a:cubicBezTo>
                  <a:pt x="7794848" y="2830170"/>
                  <a:pt x="7765896" y="2801219"/>
                  <a:pt x="7765896" y="2765504"/>
                </a:cubicBezTo>
                <a:cubicBezTo>
                  <a:pt x="7765896" y="2729790"/>
                  <a:pt x="7794848" y="2700839"/>
                  <a:pt x="7830562" y="2700839"/>
                </a:cubicBezTo>
                <a:close/>
                <a:moveTo>
                  <a:pt x="7368669" y="2700839"/>
                </a:moveTo>
                <a:cubicBezTo>
                  <a:pt x="7404383" y="2700839"/>
                  <a:pt x="7433335" y="2729790"/>
                  <a:pt x="7433335" y="2765504"/>
                </a:cubicBezTo>
                <a:cubicBezTo>
                  <a:pt x="7433335" y="2801219"/>
                  <a:pt x="7404383" y="2830170"/>
                  <a:pt x="7368669" y="2830170"/>
                </a:cubicBezTo>
                <a:cubicBezTo>
                  <a:pt x="7332955" y="2830170"/>
                  <a:pt x="7304003" y="2801219"/>
                  <a:pt x="7304003" y="2765504"/>
                </a:cubicBezTo>
                <a:cubicBezTo>
                  <a:pt x="7304003" y="2729790"/>
                  <a:pt x="7332955" y="2700839"/>
                  <a:pt x="7368669" y="2700839"/>
                </a:cubicBezTo>
                <a:close/>
                <a:moveTo>
                  <a:pt x="6742375" y="2700839"/>
                </a:moveTo>
                <a:cubicBezTo>
                  <a:pt x="6778089" y="2700839"/>
                  <a:pt x="6807041" y="2729790"/>
                  <a:pt x="6807041" y="2765504"/>
                </a:cubicBezTo>
                <a:cubicBezTo>
                  <a:pt x="6807041" y="2801219"/>
                  <a:pt x="6778089" y="2830170"/>
                  <a:pt x="6742375" y="2830170"/>
                </a:cubicBezTo>
                <a:cubicBezTo>
                  <a:pt x="6706661" y="2830170"/>
                  <a:pt x="6677709" y="2801219"/>
                  <a:pt x="6677709" y="2765504"/>
                </a:cubicBezTo>
                <a:cubicBezTo>
                  <a:pt x="6677709" y="2729790"/>
                  <a:pt x="6706661" y="2700839"/>
                  <a:pt x="6742375" y="2700839"/>
                </a:cubicBezTo>
                <a:close/>
                <a:moveTo>
                  <a:pt x="6429229" y="2700839"/>
                </a:moveTo>
                <a:cubicBezTo>
                  <a:pt x="6464943" y="2700839"/>
                  <a:pt x="6493895" y="2729790"/>
                  <a:pt x="6493895" y="2765504"/>
                </a:cubicBezTo>
                <a:cubicBezTo>
                  <a:pt x="6493895" y="2801219"/>
                  <a:pt x="6464943" y="2830170"/>
                  <a:pt x="6429229" y="2830170"/>
                </a:cubicBezTo>
                <a:cubicBezTo>
                  <a:pt x="6393515" y="2830170"/>
                  <a:pt x="6364563" y="2801219"/>
                  <a:pt x="6364563" y="2765504"/>
                </a:cubicBezTo>
                <a:cubicBezTo>
                  <a:pt x="6364563" y="2729790"/>
                  <a:pt x="6393515" y="2700839"/>
                  <a:pt x="6429229" y="2700839"/>
                </a:cubicBezTo>
                <a:close/>
                <a:moveTo>
                  <a:pt x="6276571" y="2700839"/>
                </a:moveTo>
                <a:cubicBezTo>
                  <a:pt x="6312285" y="2700839"/>
                  <a:pt x="6341237" y="2729790"/>
                  <a:pt x="6341237" y="2765504"/>
                </a:cubicBezTo>
                <a:cubicBezTo>
                  <a:pt x="6341237" y="2801219"/>
                  <a:pt x="6312285" y="2830170"/>
                  <a:pt x="6276571" y="2830170"/>
                </a:cubicBezTo>
                <a:cubicBezTo>
                  <a:pt x="6240857" y="2830170"/>
                  <a:pt x="6211905" y="2801219"/>
                  <a:pt x="6211905" y="2765504"/>
                </a:cubicBezTo>
                <a:cubicBezTo>
                  <a:pt x="6211905" y="2729790"/>
                  <a:pt x="6240857" y="2700839"/>
                  <a:pt x="6276571" y="2700839"/>
                </a:cubicBezTo>
                <a:close/>
                <a:moveTo>
                  <a:pt x="5967338" y="2700839"/>
                </a:moveTo>
                <a:cubicBezTo>
                  <a:pt x="6003052" y="2700839"/>
                  <a:pt x="6032004" y="2729790"/>
                  <a:pt x="6032004" y="2765504"/>
                </a:cubicBezTo>
                <a:cubicBezTo>
                  <a:pt x="6032004" y="2801219"/>
                  <a:pt x="6003052" y="2830170"/>
                  <a:pt x="5967338" y="2830170"/>
                </a:cubicBezTo>
                <a:cubicBezTo>
                  <a:pt x="5931624" y="2830170"/>
                  <a:pt x="5902672" y="2801219"/>
                  <a:pt x="5902672" y="2765504"/>
                </a:cubicBezTo>
                <a:cubicBezTo>
                  <a:pt x="5902672" y="2729790"/>
                  <a:pt x="5931624" y="2700839"/>
                  <a:pt x="5967338" y="2700839"/>
                </a:cubicBezTo>
                <a:close/>
                <a:moveTo>
                  <a:pt x="5810785" y="2700839"/>
                </a:moveTo>
                <a:cubicBezTo>
                  <a:pt x="5846479" y="2700839"/>
                  <a:pt x="5875431" y="2729790"/>
                  <a:pt x="5875431" y="2765504"/>
                </a:cubicBezTo>
                <a:cubicBezTo>
                  <a:pt x="5875431" y="2801219"/>
                  <a:pt x="5846479" y="2830170"/>
                  <a:pt x="5810785" y="2830170"/>
                </a:cubicBezTo>
                <a:cubicBezTo>
                  <a:pt x="5775066" y="2830170"/>
                  <a:pt x="5746110" y="2801219"/>
                  <a:pt x="5746110" y="2765504"/>
                </a:cubicBezTo>
                <a:cubicBezTo>
                  <a:pt x="5746110" y="2729790"/>
                  <a:pt x="5775066" y="2700839"/>
                  <a:pt x="5810785" y="2700839"/>
                </a:cubicBezTo>
                <a:close/>
                <a:moveTo>
                  <a:pt x="5658107" y="2700839"/>
                </a:moveTo>
                <a:cubicBezTo>
                  <a:pt x="5693823" y="2700839"/>
                  <a:pt x="5722779" y="2729790"/>
                  <a:pt x="5722779" y="2765504"/>
                </a:cubicBezTo>
                <a:cubicBezTo>
                  <a:pt x="5722779" y="2801219"/>
                  <a:pt x="5693823" y="2830170"/>
                  <a:pt x="5658107" y="2830170"/>
                </a:cubicBezTo>
                <a:cubicBezTo>
                  <a:pt x="5622395" y="2830170"/>
                  <a:pt x="5593441" y="2801219"/>
                  <a:pt x="5593441" y="2765504"/>
                </a:cubicBezTo>
                <a:cubicBezTo>
                  <a:pt x="5593441" y="2729790"/>
                  <a:pt x="5622395" y="2700839"/>
                  <a:pt x="5658107" y="2700839"/>
                </a:cubicBezTo>
                <a:close/>
                <a:moveTo>
                  <a:pt x="5501539" y="2700839"/>
                </a:moveTo>
                <a:cubicBezTo>
                  <a:pt x="5537252" y="2700839"/>
                  <a:pt x="5566202" y="2729790"/>
                  <a:pt x="5566202" y="2765504"/>
                </a:cubicBezTo>
                <a:cubicBezTo>
                  <a:pt x="5566202" y="2801219"/>
                  <a:pt x="5537252" y="2830170"/>
                  <a:pt x="5501539" y="2830170"/>
                </a:cubicBezTo>
                <a:cubicBezTo>
                  <a:pt x="5465825" y="2830170"/>
                  <a:pt x="5436879" y="2801219"/>
                  <a:pt x="5436879" y="2765504"/>
                </a:cubicBezTo>
                <a:cubicBezTo>
                  <a:pt x="5436879" y="2729790"/>
                  <a:pt x="5465825" y="2700839"/>
                  <a:pt x="5501539" y="2700839"/>
                </a:cubicBezTo>
                <a:close/>
                <a:moveTo>
                  <a:pt x="5192312" y="2700839"/>
                </a:moveTo>
                <a:cubicBezTo>
                  <a:pt x="5228031" y="2700839"/>
                  <a:pt x="5256977" y="2729790"/>
                  <a:pt x="5256977" y="2765504"/>
                </a:cubicBezTo>
                <a:cubicBezTo>
                  <a:pt x="5256977" y="2801219"/>
                  <a:pt x="5228031" y="2830170"/>
                  <a:pt x="5192312" y="2830170"/>
                </a:cubicBezTo>
                <a:cubicBezTo>
                  <a:pt x="5156602" y="2830170"/>
                  <a:pt x="5127646" y="2801219"/>
                  <a:pt x="5127646" y="2765504"/>
                </a:cubicBezTo>
                <a:cubicBezTo>
                  <a:pt x="5127646" y="2729790"/>
                  <a:pt x="5156602" y="2700839"/>
                  <a:pt x="5192312" y="2700839"/>
                </a:cubicBezTo>
                <a:close/>
                <a:moveTo>
                  <a:pt x="2546309" y="2700839"/>
                </a:moveTo>
                <a:cubicBezTo>
                  <a:pt x="2582021" y="2700839"/>
                  <a:pt x="2610971" y="2729790"/>
                  <a:pt x="2610971" y="2765504"/>
                </a:cubicBezTo>
                <a:cubicBezTo>
                  <a:pt x="2610971" y="2801219"/>
                  <a:pt x="2582021" y="2830170"/>
                  <a:pt x="2546309" y="2830170"/>
                </a:cubicBezTo>
                <a:cubicBezTo>
                  <a:pt x="2510592" y="2830170"/>
                  <a:pt x="2481648" y="2801219"/>
                  <a:pt x="2481648" y="2765504"/>
                </a:cubicBezTo>
                <a:cubicBezTo>
                  <a:pt x="2481648" y="2729790"/>
                  <a:pt x="2510592" y="2700839"/>
                  <a:pt x="2546309" y="2700839"/>
                </a:cubicBezTo>
                <a:close/>
                <a:moveTo>
                  <a:pt x="9384550" y="2700836"/>
                </a:moveTo>
                <a:cubicBezTo>
                  <a:pt x="9420264" y="2700836"/>
                  <a:pt x="9449216" y="2729788"/>
                  <a:pt x="9449216" y="2765504"/>
                </a:cubicBezTo>
                <a:cubicBezTo>
                  <a:pt x="9449216" y="2801216"/>
                  <a:pt x="9420264" y="2830169"/>
                  <a:pt x="9384550" y="2830169"/>
                </a:cubicBezTo>
                <a:cubicBezTo>
                  <a:pt x="9348836" y="2830169"/>
                  <a:pt x="9319884" y="2801216"/>
                  <a:pt x="9319884" y="2765504"/>
                </a:cubicBezTo>
                <a:cubicBezTo>
                  <a:pt x="9319884" y="2729788"/>
                  <a:pt x="9348836" y="2700836"/>
                  <a:pt x="9384550" y="2700836"/>
                </a:cubicBezTo>
                <a:close/>
                <a:moveTo>
                  <a:pt x="9227977" y="2700836"/>
                </a:moveTo>
                <a:cubicBezTo>
                  <a:pt x="9263691" y="2700836"/>
                  <a:pt x="9292643" y="2729788"/>
                  <a:pt x="9292643" y="2765504"/>
                </a:cubicBezTo>
                <a:cubicBezTo>
                  <a:pt x="9292643" y="2801216"/>
                  <a:pt x="9263691" y="2830169"/>
                  <a:pt x="9227977" y="2830169"/>
                </a:cubicBezTo>
                <a:cubicBezTo>
                  <a:pt x="9192263" y="2830169"/>
                  <a:pt x="9163311" y="2801216"/>
                  <a:pt x="9163311" y="2765504"/>
                </a:cubicBezTo>
                <a:cubicBezTo>
                  <a:pt x="9163311" y="2729788"/>
                  <a:pt x="9192263" y="2700836"/>
                  <a:pt x="9227977" y="2700836"/>
                </a:cubicBezTo>
                <a:close/>
                <a:moveTo>
                  <a:pt x="9075319" y="2700836"/>
                </a:moveTo>
                <a:cubicBezTo>
                  <a:pt x="9111033" y="2700836"/>
                  <a:pt x="9139985" y="2729788"/>
                  <a:pt x="9139985" y="2765504"/>
                </a:cubicBezTo>
                <a:cubicBezTo>
                  <a:pt x="9139985" y="2801216"/>
                  <a:pt x="9111033" y="2830169"/>
                  <a:pt x="9075319" y="2830169"/>
                </a:cubicBezTo>
                <a:cubicBezTo>
                  <a:pt x="9039605" y="2830169"/>
                  <a:pt x="9010653" y="2801216"/>
                  <a:pt x="9010653" y="2765504"/>
                </a:cubicBezTo>
                <a:cubicBezTo>
                  <a:pt x="9010653" y="2729788"/>
                  <a:pt x="9039605" y="2700836"/>
                  <a:pt x="9075319" y="2700836"/>
                </a:cubicBezTo>
                <a:close/>
                <a:moveTo>
                  <a:pt x="8914831" y="2700836"/>
                </a:moveTo>
                <a:cubicBezTo>
                  <a:pt x="8950545" y="2700836"/>
                  <a:pt x="8979497" y="2729788"/>
                  <a:pt x="8979497" y="2765504"/>
                </a:cubicBezTo>
                <a:cubicBezTo>
                  <a:pt x="8979497" y="2801216"/>
                  <a:pt x="8950545" y="2830169"/>
                  <a:pt x="8914831" y="2830169"/>
                </a:cubicBezTo>
                <a:cubicBezTo>
                  <a:pt x="8879117" y="2830169"/>
                  <a:pt x="8850165" y="2801216"/>
                  <a:pt x="8850165" y="2765504"/>
                </a:cubicBezTo>
                <a:cubicBezTo>
                  <a:pt x="8850165" y="2729788"/>
                  <a:pt x="8879117" y="2700836"/>
                  <a:pt x="8914831" y="2700836"/>
                </a:cubicBezTo>
                <a:close/>
                <a:moveTo>
                  <a:pt x="8766086" y="2700836"/>
                </a:moveTo>
                <a:cubicBezTo>
                  <a:pt x="8801800" y="2700836"/>
                  <a:pt x="8830752" y="2729788"/>
                  <a:pt x="8830752" y="2765504"/>
                </a:cubicBezTo>
                <a:cubicBezTo>
                  <a:pt x="8830752" y="2801216"/>
                  <a:pt x="8801800" y="2830169"/>
                  <a:pt x="8766086" y="2830169"/>
                </a:cubicBezTo>
                <a:cubicBezTo>
                  <a:pt x="8730372" y="2830169"/>
                  <a:pt x="8701420" y="2801216"/>
                  <a:pt x="8701420" y="2765504"/>
                </a:cubicBezTo>
                <a:cubicBezTo>
                  <a:pt x="8701420" y="2729788"/>
                  <a:pt x="8730372" y="2700836"/>
                  <a:pt x="8766086" y="2700836"/>
                </a:cubicBezTo>
                <a:close/>
                <a:moveTo>
                  <a:pt x="8601683" y="2700836"/>
                </a:moveTo>
                <a:cubicBezTo>
                  <a:pt x="8637397" y="2700836"/>
                  <a:pt x="8666349" y="2729788"/>
                  <a:pt x="8666349" y="2765504"/>
                </a:cubicBezTo>
                <a:cubicBezTo>
                  <a:pt x="8666349" y="2801216"/>
                  <a:pt x="8637397" y="2830169"/>
                  <a:pt x="8601683" y="2830169"/>
                </a:cubicBezTo>
                <a:cubicBezTo>
                  <a:pt x="8565969" y="2830169"/>
                  <a:pt x="8537017" y="2801216"/>
                  <a:pt x="8537017" y="2765504"/>
                </a:cubicBezTo>
                <a:cubicBezTo>
                  <a:pt x="8537017" y="2729788"/>
                  <a:pt x="8565969" y="2700836"/>
                  <a:pt x="8601683" y="2700836"/>
                </a:cubicBezTo>
                <a:close/>
                <a:moveTo>
                  <a:pt x="10003015" y="2559922"/>
                </a:moveTo>
                <a:cubicBezTo>
                  <a:pt x="10038729" y="2559922"/>
                  <a:pt x="10067681" y="2588874"/>
                  <a:pt x="10067681" y="2624589"/>
                </a:cubicBezTo>
                <a:cubicBezTo>
                  <a:pt x="10067681" y="2660302"/>
                  <a:pt x="10038729" y="2689256"/>
                  <a:pt x="10003015" y="2689256"/>
                </a:cubicBezTo>
                <a:cubicBezTo>
                  <a:pt x="9967301" y="2689256"/>
                  <a:pt x="9938349" y="2660302"/>
                  <a:pt x="9938349" y="2624589"/>
                </a:cubicBezTo>
                <a:cubicBezTo>
                  <a:pt x="9938349" y="2588874"/>
                  <a:pt x="9967301" y="2559922"/>
                  <a:pt x="10003015" y="2559922"/>
                </a:cubicBezTo>
                <a:close/>
                <a:moveTo>
                  <a:pt x="9850356" y="2559922"/>
                </a:moveTo>
                <a:cubicBezTo>
                  <a:pt x="9886070" y="2559922"/>
                  <a:pt x="9915022" y="2588874"/>
                  <a:pt x="9915022" y="2624589"/>
                </a:cubicBezTo>
                <a:cubicBezTo>
                  <a:pt x="9915022" y="2660302"/>
                  <a:pt x="9886070" y="2689256"/>
                  <a:pt x="9850356" y="2689256"/>
                </a:cubicBezTo>
                <a:cubicBezTo>
                  <a:pt x="9814642" y="2689256"/>
                  <a:pt x="9785690" y="2660302"/>
                  <a:pt x="9785690" y="2624589"/>
                </a:cubicBezTo>
                <a:cubicBezTo>
                  <a:pt x="9785690" y="2588874"/>
                  <a:pt x="9814642" y="2559922"/>
                  <a:pt x="9850356" y="2559922"/>
                </a:cubicBezTo>
                <a:close/>
                <a:moveTo>
                  <a:pt x="9384549" y="2559922"/>
                </a:moveTo>
                <a:cubicBezTo>
                  <a:pt x="9420263" y="2559922"/>
                  <a:pt x="9449215" y="2588874"/>
                  <a:pt x="9449215" y="2624589"/>
                </a:cubicBezTo>
                <a:cubicBezTo>
                  <a:pt x="9449215" y="2660302"/>
                  <a:pt x="9420263" y="2689256"/>
                  <a:pt x="9384549" y="2689256"/>
                </a:cubicBezTo>
                <a:cubicBezTo>
                  <a:pt x="9348835" y="2689256"/>
                  <a:pt x="9319883" y="2660302"/>
                  <a:pt x="9319883" y="2624589"/>
                </a:cubicBezTo>
                <a:cubicBezTo>
                  <a:pt x="9319883" y="2588874"/>
                  <a:pt x="9348835" y="2559922"/>
                  <a:pt x="9384549" y="2559922"/>
                </a:cubicBezTo>
                <a:close/>
                <a:moveTo>
                  <a:pt x="9227976" y="2559922"/>
                </a:moveTo>
                <a:cubicBezTo>
                  <a:pt x="9263690" y="2559922"/>
                  <a:pt x="9292642" y="2588874"/>
                  <a:pt x="9292642" y="2624589"/>
                </a:cubicBezTo>
                <a:cubicBezTo>
                  <a:pt x="9292642" y="2660302"/>
                  <a:pt x="9263690" y="2689256"/>
                  <a:pt x="9227976" y="2689256"/>
                </a:cubicBezTo>
                <a:cubicBezTo>
                  <a:pt x="9192262" y="2689256"/>
                  <a:pt x="9163310" y="2660302"/>
                  <a:pt x="9163310" y="2624589"/>
                </a:cubicBezTo>
                <a:cubicBezTo>
                  <a:pt x="9163310" y="2588874"/>
                  <a:pt x="9192262" y="2559922"/>
                  <a:pt x="9227976" y="2559922"/>
                </a:cubicBezTo>
                <a:close/>
                <a:moveTo>
                  <a:pt x="9075317" y="2559922"/>
                </a:moveTo>
                <a:cubicBezTo>
                  <a:pt x="9111031" y="2559922"/>
                  <a:pt x="9139983" y="2588874"/>
                  <a:pt x="9139983" y="2624589"/>
                </a:cubicBezTo>
                <a:cubicBezTo>
                  <a:pt x="9139983" y="2660302"/>
                  <a:pt x="9111031" y="2689256"/>
                  <a:pt x="9075317" y="2689256"/>
                </a:cubicBezTo>
                <a:cubicBezTo>
                  <a:pt x="9039603" y="2689256"/>
                  <a:pt x="9010651" y="2660302"/>
                  <a:pt x="9010651" y="2624589"/>
                </a:cubicBezTo>
                <a:cubicBezTo>
                  <a:pt x="9010651" y="2588874"/>
                  <a:pt x="9039603" y="2559922"/>
                  <a:pt x="9075317" y="2559922"/>
                </a:cubicBezTo>
                <a:close/>
                <a:moveTo>
                  <a:pt x="8914829" y="2559922"/>
                </a:moveTo>
                <a:cubicBezTo>
                  <a:pt x="8950543" y="2559922"/>
                  <a:pt x="8979495" y="2588874"/>
                  <a:pt x="8979495" y="2624589"/>
                </a:cubicBezTo>
                <a:cubicBezTo>
                  <a:pt x="8979495" y="2660302"/>
                  <a:pt x="8950543" y="2689256"/>
                  <a:pt x="8914829" y="2689256"/>
                </a:cubicBezTo>
                <a:cubicBezTo>
                  <a:pt x="8879115" y="2689256"/>
                  <a:pt x="8850163" y="2660302"/>
                  <a:pt x="8850163" y="2624589"/>
                </a:cubicBezTo>
                <a:cubicBezTo>
                  <a:pt x="8850163" y="2588874"/>
                  <a:pt x="8879115" y="2559922"/>
                  <a:pt x="8914829" y="2559922"/>
                </a:cubicBezTo>
                <a:close/>
                <a:moveTo>
                  <a:pt x="8766084" y="2559922"/>
                </a:moveTo>
                <a:cubicBezTo>
                  <a:pt x="8801798" y="2559922"/>
                  <a:pt x="8830750" y="2588874"/>
                  <a:pt x="8830750" y="2624589"/>
                </a:cubicBezTo>
                <a:cubicBezTo>
                  <a:pt x="8830750" y="2660302"/>
                  <a:pt x="8801798" y="2689256"/>
                  <a:pt x="8766084" y="2689256"/>
                </a:cubicBezTo>
                <a:cubicBezTo>
                  <a:pt x="8730370" y="2689256"/>
                  <a:pt x="8701418" y="2660302"/>
                  <a:pt x="8701418" y="2624589"/>
                </a:cubicBezTo>
                <a:cubicBezTo>
                  <a:pt x="8701418" y="2588874"/>
                  <a:pt x="8730370" y="2559922"/>
                  <a:pt x="8766084" y="2559922"/>
                </a:cubicBezTo>
                <a:close/>
                <a:moveTo>
                  <a:pt x="8601683" y="2559922"/>
                </a:moveTo>
                <a:cubicBezTo>
                  <a:pt x="8637397" y="2559922"/>
                  <a:pt x="8666349" y="2588874"/>
                  <a:pt x="8666349" y="2624589"/>
                </a:cubicBezTo>
                <a:cubicBezTo>
                  <a:pt x="8666349" y="2660302"/>
                  <a:pt x="8637397" y="2689256"/>
                  <a:pt x="8601683" y="2689256"/>
                </a:cubicBezTo>
                <a:cubicBezTo>
                  <a:pt x="8565969" y="2689256"/>
                  <a:pt x="8537017" y="2660302"/>
                  <a:pt x="8537017" y="2624589"/>
                </a:cubicBezTo>
                <a:cubicBezTo>
                  <a:pt x="8537017" y="2588874"/>
                  <a:pt x="8565969" y="2559922"/>
                  <a:pt x="8601683" y="2559922"/>
                </a:cubicBezTo>
                <a:close/>
                <a:moveTo>
                  <a:pt x="8449023" y="2559922"/>
                </a:moveTo>
                <a:cubicBezTo>
                  <a:pt x="8484737" y="2559922"/>
                  <a:pt x="8513689" y="2588874"/>
                  <a:pt x="8513689" y="2624589"/>
                </a:cubicBezTo>
                <a:cubicBezTo>
                  <a:pt x="8513689" y="2660302"/>
                  <a:pt x="8484737" y="2689256"/>
                  <a:pt x="8449023" y="2689256"/>
                </a:cubicBezTo>
                <a:cubicBezTo>
                  <a:pt x="8413309" y="2689256"/>
                  <a:pt x="8384357" y="2660302"/>
                  <a:pt x="8384357" y="2624589"/>
                </a:cubicBezTo>
                <a:cubicBezTo>
                  <a:pt x="8384357" y="2588874"/>
                  <a:pt x="8413309" y="2559922"/>
                  <a:pt x="8449023" y="2559922"/>
                </a:cubicBezTo>
                <a:close/>
                <a:moveTo>
                  <a:pt x="8296367" y="2559922"/>
                </a:moveTo>
                <a:cubicBezTo>
                  <a:pt x="8332081" y="2559922"/>
                  <a:pt x="8361033" y="2588874"/>
                  <a:pt x="8361033" y="2624589"/>
                </a:cubicBezTo>
                <a:cubicBezTo>
                  <a:pt x="8361033" y="2660302"/>
                  <a:pt x="8332081" y="2689256"/>
                  <a:pt x="8296367" y="2689256"/>
                </a:cubicBezTo>
                <a:cubicBezTo>
                  <a:pt x="8260653" y="2689256"/>
                  <a:pt x="8231701" y="2660302"/>
                  <a:pt x="8231701" y="2624589"/>
                </a:cubicBezTo>
                <a:cubicBezTo>
                  <a:pt x="8231701" y="2588874"/>
                  <a:pt x="8260653" y="2559922"/>
                  <a:pt x="8296367" y="2559922"/>
                </a:cubicBezTo>
                <a:close/>
                <a:moveTo>
                  <a:pt x="8139792" y="2559922"/>
                </a:moveTo>
                <a:cubicBezTo>
                  <a:pt x="8175506" y="2559922"/>
                  <a:pt x="8204458" y="2588874"/>
                  <a:pt x="8204458" y="2624589"/>
                </a:cubicBezTo>
                <a:cubicBezTo>
                  <a:pt x="8204458" y="2660302"/>
                  <a:pt x="8175506" y="2689256"/>
                  <a:pt x="8139792" y="2689256"/>
                </a:cubicBezTo>
                <a:cubicBezTo>
                  <a:pt x="8104078" y="2689256"/>
                  <a:pt x="8075126" y="2660302"/>
                  <a:pt x="8075126" y="2624589"/>
                </a:cubicBezTo>
                <a:cubicBezTo>
                  <a:pt x="8075126" y="2588874"/>
                  <a:pt x="8104078" y="2559922"/>
                  <a:pt x="8139792" y="2559922"/>
                </a:cubicBezTo>
                <a:close/>
                <a:moveTo>
                  <a:pt x="7987133" y="2559922"/>
                </a:moveTo>
                <a:cubicBezTo>
                  <a:pt x="8022847" y="2559922"/>
                  <a:pt x="8051799" y="2588874"/>
                  <a:pt x="8051799" y="2624589"/>
                </a:cubicBezTo>
                <a:cubicBezTo>
                  <a:pt x="8051799" y="2660302"/>
                  <a:pt x="8022847" y="2689256"/>
                  <a:pt x="7987133" y="2689256"/>
                </a:cubicBezTo>
                <a:cubicBezTo>
                  <a:pt x="7951419" y="2689256"/>
                  <a:pt x="7922467" y="2660302"/>
                  <a:pt x="7922467" y="2624589"/>
                </a:cubicBezTo>
                <a:cubicBezTo>
                  <a:pt x="7922467" y="2588874"/>
                  <a:pt x="7951419" y="2559922"/>
                  <a:pt x="7987133" y="2559922"/>
                </a:cubicBezTo>
                <a:close/>
                <a:moveTo>
                  <a:pt x="7830562" y="2559922"/>
                </a:moveTo>
                <a:cubicBezTo>
                  <a:pt x="7866276" y="2559922"/>
                  <a:pt x="7895228" y="2588874"/>
                  <a:pt x="7895228" y="2624589"/>
                </a:cubicBezTo>
                <a:cubicBezTo>
                  <a:pt x="7895228" y="2660302"/>
                  <a:pt x="7866276" y="2689256"/>
                  <a:pt x="7830562" y="2689256"/>
                </a:cubicBezTo>
                <a:cubicBezTo>
                  <a:pt x="7794848" y="2689256"/>
                  <a:pt x="7765896" y="2660302"/>
                  <a:pt x="7765896" y="2624589"/>
                </a:cubicBezTo>
                <a:cubicBezTo>
                  <a:pt x="7765896" y="2588874"/>
                  <a:pt x="7794848" y="2559922"/>
                  <a:pt x="7830562" y="2559922"/>
                </a:cubicBezTo>
                <a:close/>
                <a:moveTo>
                  <a:pt x="7677902" y="2559922"/>
                </a:moveTo>
                <a:cubicBezTo>
                  <a:pt x="7713616" y="2559922"/>
                  <a:pt x="7742568" y="2588874"/>
                  <a:pt x="7742568" y="2624589"/>
                </a:cubicBezTo>
                <a:cubicBezTo>
                  <a:pt x="7742568" y="2660302"/>
                  <a:pt x="7713616" y="2689256"/>
                  <a:pt x="7677902" y="2689256"/>
                </a:cubicBezTo>
                <a:cubicBezTo>
                  <a:pt x="7642188" y="2689256"/>
                  <a:pt x="7613236" y="2660302"/>
                  <a:pt x="7613236" y="2624589"/>
                </a:cubicBezTo>
                <a:cubicBezTo>
                  <a:pt x="7613236" y="2588874"/>
                  <a:pt x="7642188" y="2559922"/>
                  <a:pt x="7677902" y="2559922"/>
                </a:cubicBezTo>
                <a:close/>
                <a:moveTo>
                  <a:pt x="7521329" y="2559922"/>
                </a:moveTo>
                <a:cubicBezTo>
                  <a:pt x="7557043" y="2559922"/>
                  <a:pt x="7585995" y="2588874"/>
                  <a:pt x="7585995" y="2624589"/>
                </a:cubicBezTo>
                <a:cubicBezTo>
                  <a:pt x="7585995" y="2660302"/>
                  <a:pt x="7557043" y="2689256"/>
                  <a:pt x="7521329" y="2689256"/>
                </a:cubicBezTo>
                <a:cubicBezTo>
                  <a:pt x="7485615" y="2689256"/>
                  <a:pt x="7456663" y="2660302"/>
                  <a:pt x="7456663" y="2624589"/>
                </a:cubicBezTo>
                <a:cubicBezTo>
                  <a:pt x="7456663" y="2588874"/>
                  <a:pt x="7485615" y="2559922"/>
                  <a:pt x="7521329" y="2559922"/>
                </a:cubicBezTo>
                <a:close/>
                <a:moveTo>
                  <a:pt x="7368669" y="2559922"/>
                </a:moveTo>
                <a:cubicBezTo>
                  <a:pt x="7404383" y="2559922"/>
                  <a:pt x="7433335" y="2588874"/>
                  <a:pt x="7433335" y="2624589"/>
                </a:cubicBezTo>
                <a:cubicBezTo>
                  <a:pt x="7433335" y="2660302"/>
                  <a:pt x="7404383" y="2689256"/>
                  <a:pt x="7368669" y="2689256"/>
                </a:cubicBezTo>
                <a:cubicBezTo>
                  <a:pt x="7332955" y="2689256"/>
                  <a:pt x="7304003" y="2660302"/>
                  <a:pt x="7304003" y="2624589"/>
                </a:cubicBezTo>
                <a:cubicBezTo>
                  <a:pt x="7304003" y="2588874"/>
                  <a:pt x="7332955" y="2559922"/>
                  <a:pt x="7368669" y="2559922"/>
                </a:cubicBezTo>
                <a:close/>
                <a:moveTo>
                  <a:pt x="7212096" y="2559922"/>
                </a:moveTo>
                <a:cubicBezTo>
                  <a:pt x="7247810" y="2559922"/>
                  <a:pt x="7276762" y="2588874"/>
                  <a:pt x="7276762" y="2624589"/>
                </a:cubicBezTo>
                <a:cubicBezTo>
                  <a:pt x="7276762" y="2660302"/>
                  <a:pt x="7247810" y="2689256"/>
                  <a:pt x="7212096" y="2689256"/>
                </a:cubicBezTo>
                <a:cubicBezTo>
                  <a:pt x="7176382" y="2689256"/>
                  <a:pt x="7147430" y="2660302"/>
                  <a:pt x="7147430" y="2624589"/>
                </a:cubicBezTo>
                <a:cubicBezTo>
                  <a:pt x="7147430" y="2588874"/>
                  <a:pt x="7176382" y="2559922"/>
                  <a:pt x="7212096" y="2559922"/>
                </a:cubicBezTo>
                <a:close/>
                <a:moveTo>
                  <a:pt x="7055523" y="2559922"/>
                </a:moveTo>
                <a:cubicBezTo>
                  <a:pt x="7091237" y="2559922"/>
                  <a:pt x="7120189" y="2588874"/>
                  <a:pt x="7120189" y="2624589"/>
                </a:cubicBezTo>
                <a:cubicBezTo>
                  <a:pt x="7120189" y="2660302"/>
                  <a:pt x="7091237" y="2689256"/>
                  <a:pt x="7055523" y="2689256"/>
                </a:cubicBezTo>
                <a:cubicBezTo>
                  <a:pt x="7019809" y="2689256"/>
                  <a:pt x="6990857" y="2660302"/>
                  <a:pt x="6990857" y="2624589"/>
                </a:cubicBezTo>
                <a:cubicBezTo>
                  <a:pt x="6990857" y="2588874"/>
                  <a:pt x="7019809" y="2559922"/>
                  <a:pt x="7055523" y="2559922"/>
                </a:cubicBezTo>
                <a:close/>
                <a:moveTo>
                  <a:pt x="6895037" y="2559922"/>
                </a:moveTo>
                <a:cubicBezTo>
                  <a:pt x="6930751" y="2559922"/>
                  <a:pt x="6959703" y="2588874"/>
                  <a:pt x="6959703" y="2624589"/>
                </a:cubicBezTo>
                <a:cubicBezTo>
                  <a:pt x="6959703" y="2660302"/>
                  <a:pt x="6930751" y="2689256"/>
                  <a:pt x="6895037" y="2689256"/>
                </a:cubicBezTo>
                <a:cubicBezTo>
                  <a:pt x="6859323" y="2689256"/>
                  <a:pt x="6830371" y="2660302"/>
                  <a:pt x="6830371" y="2624589"/>
                </a:cubicBezTo>
                <a:cubicBezTo>
                  <a:pt x="6830371" y="2588874"/>
                  <a:pt x="6859323" y="2559922"/>
                  <a:pt x="6895037" y="2559922"/>
                </a:cubicBezTo>
                <a:close/>
                <a:moveTo>
                  <a:pt x="6742375" y="2559922"/>
                </a:moveTo>
                <a:cubicBezTo>
                  <a:pt x="6778089" y="2559922"/>
                  <a:pt x="6807041" y="2588874"/>
                  <a:pt x="6807041" y="2624589"/>
                </a:cubicBezTo>
                <a:cubicBezTo>
                  <a:pt x="6807041" y="2660302"/>
                  <a:pt x="6778089" y="2689256"/>
                  <a:pt x="6742375" y="2689256"/>
                </a:cubicBezTo>
                <a:cubicBezTo>
                  <a:pt x="6706661" y="2689256"/>
                  <a:pt x="6677709" y="2660302"/>
                  <a:pt x="6677709" y="2624589"/>
                </a:cubicBezTo>
                <a:cubicBezTo>
                  <a:pt x="6677709" y="2588874"/>
                  <a:pt x="6706661" y="2559922"/>
                  <a:pt x="6742375" y="2559922"/>
                </a:cubicBezTo>
                <a:close/>
                <a:moveTo>
                  <a:pt x="5810787" y="2559922"/>
                </a:moveTo>
                <a:cubicBezTo>
                  <a:pt x="5846479" y="2559922"/>
                  <a:pt x="5875431" y="2588874"/>
                  <a:pt x="5875431" y="2624589"/>
                </a:cubicBezTo>
                <a:cubicBezTo>
                  <a:pt x="5875431" y="2660302"/>
                  <a:pt x="5846479" y="2689256"/>
                  <a:pt x="5810787" y="2689256"/>
                </a:cubicBezTo>
                <a:cubicBezTo>
                  <a:pt x="5775066" y="2689256"/>
                  <a:pt x="5746110" y="2660302"/>
                  <a:pt x="5746110" y="2624589"/>
                </a:cubicBezTo>
                <a:cubicBezTo>
                  <a:pt x="5746110" y="2588874"/>
                  <a:pt x="5775066" y="2559922"/>
                  <a:pt x="5810787" y="2559922"/>
                </a:cubicBezTo>
                <a:close/>
                <a:moveTo>
                  <a:pt x="5658107" y="2559922"/>
                </a:moveTo>
                <a:cubicBezTo>
                  <a:pt x="5693823" y="2559922"/>
                  <a:pt x="5722779" y="2588874"/>
                  <a:pt x="5722779" y="2624589"/>
                </a:cubicBezTo>
                <a:cubicBezTo>
                  <a:pt x="5722779" y="2660302"/>
                  <a:pt x="5693823" y="2689256"/>
                  <a:pt x="5658107" y="2689256"/>
                </a:cubicBezTo>
                <a:cubicBezTo>
                  <a:pt x="5622395" y="2689256"/>
                  <a:pt x="5593441" y="2660302"/>
                  <a:pt x="5593441" y="2624589"/>
                </a:cubicBezTo>
                <a:cubicBezTo>
                  <a:pt x="5593441" y="2588874"/>
                  <a:pt x="5622395" y="2559922"/>
                  <a:pt x="5658107" y="2559922"/>
                </a:cubicBezTo>
                <a:close/>
                <a:moveTo>
                  <a:pt x="5501539" y="2559922"/>
                </a:moveTo>
                <a:cubicBezTo>
                  <a:pt x="5537252" y="2559922"/>
                  <a:pt x="5566203" y="2588874"/>
                  <a:pt x="5566203" y="2624589"/>
                </a:cubicBezTo>
                <a:cubicBezTo>
                  <a:pt x="5566203" y="2660302"/>
                  <a:pt x="5537252" y="2689256"/>
                  <a:pt x="5501539" y="2689256"/>
                </a:cubicBezTo>
                <a:cubicBezTo>
                  <a:pt x="5465825" y="2689256"/>
                  <a:pt x="5436879" y="2660302"/>
                  <a:pt x="5436879" y="2624589"/>
                </a:cubicBezTo>
                <a:cubicBezTo>
                  <a:pt x="5436879" y="2588874"/>
                  <a:pt x="5465825" y="2559922"/>
                  <a:pt x="5501539" y="2559922"/>
                </a:cubicBezTo>
                <a:close/>
                <a:moveTo>
                  <a:pt x="5348883" y="2559922"/>
                </a:moveTo>
                <a:cubicBezTo>
                  <a:pt x="5384600" y="2559922"/>
                  <a:pt x="5413550" y="2588874"/>
                  <a:pt x="5413550" y="2624589"/>
                </a:cubicBezTo>
                <a:cubicBezTo>
                  <a:pt x="5413550" y="2660302"/>
                  <a:pt x="5384600" y="2689256"/>
                  <a:pt x="5348883" y="2689256"/>
                </a:cubicBezTo>
                <a:cubicBezTo>
                  <a:pt x="5313179" y="2689256"/>
                  <a:pt x="5284224" y="2660302"/>
                  <a:pt x="5284224" y="2624589"/>
                </a:cubicBezTo>
                <a:cubicBezTo>
                  <a:pt x="5284224" y="2588874"/>
                  <a:pt x="5313179" y="2559922"/>
                  <a:pt x="5348883" y="2559922"/>
                </a:cubicBezTo>
                <a:close/>
                <a:moveTo>
                  <a:pt x="2855521" y="2559922"/>
                </a:moveTo>
                <a:cubicBezTo>
                  <a:pt x="2891231" y="2559922"/>
                  <a:pt x="2920181" y="2588874"/>
                  <a:pt x="2920181" y="2624589"/>
                </a:cubicBezTo>
                <a:cubicBezTo>
                  <a:pt x="2920181" y="2660302"/>
                  <a:pt x="2891231" y="2689256"/>
                  <a:pt x="2855521" y="2689256"/>
                </a:cubicBezTo>
                <a:cubicBezTo>
                  <a:pt x="2819809" y="2689256"/>
                  <a:pt x="2790860" y="2660302"/>
                  <a:pt x="2790860" y="2624589"/>
                </a:cubicBezTo>
                <a:cubicBezTo>
                  <a:pt x="2790860" y="2588874"/>
                  <a:pt x="2819809" y="2559922"/>
                  <a:pt x="2855521" y="2559922"/>
                </a:cubicBezTo>
                <a:close/>
                <a:moveTo>
                  <a:pt x="2698961" y="2559922"/>
                </a:moveTo>
                <a:cubicBezTo>
                  <a:pt x="2734673" y="2559922"/>
                  <a:pt x="2763622" y="2588874"/>
                  <a:pt x="2763622" y="2624589"/>
                </a:cubicBezTo>
                <a:cubicBezTo>
                  <a:pt x="2763622" y="2660302"/>
                  <a:pt x="2734673" y="2689256"/>
                  <a:pt x="2698961" y="2689256"/>
                </a:cubicBezTo>
                <a:cubicBezTo>
                  <a:pt x="2663251" y="2689256"/>
                  <a:pt x="2634302" y="2660302"/>
                  <a:pt x="2634302" y="2624589"/>
                </a:cubicBezTo>
                <a:cubicBezTo>
                  <a:pt x="2634302" y="2588874"/>
                  <a:pt x="2663251" y="2559922"/>
                  <a:pt x="2698961" y="2559922"/>
                </a:cubicBezTo>
                <a:close/>
                <a:moveTo>
                  <a:pt x="2546316" y="2559922"/>
                </a:moveTo>
                <a:cubicBezTo>
                  <a:pt x="2582028" y="2559922"/>
                  <a:pt x="2610977" y="2588874"/>
                  <a:pt x="2610977" y="2624589"/>
                </a:cubicBezTo>
                <a:cubicBezTo>
                  <a:pt x="2610977" y="2660302"/>
                  <a:pt x="2582028" y="2689256"/>
                  <a:pt x="2546316" y="2689256"/>
                </a:cubicBezTo>
                <a:cubicBezTo>
                  <a:pt x="2510598" y="2689256"/>
                  <a:pt x="2481655" y="2660302"/>
                  <a:pt x="2481655" y="2624589"/>
                </a:cubicBezTo>
                <a:cubicBezTo>
                  <a:pt x="2481655" y="2588874"/>
                  <a:pt x="2510598" y="2559922"/>
                  <a:pt x="2546316" y="2559922"/>
                </a:cubicBezTo>
                <a:close/>
                <a:moveTo>
                  <a:pt x="2389740" y="2559922"/>
                </a:moveTo>
                <a:cubicBezTo>
                  <a:pt x="2425467" y="2559922"/>
                  <a:pt x="2454414" y="2588874"/>
                  <a:pt x="2454414" y="2624589"/>
                </a:cubicBezTo>
                <a:cubicBezTo>
                  <a:pt x="2454414" y="2660302"/>
                  <a:pt x="2425467" y="2689256"/>
                  <a:pt x="2389740" y="2689256"/>
                </a:cubicBezTo>
                <a:cubicBezTo>
                  <a:pt x="2354036" y="2689256"/>
                  <a:pt x="2325081" y="2660302"/>
                  <a:pt x="2325081" y="2624589"/>
                </a:cubicBezTo>
                <a:cubicBezTo>
                  <a:pt x="2325081" y="2588874"/>
                  <a:pt x="2354036" y="2559922"/>
                  <a:pt x="2389740" y="2559922"/>
                </a:cubicBezTo>
                <a:close/>
                <a:moveTo>
                  <a:pt x="2237072" y="2559922"/>
                </a:moveTo>
                <a:cubicBezTo>
                  <a:pt x="2272791" y="2559922"/>
                  <a:pt x="2301749" y="2588874"/>
                  <a:pt x="2301749" y="2624589"/>
                </a:cubicBezTo>
                <a:cubicBezTo>
                  <a:pt x="2301749" y="2660302"/>
                  <a:pt x="2272791" y="2689256"/>
                  <a:pt x="2237072" y="2689256"/>
                </a:cubicBezTo>
                <a:cubicBezTo>
                  <a:pt x="2201352" y="2689256"/>
                  <a:pt x="2172394" y="2660302"/>
                  <a:pt x="2172394" y="2624589"/>
                </a:cubicBezTo>
                <a:cubicBezTo>
                  <a:pt x="2172394" y="2588874"/>
                  <a:pt x="2201352" y="2559922"/>
                  <a:pt x="2237072" y="2559922"/>
                </a:cubicBezTo>
                <a:close/>
                <a:moveTo>
                  <a:pt x="2084396" y="2559922"/>
                </a:moveTo>
                <a:cubicBezTo>
                  <a:pt x="2120112" y="2559922"/>
                  <a:pt x="2149064" y="2588874"/>
                  <a:pt x="2149064" y="2624589"/>
                </a:cubicBezTo>
                <a:cubicBezTo>
                  <a:pt x="2149064" y="2660302"/>
                  <a:pt x="2120112" y="2689256"/>
                  <a:pt x="2084396" y="2689256"/>
                </a:cubicBezTo>
                <a:cubicBezTo>
                  <a:pt x="2048675" y="2689256"/>
                  <a:pt x="2019746" y="2660302"/>
                  <a:pt x="2019746" y="2624589"/>
                </a:cubicBezTo>
                <a:cubicBezTo>
                  <a:pt x="2019746" y="2588874"/>
                  <a:pt x="2048675" y="2559922"/>
                  <a:pt x="2084396" y="2559922"/>
                </a:cubicBezTo>
                <a:close/>
                <a:moveTo>
                  <a:pt x="1927818" y="2559922"/>
                </a:moveTo>
                <a:cubicBezTo>
                  <a:pt x="1963544" y="2559922"/>
                  <a:pt x="1992499" y="2588874"/>
                  <a:pt x="1992499" y="2624589"/>
                </a:cubicBezTo>
                <a:cubicBezTo>
                  <a:pt x="1992499" y="2660302"/>
                  <a:pt x="1963544" y="2689256"/>
                  <a:pt x="1927818" y="2689256"/>
                </a:cubicBezTo>
                <a:cubicBezTo>
                  <a:pt x="1892124" y="2689256"/>
                  <a:pt x="1863171" y="2660302"/>
                  <a:pt x="1863171" y="2624589"/>
                </a:cubicBezTo>
                <a:cubicBezTo>
                  <a:pt x="1863171" y="2588874"/>
                  <a:pt x="1892124" y="2559922"/>
                  <a:pt x="1927818" y="2559922"/>
                </a:cubicBezTo>
                <a:close/>
                <a:moveTo>
                  <a:pt x="1775165" y="2559922"/>
                </a:moveTo>
                <a:cubicBezTo>
                  <a:pt x="1810873" y="2559922"/>
                  <a:pt x="1839842" y="2588874"/>
                  <a:pt x="1839842" y="2624589"/>
                </a:cubicBezTo>
                <a:cubicBezTo>
                  <a:pt x="1839842" y="2660302"/>
                  <a:pt x="1810873" y="2689256"/>
                  <a:pt x="1775165" y="2689256"/>
                </a:cubicBezTo>
                <a:cubicBezTo>
                  <a:pt x="1739451" y="2689256"/>
                  <a:pt x="1710496" y="2660302"/>
                  <a:pt x="1710496" y="2624589"/>
                </a:cubicBezTo>
                <a:cubicBezTo>
                  <a:pt x="1710496" y="2588874"/>
                  <a:pt x="1739451" y="2559922"/>
                  <a:pt x="1775165" y="2559922"/>
                </a:cubicBezTo>
                <a:close/>
                <a:moveTo>
                  <a:pt x="1618586" y="2559922"/>
                </a:moveTo>
                <a:cubicBezTo>
                  <a:pt x="1654302" y="2559922"/>
                  <a:pt x="1683255" y="2588874"/>
                  <a:pt x="1683255" y="2624589"/>
                </a:cubicBezTo>
                <a:cubicBezTo>
                  <a:pt x="1683255" y="2660302"/>
                  <a:pt x="1654302" y="2689256"/>
                  <a:pt x="1618586" y="2689256"/>
                </a:cubicBezTo>
                <a:cubicBezTo>
                  <a:pt x="1582874" y="2689256"/>
                  <a:pt x="1553923" y="2660302"/>
                  <a:pt x="1553923" y="2624589"/>
                </a:cubicBezTo>
                <a:cubicBezTo>
                  <a:pt x="1553923" y="2588874"/>
                  <a:pt x="1582874" y="2559922"/>
                  <a:pt x="1618586" y="2559922"/>
                </a:cubicBezTo>
                <a:close/>
                <a:moveTo>
                  <a:pt x="10003015" y="2422922"/>
                </a:moveTo>
                <a:cubicBezTo>
                  <a:pt x="10038729" y="2422922"/>
                  <a:pt x="10067681" y="2451875"/>
                  <a:pt x="10067681" y="2487589"/>
                </a:cubicBezTo>
                <a:cubicBezTo>
                  <a:pt x="10067681" y="2523303"/>
                  <a:pt x="10038729" y="2552255"/>
                  <a:pt x="10003015" y="2552255"/>
                </a:cubicBezTo>
                <a:cubicBezTo>
                  <a:pt x="9967301" y="2552255"/>
                  <a:pt x="9938349" y="2523303"/>
                  <a:pt x="9938349" y="2487589"/>
                </a:cubicBezTo>
                <a:cubicBezTo>
                  <a:pt x="9938349" y="2451875"/>
                  <a:pt x="9967301" y="2422922"/>
                  <a:pt x="10003015" y="2422922"/>
                </a:cubicBezTo>
                <a:close/>
                <a:moveTo>
                  <a:pt x="9693782" y="2422922"/>
                </a:moveTo>
                <a:cubicBezTo>
                  <a:pt x="9729496" y="2422922"/>
                  <a:pt x="9758448" y="2451875"/>
                  <a:pt x="9758448" y="2487589"/>
                </a:cubicBezTo>
                <a:cubicBezTo>
                  <a:pt x="9758448" y="2523303"/>
                  <a:pt x="9729496" y="2552255"/>
                  <a:pt x="9693782" y="2552255"/>
                </a:cubicBezTo>
                <a:cubicBezTo>
                  <a:pt x="9658068" y="2552255"/>
                  <a:pt x="9629116" y="2523303"/>
                  <a:pt x="9629116" y="2487589"/>
                </a:cubicBezTo>
                <a:cubicBezTo>
                  <a:pt x="9629116" y="2451875"/>
                  <a:pt x="9658068" y="2422922"/>
                  <a:pt x="9693782" y="2422922"/>
                </a:cubicBezTo>
                <a:close/>
                <a:moveTo>
                  <a:pt x="9384549" y="2422922"/>
                </a:moveTo>
                <a:cubicBezTo>
                  <a:pt x="9420263" y="2422922"/>
                  <a:pt x="9449215" y="2451875"/>
                  <a:pt x="9449215" y="2487589"/>
                </a:cubicBezTo>
                <a:cubicBezTo>
                  <a:pt x="9449215" y="2523303"/>
                  <a:pt x="9420263" y="2552255"/>
                  <a:pt x="9384549" y="2552255"/>
                </a:cubicBezTo>
                <a:cubicBezTo>
                  <a:pt x="9348835" y="2552255"/>
                  <a:pt x="9319883" y="2523303"/>
                  <a:pt x="9319883" y="2487589"/>
                </a:cubicBezTo>
                <a:cubicBezTo>
                  <a:pt x="9319883" y="2451875"/>
                  <a:pt x="9348835" y="2422922"/>
                  <a:pt x="9384549" y="2422922"/>
                </a:cubicBezTo>
                <a:close/>
                <a:moveTo>
                  <a:pt x="9227976" y="2422922"/>
                </a:moveTo>
                <a:cubicBezTo>
                  <a:pt x="9263690" y="2422922"/>
                  <a:pt x="9292642" y="2451875"/>
                  <a:pt x="9292642" y="2487589"/>
                </a:cubicBezTo>
                <a:cubicBezTo>
                  <a:pt x="9292642" y="2523303"/>
                  <a:pt x="9263690" y="2552255"/>
                  <a:pt x="9227976" y="2552255"/>
                </a:cubicBezTo>
                <a:cubicBezTo>
                  <a:pt x="9192262" y="2552255"/>
                  <a:pt x="9163310" y="2523303"/>
                  <a:pt x="9163310" y="2487589"/>
                </a:cubicBezTo>
                <a:cubicBezTo>
                  <a:pt x="9163310" y="2451875"/>
                  <a:pt x="9192262" y="2422922"/>
                  <a:pt x="9227976" y="2422922"/>
                </a:cubicBezTo>
                <a:close/>
                <a:moveTo>
                  <a:pt x="9075317" y="2422922"/>
                </a:moveTo>
                <a:cubicBezTo>
                  <a:pt x="9111031" y="2422922"/>
                  <a:pt x="9139983" y="2451875"/>
                  <a:pt x="9139983" y="2487589"/>
                </a:cubicBezTo>
                <a:cubicBezTo>
                  <a:pt x="9139983" y="2523303"/>
                  <a:pt x="9111031" y="2552255"/>
                  <a:pt x="9075317" y="2552255"/>
                </a:cubicBezTo>
                <a:cubicBezTo>
                  <a:pt x="9039603" y="2552255"/>
                  <a:pt x="9010651" y="2523303"/>
                  <a:pt x="9010651" y="2487589"/>
                </a:cubicBezTo>
                <a:cubicBezTo>
                  <a:pt x="9010651" y="2451875"/>
                  <a:pt x="9039603" y="2422922"/>
                  <a:pt x="9075317" y="2422922"/>
                </a:cubicBezTo>
                <a:close/>
                <a:moveTo>
                  <a:pt x="8914831" y="2422922"/>
                </a:moveTo>
                <a:cubicBezTo>
                  <a:pt x="8950545" y="2422922"/>
                  <a:pt x="8979497" y="2451875"/>
                  <a:pt x="8979497" y="2487589"/>
                </a:cubicBezTo>
                <a:cubicBezTo>
                  <a:pt x="8979497" y="2523303"/>
                  <a:pt x="8950545" y="2552255"/>
                  <a:pt x="8914831" y="2552255"/>
                </a:cubicBezTo>
                <a:cubicBezTo>
                  <a:pt x="8879117" y="2552255"/>
                  <a:pt x="8850165" y="2523303"/>
                  <a:pt x="8850165" y="2487589"/>
                </a:cubicBezTo>
                <a:cubicBezTo>
                  <a:pt x="8850165" y="2451875"/>
                  <a:pt x="8879117" y="2422922"/>
                  <a:pt x="8914831" y="2422922"/>
                </a:cubicBezTo>
                <a:close/>
                <a:moveTo>
                  <a:pt x="8766086" y="2422922"/>
                </a:moveTo>
                <a:cubicBezTo>
                  <a:pt x="8801800" y="2422922"/>
                  <a:pt x="8830752" y="2451875"/>
                  <a:pt x="8830752" y="2487589"/>
                </a:cubicBezTo>
                <a:cubicBezTo>
                  <a:pt x="8830752" y="2523303"/>
                  <a:pt x="8801800" y="2552255"/>
                  <a:pt x="8766086" y="2552255"/>
                </a:cubicBezTo>
                <a:cubicBezTo>
                  <a:pt x="8730372" y="2552255"/>
                  <a:pt x="8701420" y="2523303"/>
                  <a:pt x="8701420" y="2487589"/>
                </a:cubicBezTo>
                <a:cubicBezTo>
                  <a:pt x="8701420" y="2451875"/>
                  <a:pt x="8730372" y="2422922"/>
                  <a:pt x="8766086" y="2422922"/>
                </a:cubicBezTo>
                <a:close/>
                <a:moveTo>
                  <a:pt x="8601685" y="2422922"/>
                </a:moveTo>
                <a:cubicBezTo>
                  <a:pt x="8637399" y="2422922"/>
                  <a:pt x="8666351" y="2451875"/>
                  <a:pt x="8666351" y="2487589"/>
                </a:cubicBezTo>
                <a:cubicBezTo>
                  <a:pt x="8666351" y="2523303"/>
                  <a:pt x="8637399" y="2552255"/>
                  <a:pt x="8601685" y="2552255"/>
                </a:cubicBezTo>
                <a:cubicBezTo>
                  <a:pt x="8565971" y="2552255"/>
                  <a:pt x="8537019" y="2523303"/>
                  <a:pt x="8537019" y="2487589"/>
                </a:cubicBezTo>
                <a:cubicBezTo>
                  <a:pt x="8537019" y="2451875"/>
                  <a:pt x="8565971" y="2422922"/>
                  <a:pt x="8601685" y="2422922"/>
                </a:cubicBezTo>
                <a:close/>
                <a:moveTo>
                  <a:pt x="8449025" y="2422922"/>
                </a:moveTo>
                <a:cubicBezTo>
                  <a:pt x="8484739" y="2422922"/>
                  <a:pt x="8513691" y="2451875"/>
                  <a:pt x="8513691" y="2487589"/>
                </a:cubicBezTo>
                <a:cubicBezTo>
                  <a:pt x="8513691" y="2523303"/>
                  <a:pt x="8484739" y="2552255"/>
                  <a:pt x="8449025" y="2552255"/>
                </a:cubicBezTo>
                <a:cubicBezTo>
                  <a:pt x="8413311" y="2552255"/>
                  <a:pt x="8384359" y="2523303"/>
                  <a:pt x="8384359" y="2487589"/>
                </a:cubicBezTo>
                <a:cubicBezTo>
                  <a:pt x="8384359" y="2451875"/>
                  <a:pt x="8413311" y="2422922"/>
                  <a:pt x="8449025" y="2422922"/>
                </a:cubicBezTo>
                <a:close/>
                <a:moveTo>
                  <a:pt x="8296368" y="2422922"/>
                </a:moveTo>
                <a:cubicBezTo>
                  <a:pt x="8332082" y="2422922"/>
                  <a:pt x="8361034" y="2451875"/>
                  <a:pt x="8361034" y="2487589"/>
                </a:cubicBezTo>
                <a:cubicBezTo>
                  <a:pt x="8361034" y="2523303"/>
                  <a:pt x="8332082" y="2552255"/>
                  <a:pt x="8296368" y="2552255"/>
                </a:cubicBezTo>
                <a:cubicBezTo>
                  <a:pt x="8260654" y="2552255"/>
                  <a:pt x="8231702" y="2523303"/>
                  <a:pt x="8231702" y="2487589"/>
                </a:cubicBezTo>
                <a:cubicBezTo>
                  <a:pt x="8231702" y="2451875"/>
                  <a:pt x="8260654" y="2422922"/>
                  <a:pt x="8296368" y="2422922"/>
                </a:cubicBezTo>
                <a:close/>
                <a:moveTo>
                  <a:pt x="8139793" y="2422922"/>
                </a:moveTo>
                <a:cubicBezTo>
                  <a:pt x="8175507" y="2422922"/>
                  <a:pt x="8204459" y="2451875"/>
                  <a:pt x="8204459" y="2487589"/>
                </a:cubicBezTo>
                <a:cubicBezTo>
                  <a:pt x="8204459" y="2523303"/>
                  <a:pt x="8175507" y="2552255"/>
                  <a:pt x="8139793" y="2552255"/>
                </a:cubicBezTo>
                <a:cubicBezTo>
                  <a:pt x="8104079" y="2552255"/>
                  <a:pt x="8075127" y="2523303"/>
                  <a:pt x="8075127" y="2487589"/>
                </a:cubicBezTo>
                <a:cubicBezTo>
                  <a:pt x="8075127" y="2451875"/>
                  <a:pt x="8104079" y="2422922"/>
                  <a:pt x="8139793" y="2422922"/>
                </a:cubicBezTo>
                <a:close/>
                <a:moveTo>
                  <a:pt x="7987133" y="2422922"/>
                </a:moveTo>
                <a:cubicBezTo>
                  <a:pt x="8022847" y="2422922"/>
                  <a:pt x="8051799" y="2451875"/>
                  <a:pt x="8051799" y="2487589"/>
                </a:cubicBezTo>
                <a:cubicBezTo>
                  <a:pt x="8051799" y="2523303"/>
                  <a:pt x="8022847" y="2552255"/>
                  <a:pt x="7987133" y="2552255"/>
                </a:cubicBezTo>
                <a:cubicBezTo>
                  <a:pt x="7951419" y="2552255"/>
                  <a:pt x="7922467" y="2523303"/>
                  <a:pt x="7922467" y="2487589"/>
                </a:cubicBezTo>
                <a:cubicBezTo>
                  <a:pt x="7922467" y="2451875"/>
                  <a:pt x="7951419" y="2422922"/>
                  <a:pt x="7987133" y="2422922"/>
                </a:cubicBezTo>
                <a:close/>
                <a:moveTo>
                  <a:pt x="7830562" y="2422922"/>
                </a:moveTo>
                <a:cubicBezTo>
                  <a:pt x="7866276" y="2422922"/>
                  <a:pt x="7895228" y="2451875"/>
                  <a:pt x="7895228" y="2487589"/>
                </a:cubicBezTo>
                <a:cubicBezTo>
                  <a:pt x="7895228" y="2523303"/>
                  <a:pt x="7866276" y="2552255"/>
                  <a:pt x="7830562" y="2552255"/>
                </a:cubicBezTo>
                <a:cubicBezTo>
                  <a:pt x="7794848" y="2552255"/>
                  <a:pt x="7765896" y="2523303"/>
                  <a:pt x="7765896" y="2487589"/>
                </a:cubicBezTo>
                <a:cubicBezTo>
                  <a:pt x="7765896" y="2451875"/>
                  <a:pt x="7794848" y="2422922"/>
                  <a:pt x="7830562" y="2422922"/>
                </a:cubicBezTo>
                <a:close/>
                <a:moveTo>
                  <a:pt x="7677904" y="2422922"/>
                </a:moveTo>
                <a:cubicBezTo>
                  <a:pt x="7713618" y="2422922"/>
                  <a:pt x="7742570" y="2451875"/>
                  <a:pt x="7742570" y="2487589"/>
                </a:cubicBezTo>
                <a:cubicBezTo>
                  <a:pt x="7742570" y="2523303"/>
                  <a:pt x="7713618" y="2552255"/>
                  <a:pt x="7677904" y="2552255"/>
                </a:cubicBezTo>
                <a:cubicBezTo>
                  <a:pt x="7642190" y="2552255"/>
                  <a:pt x="7613238" y="2523303"/>
                  <a:pt x="7613238" y="2487589"/>
                </a:cubicBezTo>
                <a:cubicBezTo>
                  <a:pt x="7613238" y="2451875"/>
                  <a:pt x="7642190" y="2422922"/>
                  <a:pt x="7677904" y="2422922"/>
                </a:cubicBezTo>
                <a:close/>
                <a:moveTo>
                  <a:pt x="7521331" y="2422922"/>
                </a:moveTo>
                <a:cubicBezTo>
                  <a:pt x="7557045" y="2422922"/>
                  <a:pt x="7585997" y="2451875"/>
                  <a:pt x="7585997" y="2487589"/>
                </a:cubicBezTo>
                <a:cubicBezTo>
                  <a:pt x="7585997" y="2523303"/>
                  <a:pt x="7557045" y="2552255"/>
                  <a:pt x="7521331" y="2552255"/>
                </a:cubicBezTo>
                <a:cubicBezTo>
                  <a:pt x="7485617" y="2552255"/>
                  <a:pt x="7456665" y="2523303"/>
                  <a:pt x="7456665" y="2487589"/>
                </a:cubicBezTo>
                <a:cubicBezTo>
                  <a:pt x="7456665" y="2451875"/>
                  <a:pt x="7485617" y="2422922"/>
                  <a:pt x="7521331" y="2422922"/>
                </a:cubicBezTo>
                <a:close/>
                <a:moveTo>
                  <a:pt x="7368671" y="2422922"/>
                </a:moveTo>
                <a:cubicBezTo>
                  <a:pt x="7404385" y="2422922"/>
                  <a:pt x="7433337" y="2451875"/>
                  <a:pt x="7433337" y="2487589"/>
                </a:cubicBezTo>
                <a:cubicBezTo>
                  <a:pt x="7433337" y="2523303"/>
                  <a:pt x="7404385" y="2552255"/>
                  <a:pt x="7368671" y="2552255"/>
                </a:cubicBezTo>
                <a:cubicBezTo>
                  <a:pt x="7332957" y="2552255"/>
                  <a:pt x="7304005" y="2523303"/>
                  <a:pt x="7304005" y="2487589"/>
                </a:cubicBezTo>
                <a:cubicBezTo>
                  <a:pt x="7304005" y="2451875"/>
                  <a:pt x="7332957" y="2422922"/>
                  <a:pt x="7368671" y="2422922"/>
                </a:cubicBezTo>
                <a:close/>
                <a:moveTo>
                  <a:pt x="7055523" y="2422922"/>
                </a:moveTo>
                <a:cubicBezTo>
                  <a:pt x="7091237" y="2422922"/>
                  <a:pt x="7120189" y="2451875"/>
                  <a:pt x="7120189" y="2487589"/>
                </a:cubicBezTo>
                <a:cubicBezTo>
                  <a:pt x="7120189" y="2523303"/>
                  <a:pt x="7091237" y="2552255"/>
                  <a:pt x="7055523" y="2552255"/>
                </a:cubicBezTo>
                <a:cubicBezTo>
                  <a:pt x="7019809" y="2552255"/>
                  <a:pt x="6990857" y="2523303"/>
                  <a:pt x="6990857" y="2487589"/>
                </a:cubicBezTo>
                <a:cubicBezTo>
                  <a:pt x="6990857" y="2451875"/>
                  <a:pt x="7019809" y="2422922"/>
                  <a:pt x="7055523" y="2422922"/>
                </a:cubicBezTo>
                <a:close/>
                <a:moveTo>
                  <a:pt x="6895037" y="2422922"/>
                </a:moveTo>
                <a:cubicBezTo>
                  <a:pt x="6930751" y="2422922"/>
                  <a:pt x="6959703" y="2451875"/>
                  <a:pt x="6959703" y="2487589"/>
                </a:cubicBezTo>
                <a:cubicBezTo>
                  <a:pt x="6959703" y="2523303"/>
                  <a:pt x="6930751" y="2552255"/>
                  <a:pt x="6895037" y="2552255"/>
                </a:cubicBezTo>
                <a:cubicBezTo>
                  <a:pt x="6859323" y="2552255"/>
                  <a:pt x="6830371" y="2523303"/>
                  <a:pt x="6830371" y="2487589"/>
                </a:cubicBezTo>
                <a:cubicBezTo>
                  <a:pt x="6830371" y="2451875"/>
                  <a:pt x="6859323" y="2422922"/>
                  <a:pt x="6895037" y="2422922"/>
                </a:cubicBezTo>
                <a:close/>
                <a:moveTo>
                  <a:pt x="6742377" y="2422922"/>
                </a:moveTo>
                <a:cubicBezTo>
                  <a:pt x="6778091" y="2422922"/>
                  <a:pt x="6807043" y="2451875"/>
                  <a:pt x="6807043" y="2487589"/>
                </a:cubicBezTo>
                <a:cubicBezTo>
                  <a:pt x="6807043" y="2523303"/>
                  <a:pt x="6778091" y="2552255"/>
                  <a:pt x="6742377" y="2552255"/>
                </a:cubicBezTo>
                <a:cubicBezTo>
                  <a:pt x="6706663" y="2552255"/>
                  <a:pt x="6677711" y="2523303"/>
                  <a:pt x="6677711" y="2487589"/>
                </a:cubicBezTo>
                <a:cubicBezTo>
                  <a:pt x="6677711" y="2451875"/>
                  <a:pt x="6706663" y="2422922"/>
                  <a:pt x="6742377" y="2422922"/>
                </a:cubicBezTo>
                <a:close/>
                <a:moveTo>
                  <a:pt x="6585804" y="2422922"/>
                </a:moveTo>
                <a:cubicBezTo>
                  <a:pt x="6621518" y="2422922"/>
                  <a:pt x="6650470" y="2451875"/>
                  <a:pt x="6650470" y="2487589"/>
                </a:cubicBezTo>
                <a:cubicBezTo>
                  <a:pt x="6650470" y="2523303"/>
                  <a:pt x="6621518" y="2552255"/>
                  <a:pt x="6585804" y="2552255"/>
                </a:cubicBezTo>
                <a:cubicBezTo>
                  <a:pt x="6550090" y="2552255"/>
                  <a:pt x="6521138" y="2523303"/>
                  <a:pt x="6521138" y="2487589"/>
                </a:cubicBezTo>
                <a:cubicBezTo>
                  <a:pt x="6521138" y="2451875"/>
                  <a:pt x="6550090" y="2422922"/>
                  <a:pt x="6585804" y="2422922"/>
                </a:cubicBezTo>
                <a:close/>
                <a:moveTo>
                  <a:pt x="6429231" y="2422922"/>
                </a:moveTo>
                <a:cubicBezTo>
                  <a:pt x="6464945" y="2422922"/>
                  <a:pt x="6493897" y="2451875"/>
                  <a:pt x="6493897" y="2487589"/>
                </a:cubicBezTo>
                <a:cubicBezTo>
                  <a:pt x="6493897" y="2523303"/>
                  <a:pt x="6464945" y="2552255"/>
                  <a:pt x="6429231" y="2552255"/>
                </a:cubicBezTo>
                <a:cubicBezTo>
                  <a:pt x="6393517" y="2552255"/>
                  <a:pt x="6364565" y="2523303"/>
                  <a:pt x="6364565" y="2487589"/>
                </a:cubicBezTo>
                <a:cubicBezTo>
                  <a:pt x="6364565" y="2451875"/>
                  <a:pt x="6393517" y="2422922"/>
                  <a:pt x="6429231" y="2422922"/>
                </a:cubicBezTo>
                <a:close/>
                <a:moveTo>
                  <a:pt x="6276571" y="2422922"/>
                </a:moveTo>
                <a:cubicBezTo>
                  <a:pt x="6312285" y="2422922"/>
                  <a:pt x="6341237" y="2451875"/>
                  <a:pt x="6341237" y="2487589"/>
                </a:cubicBezTo>
                <a:cubicBezTo>
                  <a:pt x="6341237" y="2523303"/>
                  <a:pt x="6312285" y="2552255"/>
                  <a:pt x="6276571" y="2552255"/>
                </a:cubicBezTo>
                <a:cubicBezTo>
                  <a:pt x="6240857" y="2552255"/>
                  <a:pt x="6211905" y="2523303"/>
                  <a:pt x="6211905" y="2487589"/>
                </a:cubicBezTo>
                <a:cubicBezTo>
                  <a:pt x="6211905" y="2451875"/>
                  <a:pt x="6240857" y="2422922"/>
                  <a:pt x="6276571" y="2422922"/>
                </a:cubicBezTo>
                <a:close/>
                <a:moveTo>
                  <a:pt x="5967339" y="2422922"/>
                </a:moveTo>
                <a:cubicBezTo>
                  <a:pt x="6003053" y="2422922"/>
                  <a:pt x="6032005" y="2451875"/>
                  <a:pt x="6032005" y="2487589"/>
                </a:cubicBezTo>
                <a:cubicBezTo>
                  <a:pt x="6032005" y="2523303"/>
                  <a:pt x="6003053" y="2552255"/>
                  <a:pt x="5967339" y="2552255"/>
                </a:cubicBezTo>
                <a:cubicBezTo>
                  <a:pt x="5931625" y="2552255"/>
                  <a:pt x="5902673" y="2523303"/>
                  <a:pt x="5902673" y="2487589"/>
                </a:cubicBezTo>
                <a:cubicBezTo>
                  <a:pt x="5902673" y="2451875"/>
                  <a:pt x="5931625" y="2422922"/>
                  <a:pt x="5967339" y="2422922"/>
                </a:cubicBezTo>
                <a:close/>
                <a:moveTo>
                  <a:pt x="5348888" y="2422922"/>
                </a:moveTo>
                <a:cubicBezTo>
                  <a:pt x="5384602" y="2422922"/>
                  <a:pt x="5413551" y="2451875"/>
                  <a:pt x="5413551" y="2487589"/>
                </a:cubicBezTo>
                <a:cubicBezTo>
                  <a:pt x="5413551" y="2523303"/>
                  <a:pt x="5384602" y="2552255"/>
                  <a:pt x="5348888" y="2552255"/>
                </a:cubicBezTo>
                <a:cubicBezTo>
                  <a:pt x="5313182" y="2552255"/>
                  <a:pt x="5284224" y="2523303"/>
                  <a:pt x="5284224" y="2487589"/>
                </a:cubicBezTo>
                <a:cubicBezTo>
                  <a:pt x="5284224" y="2451875"/>
                  <a:pt x="5313182" y="2422922"/>
                  <a:pt x="5348888" y="2422922"/>
                </a:cubicBezTo>
                <a:close/>
                <a:moveTo>
                  <a:pt x="5192318" y="2422922"/>
                </a:moveTo>
                <a:cubicBezTo>
                  <a:pt x="5228035" y="2422922"/>
                  <a:pt x="5256980" y="2451875"/>
                  <a:pt x="5256980" y="2487589"/>
                </a:cubicBezTo>
                <a:cubicBezTo>
                  <a:pt x="5256980" y="2523303"/>
                  <a:pt x="5228035" y="2552255"/>
                  <a:pt x="5192318" y="2552255"/>
                </a:cubicBezTo>
                <a:cubicBezTo>
                  <a:pt x="5156606" y="2552255"/>
                  <a:pt x="5127651" y="2523303"/>
                  <a:pt x="5127651" y="2487589"/>
                </a:cubicBezTo>
                <a:cubicBezTo>
                  <a:pt x="5127651" y="2451875"/>
                  <a:pt x="5156606" y="2422922"/>
                  <a:pt x="5192318" y="2422922"/>
                </a:cubicBezTo>
                <a:close/>
                <a:moveTo>
                  <a:pt x="3012086" y="2422922"/>
                </a:moveTo>
                <a:cubicBezTo>
                  <a:pt x="3047798" y="2422922"/>
                  <a:pt x="3076754" y="2451875"/>
                  <a:pt x="3076754" y="2487589"/>
                </a:cubicBezTo>
                <a:cubicBezTo>
                  <a:pt x="3076754" y="2523303"/>
                  <a:pt x="3047798" y="2552255"/>
                  <a:pt x="3012086" y="2552255"/>
                </a:cubicBezTo>
                <a:cubicBezTo>
                  <a:pt x="2976375" y="2552255"/>
                  <a:pt x="2947426" y="2523303"/>
                  <a:pt x="2947426" y="2487589"/>
                </a:cubicBezTo>
                <a:cubicBezTo>
                  <a:pt x="2947426" y="2451875"/>
                  <a:pt x="2976375" y="2422922"/>
                  <a:pt x="3012086" y="2422922"/>
                </a:cubicBezTo>
                <a:close/>
                <a:moveTo>
                  <a:pt x="2855526" y="2422922"/>
                </a:moveTo>
                <a:cubicBezTo>
                  <a:pt x="2891237" y="2422922"/>
                  <a:pt x="2920186" y="2451875"/>
                  <a:pt x="2920186" y="2487589"/>
                </a:cubicBezTo>
                <a:cubicBezTo>
                  <a:pt x="2920186" y="2523303"/>
                  <a:pt x="2891237" y="2552255"/>
                  <a:pt x="2855526" y="2552255"/>
                </a:cubicBezTo>
                <a:cubicBezTo>
                  <a:pt x="2819816" y="2552255"/>
                  <a:pt x="2790866" y="2523303"/>
                  <a:pt x="2790866" y="2487589"/>
                </a:cubicBezTo>
                <a:cubicBezTo>
                  <a:pt x="2790866" y="2451875"/>
                  <a:pt x="2819816" y="2422922"/>
                  <a:pt x="2855526" y="2422922"/>
                </a:cubicBezTo>
                <a:close/>
                <a:moveTo>
                  <a:pt x="2698968" y="2422922"/>
                </a:moveTo>
                <a:cubicBezTo>
                  <a:pt x="2734678" y="2422922"/>
                  <a:pt x="2763629" y="2451875"/>
                  <a:pt x="2763629" y="2487589"/>
                </a:cubicBezTo>
                <a:cubicBezTo>
                  <a:pt x="2763629" y="2523303"/>
                  <a:pt x="2734678" y="2552255"/>
                  <a:pt x="2698968" y="2552255"/>
                </a:cubicBezTo>
                <a:cubicBezTo>
                  <a:pt x="2663258" y="2552255"/>
                  <a:pt x="2634309" y="2523303"/>
                  <a:pt x="2634309" y="2487589"/>
                </a:cubicBezTo>
                <a:cubicBezTo>
                  <a:pt x="2634309" y="2451875"/>
                  <a:pt x="2663258" y="2422922"/>
                  <a:pt x="2698968" y="2422922"/>
                </a:cubicBezTo>
                <a:close/>
                <a:moveTo>
                  <a:pt x="2546324" y="2422922"/>
                </a:moveTo>
                <a:cubicBezTo>
                  <a:pt x="2582035" y="2422922"/>
                  <a:pt x="2610985" y="2451875"/>
                  <a:pt x="2610985" y="2487589"/>
                </a:cubicBezTo>
                <a:cubicBezTo>
                  <a:pt x="2610985" y="2523303"/>
                  <a:pt x="2582035" y="2552255"/>
                  <a:pt x="2546324" y="2552255"/>
                </a:cubicBezTo>
                <a:cubicBezTo>
                  <a:pt x="2510602" y="2552255"/>
                  <a:pt x="2481663" y="2523303"/>
                  <a:pt x="2481663" y="2487589"/>
                </a:cubicBezTo>
                <a:cubicBezTo>
                  <a:pt x="2481663" y="2451875"/>
                  <a:pt x="2510602" y="2422922"/>
                  <a:pt x="2546324" y="2422922"/>
                </a:cubicBezTo>
                <a:close/>
                <a:moveTo>
                  <a:pt x="2389740" y="2422922"/>
                </a:moveTo>
                <a:cubicBezTo>
                  <a:pt x="2425476" y="2422922"/>
                  <a:pt x="2454426" y="2451875"/>
                  <a:pt x="2454426" y="2487589"/>
                </a:cubicBezTo>
                <a:cubicBezTo>
                  <a:pt x="2454426" y="2523303"/>
                  <a:pt x="2425476" y="2552255"/>
                  <a:pt x="2389740" y="2552255"/>
                </a:cubicBezTo>
                <a:cubicBezTo>
                  <a:pt x="2354046" y="2552255"/>
                  <a:pt x="2325089" y="2523303"/>
                  <a:pt x="2325089" y="2487589"/>
                </a:cubicBezTo>
                <a:cubicBezTo>
                  <a:pt x="2325089" y="2451875"/>
                  <a:pt x="2354046" y="2422922"/>
                  <a:pt x="2389740" y="2422922"/>
                </a:cubicBezTo>
                <a:close/>
                <a:moveTo>
                  <a:pt x="2237079" y="2422922"/>
                </a:moveTo>
                <a:cubicBezTo>
                  <a:pt x="2272800" y="2422922"/>
                  <a:pt x="2301758" y="2451875"/>
                  <a:pt x="2301758" y="2487589"/>
                </a:cubicBezTo>
                <a:cubicBezTo>
                  <a:pt x="2301758" y="2523303"/>
                  <a:pt x="2272800" y="2552255"/>
                  <a:pt x="2237079" y="2552255"/>
                </a:cubicBezTo>
                <a:cubicBezTo>
                  <a:pt x="2201359" y="2552255"/>
                  <a:pt x="2172401" y="2523303"/>
                  <a:pt x="2172401" y="2487589"/>
                </a:cubicBezTo>
                <a:cubicBezTo>
                  <a:pt x="2172401" y="2451875"/>
                  <a:pt x="2201359" y="2422922"/>
                  <a:pt x="2237079" y="2422922"/>
                </a:cubicBezTo>
                <a:close/>
                <a:moveTo>
                  <a:pt x="2084402" y="2422922"/>
                </a:moveTo>
                <a:cubicBezTo>
                  <a:pt x="2120120" y="2422922"/>
                  <a:pt x="2149069" y="2451875"/>
                  <a:pt x="2149069" y="2487589"/>
                </a:cubicBezTo>
                <a:cubicBezTo>
                  <a:pt x="2149069" y="2523303"/>
                  <a:pt x="2120120" y="2552255"/>
                  <a:pt x="2084402" y="2552255"/>
                </a:cubicBezTo>
                <a:cubicBezTo>
                  <a:pt x="2048680" y="2552255"/>
                  <a:pt x="2019753" y="2523303"/>
                  <a:pt x="2019753" y="2487589"/>
                </a:cubicBezTo>
                <a:cubicBezTo>
                  <a:pt x="2019753" y="2451875"/>
                  <a:pt x="2048680" y="2422922"/>
                  <a:pt x="2084402" y="2422922"/>
                </a:cubicBezTo>
                <a:close/>
                <a:moveTo>
                  <a:pt x="1927830" y="2422922"/>
                </a:moveTo>
                <a:cubicBezTo>
                  <a:pt x="1963544" y="2422922"/>
                  <a:pt x="1992505" y="2451875"/>
                  <a:pt x="1992505" y="2487589"/>
                </a:cubicBezTo>
                <a:cubicBezTo>
                  <a:pt x="1992505" y="2523303"/>
                  <a:pt x="1963544" y="2552255"/>
                  <a:pt x="1927830" y="2552255"/>
                </a:cubicBezTo>
                <a:cubicBezTo>
                  <a:pt x="1892129" y="2552255"/>
                  <a:pt x="1863179" y="2523303"/>
                  <a:pt x="1863179" y="2487589"/>
                </a:cubicBezTo>
                <a:cubicBezTo>
                  <a:pt x="1863179" y="2451875"/>
                  <a:pt x="1892129" y="2422922"/>
                  <a:pt x="1927830" y="2422922"/>
                </a:cubicBezTo>
                <a:close/>
                <a:moveTo>
                  <a:pt x="1775172" y="2422922"/>
                </a:moveTo>
                <a:cubicBezTo>
                  <a:pt x="1810880" y="2422922"/>
                  <a:pt x="1839851" y="2451875"/>
                  <a:pt x="1839851" y="2487589"/>
                </a:cubicBezTo>
                <a:cubicBezTo>
                  <a:pt x="1839851" y="2523303"/>
                  <a:pt x="1810880" y="2552255"/>
                  <a:pt x="1775172" y="2552255"/>
                </a:cubicBezTo>
                <a:cubicBezTo>
                  <a:pt x="1739456" y="2552255"/>
                  <a:pt x="1710504" y="2523303"/>
                  <a:pt x="1710504" y="2487589"/>
                </a:cubicBezTo>
                <a:cubicBezTo>
                  <a:pt x="1710504" y="2451875"/>
                  <a:pt x="1739456" y="2422922"/>
                  <a:pt x="1775172" y="2422922"/>
                </a:cubicBezTo>
                <a:close/>
                <a:moveTo>
                  <a:pt x="1618593" y="2422922"/>
                </a:moveTo>
                <a:cubicBezTo>
                  <a:pt x="1654311" y="2422922"/>
                  <a:pt x="1683262" y="2451875"/>
                  <a:pt x="1683262" y="2487589"/>
                </a:cubicBezTo>
                <a:cubicBezTo>
                  <a:pt x="1683262" y="2523303"/>
                  <a:pt x="1654311" y="2552255"/>
                  <a:pt x="1618593" y="2552255"/>
                </a:cubicBezTo>
                <a:cubicBezTo>
                  <a:pt x="1582881" y="2552255"/>
                  <a:pt x="1553929" y="2523303"/>
                  <a:pt x="1553929" y="2487589"/>
                </a:cubicBezTo>
                <a:cubicBezTo>
                  <a:pt x="1553929" y="2451875"/>
                  <a:pt x="1582881" y="2422922"/>
                  <a:pt x="1618593" y="2422922"/>
                </a:cubicBezTo>
                <a:close/>
                <a:moveTo>
                  <a:pt x="1465935" y="2422922"/>
                </a:moveTo>
                <a:cubicBezTo>
                  <a:pt x="1501649" y="2422922"/>
                  <a:pt x="1530601" y="2451875"/>
                  <a:pt x="1530601" y="2487589"/>
                </a:cubicBezTo>
                <a:cubicBezTo>
                  <a:pt x="1530601" y="2523303"/>
                  <a:pt x="1501649" y="2552255"/>
                  <a:pt x="1465935" y="2552255"/>
                </a:cubicBezTo>
                <a:cubicBezTo>
                  <a:pt x="1430221" y="2552255"/>
                  <a:pt x="1401271" y="2523303"/>
                  <a:pt x="1401271" y="2487589"/>
                </a:cubicBezTo>
                <a:cubicBezTo>
                  <a:pt x="1401271" y="2451875"/>
                  <a:pt x="1430221" y="2422922"/>
                  <a:pt x="1465935" y="2422922"/>
                </a:cubicBezTo>
                <a:close/>
                <a:moveTo>
                  <a:pt x="1465941" y="2278094"/>
                </a:moveTo>
                <a:cubicBezTo>
                  <a:pt x="1501654" y="2278094"/>
                  <a:pt x="1530607" y="2307046"/>
                  <a:pt x="1530607" y="2342760"/>
                </a:cubicBezTo>
                <a:cubicBezTo>
                  <a:pt x="1530607" y="2378474"/>
                  <a:pt x="1501654" y="2407426"/>
                  <a:pt x="1465941" y="2407426"/>
                </a:cubicBezTo>
                <a:cubicBezTo>
                  <a:pt x="1430228" y="2407426"/>
                  <a:pt x="1401277" y="2378474"/>
                  <a:pt x="1401277" y="2342760"/>
                </a:cubicBezTo>
                <a:cubicBezTo>
                  <a:pt x="1401277" y="2307046"/>
                  <a:pt x="1430228" y="2278094"/>
                  <a:pt x="1465941" y="2278094"/>
                </a:cubicBezTo>
                <a:close/>
                <a:moveTo>
                  <a:pt x="2084411" y="2278092"/>
                </a:moveTo>
                <a:cubicBezTo>
                  <a:pt x="2120125" y="2278092"/>
                  <a:pt x="2149075" y="2307044"/>
                  <a:pt x="2149075" y="2342758"/>
                </a:cubicBezTo>
                <a:cubicBezTo>
                  <a:pt x="2149075" y="2378472"/>
                  <a:pt x="2120125" y="2407425"/>
                  <a:pt x="2084411" y="2407425"/>
                </a:cubicBezTo>
                <a:cubicBezTo>
                  <a:pt x="2048687" y="2407425"/>
                  <a:pt x="2019760" y="2378472"/>
                  <a:pt x="2019760" y="2342758"/>
                </a:cubicBezTo>
                <a:cubicBezTo>
                  <a:pt x="2019760" y="2307044"/>
                  <a:pt x="2048687" y="2278092"/>
                  <a:pt x="2084411" y="2278092"/>
                </a:cubicBezTo>
                <a:close/>
                <a:moveTo>
                  <a:pt x="1927830" y="2278092"/>
                </a:moveTo>
                <a:cubicBezTo>
                  <a:pt x="1963544" y="2278092"/>
                  <a:pt x="1992511" y="2307044"/>
                  <a:pt x="1992511" y="2342758"/>
                </a:cubicBezTo>
                <a:cubicBezTo>
                  <a:pt x="1992511" y="2378472"/>
                  <a:pt x="1963544" y="2407425"/>
                  <a:pt x="1927830" y="2407425"/>
                </a:cubicBezTo>
                <a:cubicBezTo>
                  <a:pt x="1892137" y="2407425"/>
                  <a:pt x="1863187" y="2378472"/>
                  <a:pt x="1863187" y="2342758"/>
                </a:cubicBezTo>
                <a:cubicBezTo>
                  <a:pt x="1863187" y="2307044"/>
                  <a:pt x="1892137" y="2278092"/>
                  <a:pt x="1927830" y="2278092"/>
                </a:cubicBezTo>
                <a:close/>
                <a:moveTo>
                  <a:pt x="1775179" y="2278092"/>
                </a:moveTo>
                <a:cubicBezTo>
                  <a:pt x="1810886" y="2278092"/>
                  <a:pt x="1839858" y="2307044"/>
                  <a:pt x="1839858" y="2342758"/>
                </a:cubicBezTo>
                <a:cubicBezTo>
                  <a:pt x="1839858" y="2378472"/>
                  <a:pt x="1810886" y="2407425"/>
                  <a:pt x="1775179" y="2407425"/>
                </a:cubicBezTo>
                <a:cubicBezTo>
                  <a:pt x="1739462" y="2407425"/>
                  <a:pt x="1710510" y="2378472"/>
                  <a:pt x="1710510" y="2342758"/>
                </a:cubicBezTo>
                <a:cubicBezTo>
                  <a:pt x="1710510" y="2307044"/>
                  <a:pt x="1739462" y="2278092"/>
                  <a:pt x="1775179" y="2278092"/>
                </a:cubicBezTo>
                <a:close/>
                <a:moveTo>
                  <a:pt x="1618599" y="2278092"/>
                </a:moveTo>
                <a:cubicBezTo>
                  <a:pt x="1654318" y="2278092"/>
                  <a:pt x="1683268" y="2307044"/>
                  <a:pt x="1683268" y="2342758"/>
                </a:cubicBezTo>
                <a:cubicBezTo>
                  <a:pt x="1683268" y="2378472"/>
                  <a:pt x="1654318" y="2407425"/>
                  <a:pt x="1618599" y="2407425"/>
                </a:cubicBezTo>
                <a:cubicBezTo>
                  <a:pt x="1582887" y="2407425"/>
                  <a:pt x="1553936" y="2378472"/>
                  <a:pt x="1553936" y="2342758"/>
                </a:cubicBezTo>
                <a:cubicBezTo>
                  <a:pt x="1553936" y="2307044"/>
                  <a:pt x="1582887" y="2278092"/>
                  <a:pt x="1618599" y="2278092"/>
                </a:cubicBezTo>
                <a:close/>
                <a:moveTo>
                  <a:pt x="10003016" y="2278090"/>
                </a:moveTo>
                <a:cubicBezTo>
                  <a:pt x="10038730" y="2278090"/>
                  <a:pt x="10067682" y="2307043"/>
                  <a:pt x="10067682" y="2342756"/>
                </a:cubicBezTo>
                <a:cubicBezTo>
                  <a:pt x="10067682" y="2378470"/>
                  <a:pt x="10038730" y="2407423"/>
                  <a:pt x="10003016" y="2407423"/>
                </a:cubicBezTo>
                <a:cubicBezTo>
                  <a:pt x="9967302" y="2407423"/>
                  <a:pt x="9938350" y="2378470"/>
                  <a:pt x="9938350" y="2342756"/>
                </a:cubicBezTo>
                <a:cubicBezTo>
                  <a:pt x="9938350" y="2307043"/>
                  <a:pt x="9967302" y="2278090"/>
                  <a:pt x="10003016" y="2278090"/>
                </a:cubicBezTo>
                <a:close/>
                <a:moveTo>
                  <a:pt x="9693783" y="2278090"/>
                </a:moveTo>
                <a:cubicBezTo>
                  <a:pt x="9729497" y="2278090"/>
                  <a:pt x="9758449" y="2307043"/>
                  <a:pt x="9758449" y="2342756"/>
                </a:cubicBezTo>
                <a:cubicBezTo>
                  <a:pt x="9758449" y="2378470"/>
                  <a:pt x="9729497" y="2407423"/>
                  <a:pt x="9693783" y="2407423"/>
                </a:cubicBezTo>
                <a:cubicBezTo>
                  <a:pt x="9658069" y="2407423"/>
                  <a:pt x="9629117" y="2378470"/>
                  <a:pt x="9629117" y="2342756"/>
                </a:cubicBezTo>
                <a:cubicBezTo>
                  <a:pt x="9629117" y="2307043"/>
                  <a:pt x="9658069" y="2278090"/>
                  <a:pt x="9693783" y="2278090"/>
                </a:cubicBezTo>
                <a:close/>
                <a:moveTo>
                  <a:pt x="9541123" y="2278090"/>
                </a:moveTo>
                <a:cubicBezTo>
                  <a:pt x="9576837" y="2278090"/>
                  <a:pt x="9605789" y="2307043"/>
                  <a:pt x="9605789" y="2342756"/>
                </a:cubicBezTo>
                <a:cubicBezTo>
                  <a:pt x="9605789" y="2378470"/>
                  <a:pt x="9576837" y="2407423"/>
                  <a:pt x="9541123" y="2407423"/>
                </a:cubicBezTo>
                <a:cubicBezTo>
                  <a:pt x="9505409" y="2407423"/>
                  <a:pt x="9476457" y="2378470"/>
                  <a:pt x="9476457" y="2342756"/>
                </a:cubicBezTo>
                <a:cubicBezTo>
                  <a:pt x="9476457" y="2307043"/>
                  <a:pt x="9505409" y="2278090"/>
                  <a:pt x="9541123" y="2278090"/>
                </a:cubicBezTo>
                <a:close/>
                <a:moveTo>
                  <a:pt x="9384550" y="2278090"/>
                </a:moveTo>
                <a:cubicBezTo>
                  <a:pt x="9420264" y="2278090"/>
                  <a:pt x="9449216" y="2307043"/>
                  <a:pt x="9449216" y="2342756"/>
                </a:cubicBezTo>
                <a:cubicBezTo>
                  <a:pt x="9449216" y="2378470"/>
                  <a:pt x="9420264" y="2407423"/>
                  <a:pt x="9384550" y="2407423"/>
                </a:cubicBezTo>
                <a:cubicBezTo>
                  <a:pt x="9348836" y="2407423"/>
                  <a:pt x="9319884" y="2378470"/>
                  <a:pt x="9319884" y="2342756"/>
                </a:cubicBezTo>
                <a:cubicBezTo>
                  <a:pt x="9319884" y="2307043"/>
                  <a:pt x="9348836" y="2278090"/>
                  <a:pt x="9384550" y="2278090"/>
                </a:cubicBezTo>
                <a:close/>
                <a:moveTo>
                  <a:pt x="9227977" y="2278090"/>
                </a:moveTo>
                <a:cubicBezTo>
                  <a:pt x="9263691" y="2278090"/>
                  <a:pt x="9292643" y="2307043"/>
                  <a:pt x="9292643" y="2342756"/>
                </a:cubicBezTo>
                <a:cubicBezTo>
                  <a:pt x="9292643" y="2378470"/>
                  <a:pt x="9263691" y="2407423"/>
                  <a:pt x="9227977" y="2407423"/>
                </a:cubicBezTo>
                <a:cubicBezTo>
                  <a:pt x="9192263" y="2407423"/>
                  <a:pt x="9163311" y="2378470"/>
                  <a:pt x="9163311" y="2342756"/>
                </a:cubicBezTo>
                <a:cubicBezTo>
                  <a:pt x="9163311" y="2307043"/>
                  <a:pt x="9192263" y="2278090"/>
                  <a:pt x="9227977" y="2278090"/>
                </a:cubicBezTo>
                <a:close/>
                <a:moveTo>
                  <a:pt x="9075319" y="2278090"/>
                </a:moveTo>
                <a:cubicBezTo>
                  <a:pt x="9111033" y="2278090"/>
                  <a:pt x="9139985" y="2307043"/>
                  <a:pt x="9139985" y="2342756"/>
                </a:cubicBezTo>
                <a:cubicBezTo>
                  <a:pt x="9139985" y="2378470"/>
                  <a:pt x="9111033" y="2407423"/>
                  <a:pt x="9075319" y="2407423"/>
                </a:cubicBezTo>
                <a:cubicBezTo>
                  <a:pt x="9039605" y="2407423"/>
                  <a:pt x="9010653" y="2378470"/>
                  <a:pt x="9010653" y="2342756"/>
                </a:cubicBezTo>
                <a:cubicBezTo>
                  <a:pt x="9010653" y="2307043"/>
                  <a:pt x="9039605" y="2278090"/>
                  <a:pt x="9075319" y="2278090"/>
                </a:cubicBezTo>
                <a:close/>
                <a:moveTo>
                  <a:pt x="8914831" y="2278090"/>
                </a:moveTo>
                <a:cubicBezTo>
                  <a:pt x="8950545" y="2278090"/>
                  <a:pt x="8979497" y="2307043"/>
                  <a:pt x="8979497" y="2342756"/>
                </a:cubicBezTo>
                <a:cubicBezTo>
                  <a:pt x="8979497" y="2378470"/>
                  <a:pt x="8950545" y="2407423"/>
                  <a:pt x="8914831" y="2407423"/>
                </a:cubicBezTo>
                <a:cubicBezTo>
                  <a:pt x="8879117" y="2407423"/>
                  <a:pt x="8850165" y="2378470"/>
                  <a:pt x="8850165" y="2342756"/>
                </a:cubicBezTo>
                <a:cubicBezTo>
                  <a:pt x="8850165" y="2307043"/>
                  <a:pt x="8879117" y="2278090"/>
                  <a:pt x="8914831" y="2278090"/>
                </a:cubicBezTo>
                <a:close/>
                <a:moveTo>
                  <a:pt x="8766086" y="2278090"/>
                </a:moveTo>
                <a:cubicBezTo>
                  <a:pt x="8801800" y="2278090"/>
                  <a:pt x="8830752" y="2307043"/>
                  <a:pt x="8830752" y="2342756"/>
                </a:cubicBezTo>
                <a:cubicBezTo>
                  <a:pt x="8830752" y="2378470"/>
                  <a:pt x="8801800" y="2407423"/>
                  <a:pt x="8766086" y="2407423"/>
                </a:cubicBezTo>
                <a:cubicBezTo>
                  <a:pt x="8730372" y="2407423"/>
                  <a:pt x="8701420" y="2378470"/>
                  <a:pt x="8701420" y="2342756"/>
                </a:cubicBezTo>
                <a:cubicBezTo>
                  <a:pt x="8701420" y="2307043"/>
                  <a:pt x="8730372" y="2278090"/>
                  <a:pt x="8766086" y="2278090"/>
                </a:cubicBezTo>
                <a:close/>
                <a:moveTo>
                  <a:pt x="8601685" y="2278090"/>
                </a:moveTo>
                <a:cubicBezTo>
                  <a:pt x="8637399" y="2278090"/>
                  <a:pt x="8666351" y="2307043"/>
                  <a:pt x="8666351" y="2342756"/>
                </a:cubicBezTo>
                <a:cubicBezTo>
                  <a:pt x="8666351" y="2378470"/>
                  <a:pt x="8637399" y="2407423"/>
                  <a:pt x="8601685" y="2407423"/>
                </a:cubicBezTo>
                <a:cubicBezTo>
                  <a:pt x="8565971" y="2407423"/>
                  <a:pt x="8537019" y="2378470"/>
                  <a:pt x="8537019" y="2342756"/>
                </a:cubicBezTo>
                <a:cubicBezTo>
                  <a:pt x="8537019" y="2307043"/>
                  <a:pt x="8565971" y="2278090"/>
                  <a:pt x="8601685" y="2278090"/>
                </a:cubicBezTo>
                <a:close/>
                <a:moveTo>
                  <a:pt x="8449025" y="2278090"/>
                </a:moveTo>
                <a:cubicBezTo>
                  <a:pt x="8484739" y="2278090"/>
                  <a:pt x="8513691" y="2307043"/>
                  <a:pt x="8513691" y="2342756"/>
                </a:cubicBezTo>
                <a:cubicBezTo>
                  <a:pt x="8513691" y="2378470"/>
                  <a:pt x="8484739" y="2407423"/>
                  <a:pt x="8449025" y="2407423"/>
                </a:cubicBezTo>
                <a:cubicBezTo>
                  <a:pt x="8413311" y="2407423"/>
                  <a:pt x="8384359" y="2378470"/>
                  <a:pt x="8384359" y="2342756"/>
                </a:cubicBezTo>
                <a:cubicBezTo>
                  <a:pt x="8384359" y="2307043"/>
                  <a:pt x="8413311" y="2278090"/>
                  <a:pt x="8449025" y="2278090"/>
                </a:cubicBezTo>
                <a:close/>
                <a:moveTo>
                  <a:pt x="8296368" y="2278090"/>
                </a:moveTo>
                <a:cubicBezTo>
                  <a:pt x="8332082" y="2278090"/>
                  <a:pt x="8361034" y="2307043"/>
                  <a:pt x="8361034" y="2342756"/>
                </a:cubicBezTo>
                <a:cubicBezTo>
                  <a:pt x="8361034" y="2378470"/>
                  <a:pt x="8332082" y="2407423"/>
                  <a:pt x="8296368" y="2407423"/>
                </a:cubicBezTo>
                <a:cubicBezTo>
                  <a:pt x="8260654" y="2407423"/>
                  <a:pt x="8231702" y="2378470"/>
                  <a:pt x="8231702" y="2342756"/>
                </a:cubicBezTo>
                <a:cubicBezTo>
                  <a:pt x="8231702" y="2307043"/>
                  <a:pt x="8260654" y="2278090"/>
                  <a:pt x="8296368" y="2278090"/>
                </a:cubicBezTo>
                <a:close/>
                <a:moveTo>
                  <a:pt x="8139793" y="2278090"/>
                </a:moveTo>
                <a:cubicBezTo>
                  <a:pt x="8175507" y="2278090"/>
                  <a:pt x="8204459" y="2307043"/>
                  <a:pt x="8204459" y="2342756"/>
                </a:cubicBezTo>
                <a:cubicBezTo>
                  <a:pt x="8204459" y="2378470"/>
                  <a:pt x="8175507" y="2407423"/>
                  <a:pt x="8139793" y="2407423"/>
                </a:cubicBezTo>
                <a:cubicBezTo>
                  <a:pt x="8104079" y="2407423"/>
                  <a:pt x="8075127" y="2378470"/>
                  <a:pt x="8075127" y="2342756"/>
                </a:cubicBezTo>
                <a:cubicBezTo>
                  <a:pt x="8075127" y="2307043"/>
                  <a:pt x="8104079" y="2278090"/>
                  <a:pt x="8139793" y="2278090"/>
                </a:cubicBezTo>
                <a:close/>
                <a:moveTo>
                  <a:pt x="7987133" y="2278090"/>
                </a:moveTo>
                <a:cubicBezTo>
                  <a:pt x="8022847" y="2278090"/>
                  <a:pt x="8051799" y="2307043"/>
                  <a:pt x="8051799" y="2342756"/>
                </a:cubicBezTo>
                <a:cubicBezTo>
                  <a:pt x="8051799" y="2378470"/>
                  <a:pt x="8022847" y="2407423"/>
                  <a:pt x="7987133" y="2407423"/>
                </a:cubicBezTo>
                <a:cubicBezTo>
                  <a:pt x="7951419" y="2407423"/>
                  <a:pt x="7922467" y="2378470"/>
                  <a:pt x="7922467" y="2342756"/>
                </a:cubicBezTo>
                <a:cubicBezTo>
                  <a:pt x="7922467" y="2307043"/>
                  <a:pt x="7951419" y="2278090"/>
                  <a:pt x="7987133" y="2278090"/>
                </a:cubicBezTo>
                <a:close/>
                <a:moveTo>
                  <a:pt x="7830562" y="2278090"/>
                </a:moveTo>
                <a:cubicBezTo>
                  <a:pt x="7866276" y="2278090"/>
                  <a:pt x="7895228" y="2307043"/>
                  <a:pt x="7895228" y="2342756"/>
                </a:cubicBezTo>
                <a:cubicBezTo>
                  <a:pt x="7895228" y="2378470"/>
                  <a:pt x="7866276" y="2407423"/>
                  <a:pt x="7830562" y="2407423"/>
                </a:cubicBezTo>
                <a:cubicBezTo>
                  <a:pt x="7794848" y="2407423"/>
                  <a:pt x="7765896" y="2378470"/>
                  <a:pt x="7765896" y="2342756"/>
                </a:cubicBezTo>
                <a:cubicBezTo>
                  <a:pt x="7765896" y="2307043"/>
                  <a:pt x="7794848" y="2278090"/>
                  <a:pt x="7830562" y="2278090"/>
                </a:cubicBezTo>
                <a:close/>
                <a:moveTo>
                  <a:pt x="7677904" y="2278090"/>
                </a:moveTo>
                <a:cubicBezTo>
                  <a:pt x="7713618" y="2278090"/>
                  <a:pt x="7742570" y="2307043"/>
                  <a:pt x="7742570" y="2342756"/>
                </a:cubicBezTo>
                <a:cubicBezTo>
                  <a:pt x="7742570" y="2378470"/>
                  <a:pt x="7713618" y="2407423"/>
                  <a:pt x="7677904" y="2407423"/>
                </a:cubicBezTo>
                <a:cubicBezTo>
                  <a:pt x="7642190" y="2407423"/>
                  <a:pt x="7613238" y="2378470"/>
                  <a:pt x="7613238" y="2342756"/>
                </a:cubicBezTo>
                <a:cubicBezTo>
                  <a:pt x="7613238" y="2307043"/>
                  <a:pt x="7642190" y="2278090"/>
                  <a:pt x="7677904" y="2278090"/>
                </a:cubicBezTo>
                <a:close/>
                <a:moveTo>
                  <a:pt x="7521331" y="2278090"/>
                </a:moveTo>
                <a:cubicBezTo>
                  <a:pt x="7557045" y="2278090"/>
                  <a:pt x="7585997" y="2307043"/>
                  <a:pt x="7585997" y="2342756"/>
                </a:cubicBezTo>
                <a:cubicBezTo>
                  <a:pt x="7585997" y="2378470"/>
                  <a:pt x="7557045" y="2407423"/>
                  <a:pt x="7521331" y="2407423"/>
                </a:cubicBezTo>
                <a:cubicBezTo>
                  <a:pt x="7485617" y="2407423"/>
                  <a:pt x="7456665" y="2378470"/>
                  <a:pt x="7456665" y="2342756"/>
                </a:cubicBezTo>
                <a:cubicBezTo>
                  <a:pt x="7456665" y="2307043"/>
                  <a:pt x="7485617" y="2278090"/>
                  <a:pt x="7521331" y="2278090"/>
                </a:cubicBezTo>
                <a:close/>
                <a:moveTo>
                  <a:pt x="7368671" y="2278090"/>
                </a:moveTo>
                <a:cubicBezTo>
                  <a:pt x="7404385" y="2278090"/>
                  <a:pt x="7433337" y="2307043"/>
                  <a:pt x="7433337" y="2342756"/>
                </a:cubicBezTo>
                <a:cubicBezTo>
                  <a:pt x="7433337" y="2378470"/>
                  <a:pt x="7404385" y="2407423"/>
                  <a:pt x="7368671" y="2407423"/>
                </a:cubicBezTo>
                <a:cubicBezTo>
                  <a:pt x="7332957" y="2407423"/>
                  <a:pt x="7304005" y="2378470"/>
                  <a:pt x="7304005" y="2342756"/>
                </a:cubicBezTo>
                <a:cubicBezTo>
                  <a:pt x="7304005" y="2307043"/>
                  <a:pt x="7332957" y="2278090"/>
                  <a:pt x="7368671" y="2278090"/>
                </a:cubicBezTo>
                <a:close/>
                <a:moveTo>
                  <a:pt x="7055523" y="2278090"/>
                </a:moveTo>
                <a:cubicBezTo>
                  <a:pt x="7091237" y="2278090"/>
                  <a:pt x="7120189" y="2307043"/>
                  <a:pt x="7120189" y="2342756"/>
                </a:cubicBezTo>
                <a:cubicBezTo>
                  <a:pt x="7120189" y="2378470"/>
                  <a:pt x="7091237" y="2407423"/>
                  <a:pt x="7055523" y="2407423"/>
                </a:cubicBezTo>
                <a:cubicBezTo>
                  <a:pt x="7019809" y="2407423"/>
                  <a:pt x="6990857" y="2378470"/>
                  <a:pt x="6990857" y="2342756"/>
                </a:cubicBezTo>
                <a:cubicBezTo>
                  <a:pt x="6990857" y="2307043"/>
                  <a:pt x="7019809" y="2278090"/>
                  <a:pt x="7055523" y="2278090"/>
                </a:cubicBezTo>
                <a:close/>
                <a:moveTo>
                  <a:pt x="6895037" y="2278090"/>
                </a:moveTo>
                <a:cubicBezTo>
                  <a:pt x="6930751" y="2278090"/>
                  <a:pt x="6959703" y="2307043"/>
                  <a:pt x="6959703" y="2342756"/>
                </a:cubicBezTo>
                <a:cubicBezTo>
                  <a:pt x="6959703" y="2378470"/>
                  <a:pt x="6930751" y="2407423"/>
                  <a:pt x="6895037" y="2407423"/>
                </a:cubicBezTo>
                <a:cubicBezTo>
                  <a:pt x="6859323" y="2407423"/>
                  <a:pt x="6830371" y="2378470"/>
                  <a:pt x="6830371" y="2342756"/>
                </a:cubicBezTo>
                <a:cubicBezTo>
                  <a:pt x="6830371" y="2307043"/>
                  <a:pt x="6859323" y="2278090"/>
                  <a:pt x="6895037" y="2278090"/>
                </a:cubicBezTo>
                <a:close/>
                <a:moveTo>
                  <a:pt x="6742377" y="2278090"/>
                </a:moveTo>
                <a:cubicBezTo>
                  <a:pt x="6778091" y="2278090"/>
                  <a:pt x="6807043" y="2307043"/>
                  <a:pt x="6807043" y="2342756"/>
                </a:cubicBezTo>
                <a:cubicBezTo>
                  <a:pt x="6807043" y="2378470"/>
                  <a:pt x="6778091" y="2407423"/>
                  <a:pt x="6742377" y="2407423"/>
                </a:cubicBezTo>
                <a:cubicBezTo>
                  <a:pt x="6706663" y="2407423"/>
                  <a:pt x="6677711" y="2378470"/>
                  <a:pt x="6677711" y="2342756"/>
                </a:cubicBezTo>
                <a:cubicBezTo>
                  <a:pt x="6677711" y="2307043"/>
                  <a:pt x="6706663" y="2278090"/>
                  <a:pt x="6742377" y="2278090"/>
                </a:cubicBezTo>
                <a:close/>
                <a:moveTo>
                  <a:pt x="6585804" y="2278090"/>
                </a:moveTo>
                <a:cubicBezTo>
                  <a:pt x="6621518" y="2278090"/>
                  <a:pt x="6650470" y="2307043"/>
                  <a:pt x="6650470" y="2342756"/>
                </a:cubicBezTo>
                <a:cubicBezTo>
                  <a:pt x="6650470" y="2378470"/>
                  <a:pt x="6621518" y="2407423"/>
                  <a:pt x="6585804" y="2407423"/>
                </a:cubicBezTo>
                <a:cubicBezTo>
                  <a:pt x="6550090" y="2407423"/>
                  <a:pt x="6521138" y="2378470"/>
                  <a:pt x="6521138" y="2342756"/>
                </a:cubicBezTo>
                <a:cubicBezTo>
                  <a:pt x="6521138" y="2307043"/>
                  <a:pt x="6550090" y="2278090"/>
                  <a:pt x="6585804" y="2278090"/>
                </a:cubicBezTo>
                <a:close/>
                <a:moveTo>
                  <a:pt x="6429231" y="2278090"/>
                </a:moveTo>
                <a:cubicBezTo>
                  <a:pt x="6464945" y="2278090"/>
                  <a:pt x="6493897" y="2307043"/>
                  <a:pt x="6493897" y="2342756"/>
                </a:cubicBezTo>
                <a:cubicBezTo>
                  <a:pt x="6493897" y="2378470"/>
                  <a:pt x="6464945" y="2407423"/>
                  <a:pt x="6429231" y="2407423"/>
                </a:cubicBezTo>
                <a:cubicBezTo>
                  <a:pt x="6393517" y="2407423"/>
                  <a:pt x="6364565" y="2378470"/>
                  <a:pt x="6364565" y="2342756"/>
                </a:cubicBezTo>
                <a:cubicBezTo>
                  <a:pt x="6364565" y="2307043"/>
                  <a:pt x="6393517" y="2278090"/>
                  <a:pt x="6429231" y="2278090"/>
                </a:cubicBezTo>
                <a:close/>
                <a:moveTo>
                  <a:pt x="6276571" y="2278090"/>
                </a:moveTo>
                <a:cubicBezTo>
                  <a:pt x="6312285" y="2278090"/>
                  <a:pt x="6341237" y="2307043"/>
                  <a:pt x="6341237" y="2342756"/>
                </a:cubicBezTo>
                <a:cubicBezTo>
                  <a:pt x="6341237" y="2378470"/>
                  <a:pt x="6312285" y="2407423"/>
                  <a:pt x="6276571" y="2407423"/>
                </a:cubicBezTo>
                <a:cubicBezTo>
                  <a:pt x="6240857" y="2407423"/>
                  <a:pt x="6211905" y="2378470"/>
                  <a:pt x="6211905" y="2342756"/>
                </a:cubicBezTo>
                <a:cubicBezTo>
                  <a:pt x="6211905" y="2307043"/>
                  <a:pt x="6240857" y="2278090"/>
                  <a:pt x="6276571" y="2278090"/>
                </a:cubicBezTo>
                <a:close/>
                <a:moveTo>
                  <a:pt x="6119999" y="2278090"/>
                </a:moveTo>
                <a:cubicBezTo>
                  <a:pt x="6155713" y="2278090"/>
                  <a:pt x="6184665" y="2307043"/>
                  <a:pt x="6184665" y="2342756"/>
                </a:cubicBezTo>
                <a:cubicBezTo>
                  <a:pt x="6184665" y="2378470"/>
                  <a:pt x="6155713" y="2407423"/>
                  <a:pt x="6119999" y="2407423"/>
                </a:cubicBezTo>
                <a:cubicBezTo>
                  <a:pt x="6084285" y="2407423"/>
                  <a:pt x="6055333" y="2378470"/>
                  <a:pt x="6055333" y="2342756"/>
                </a:cubicBezTo>
                <a:cubicBezTo>
                  <a:pt x="6055333" y="2307043"/>
                  <a:pt x="6084285" y="2278090"/>
                  <a:pt x="6119999" y="2278090"/>
                </a:cubicBezTo>
                <a:close/>
                <a:moveTo>
                  <a:pt x="5967339" y="2278090"/>
                </a:moveTo>
                <a:cubicBezTo>
                  <a:pt x="6003053" y="2278090"/>
                  <a:pt x="6032005" y="2307043"/>
                  <a:pt x="6032005" y="2342756"/>
                </a:cubicBezTo>
                <a:cubicBezTo>
                  <a:pt x="6032005" y="2378470"/>
                  <a:pt x="6003053" y="2407423"/>
                  <a:pt x="5967339" y="2407423"/>
                </a:cubicBezTo>
                <a:cubicBezTo>
                  <a:pt x="5931625" y="2407423"/>
                  <a:pt x="5902673" y="2378470"/>
                  <a:pt x="5902673" y="2342756"/>
                </a:cubicBezTo>
                <a:cubicBezTo>
                  <a:pt x="5902673" y="2307043"/>
                  <a:pt x="5931625" y="2278090"/>
                  <a:pt x="5967339" y="2278090"/>
                </a:cubicBezTo>
                <a:close/>
                <a:moveTo>
                  <a:pt x="5501540" y="2278090"/>
                </a:moveTo>
                <a:cubicBezTo>
                  <a:pt x="5537254" y="2278090"/>
                  <a:pt x="5566203" y="2307043"/>
                  <a:pt x="5566203" y="2342756"/>
                </a:cubicBezTo>
                <a:cubicBezTo>
                  <a:pt x="5566203" y="2378470"/>
                  <a:pt x="5537254" y="2407423"/>
                  <a:pt x="5501540" y="2407423"/>
                </a:cubicBezTo>
                <a:cubicBezTo>
                  <a:pt x="5465826" y="2407423"/>
                  <a:pt x="5436881" y="2378470"/>
                  <a:pt x="5436881" y="2342756"/>
                </a:cubicBezTo>
                <a:cubicBezTo>
                  <a:pt x="5436881" y="2307043"/>
                  <a:pt x="5465826" y="2278090"/>
                  <a:pt x="5501540" y="2278090"/>
                </a:cubicBezTo>
                <a:close/>
                <a:moveTo>
                  <a:pt x="5348888" y="2278090"/>
                </a:moveTo>
                <a:cubicBezTo>
                  <a:pt x="5384602" y="2278090"/>
                  <a:pt x="5413553" y="2307043"/>
                  <a:pt x="5413553" y="2342756"/>
                </a:cubicBezTo>
                <a:cubicBezTo>
                  <a:pt x="5413553" y="2378470"/>
                  <a:pt x="5384602" y="2407423"/>
                  <a:pt x="5348888" y="2407423"/>
                </a:cubicBezTo>
                <a:cubicBezTo>
                  <a:pt x="5313182" y="2407423"/>
                  <a:pt x="5284227" y="2378470"/>
                  <a:pt x="5284227" y="2342756"/>
                </a:cubicBezTo>
                <a:cubicBezTo>
                  <a:pt x="5284227" y="2307043"/>
                  <a:pt x="5313182" y="2278090"/>
                  <a:pt x="5348888" y="2278090"/>
                </a:cubicBezTo>
                <a:close/>
                <a:moveTo>
                  <a:pt x="5192318" y="2278090"/>
                </a:moveTo>
                <a:cubicBezTo>
                  <a:pt x="5228037" y="2278090"/>
                  <a:pt x="5256980" y="2307043"/>
                  <a:pt x="5256980" y="2342756"/>
                </a:cubicBezTo>
                <a:cubicBezTo>
                  <a:pt x="5256980" y="2378470"/>
                  <a:pt x="5228037" y="2407423"/>
                  <a:pt x="5192318" y="2407423"/>
                </a:cubicBezTo>
                <a:cubicBezTo>
                  <a:pt x="5156609" y="2407423"/>
                  <a:pt x="5127652" y="2378470"/>
                  <a:pt x="5127652" y="2342756"/>
                </a:cubicBezTo>
                <a:cubicBezTo>
                  <a:pt x="5127652" y="2307043"/>
                  <a:pt x="5156609" y="2278090"/>
                  <a:pt x="5192318" y="2278090"/>
                </a:cubicBezTo>
                <a:close/>
                <a:moveTo>
                  <a:pt x="3172598" y="2278090"/>
                </a:moveTo>
                <a:cubicBezTo>
                  <a:pt x="3208318" y="2278090"/>
                  <a:pt x="3237268" y="2307043"/>
                  <a:pt x="3237268" y="2342756"/>
                </a:cubicBezTo>
                <a:cubicBezTo>
                  <a:pt x="3237268" y="2378470"/>
                  <a:pt x="3208318" y="2407423"/>
                  <a:pt x="3172598" y="2407423"/>
                </a:cubicBezTo>
                <a:cubicBezTo>
                  <a:pt x="3136878" y="2407423"/>
                  <a:pt x="3107920" y="2378470"/>
                  <a:pt x="3107920" y="2342756"/>
                </a:cubicBezTo>
                <a:cubicBezTo>
                  <a:pt x="3107920" y="2307043"/>
                  <a:pt x="3136878" y="2278090"/>
                  <a:pt x="3172598" y="2278090"/>
                </a:cubicBezTo>
                <a:close/>
                <a:moveTo>
                  <a:pt x="3012091" y="2278090"/>
                </a:moveTo>
                <a:cubicBezTo>
                  <a:pt x="3047802" y="2278090"/>
                  <a:pt x="3076760" y="2307043"/>
                  <a:pt x="3076760" y="2342756"/>
                </a:cubicBezTo>
                <a:cubicBezTo>
                  <a:pt x="3076760" y="2378470"/>
                  <a:pt x="3047802" y="2407423"/>
                  <a:pt x="3012091" y="2407423"/>
                </a:cubicBezTo>
                <a:cubicBezTo>
                  <a:pt x="2976381" y="2407423"/>
                  <a:pt x="2947431" y="2378470"/>
                  <a:pt x="2947431" y="2342756"/>
                </a:cubicBezTo>
                <a:cubicBezTo>
                  <a:pt x="2947431" y="2307043"/>
                  <a:pt x="2976381" y="2278090"/>
                  <a:pt x="3012091" y="2278090"/>
                </a:cubicBezTo>
                <a:close/>
                <a:moveTo>
                  <a:pt x="2855533" y="2278090"/>
                </a:moveTo>
                <a:cubicBezTo>
                  <a:pt x="2891243" y="2278090"/>
                  <a:pt x="2920192" y="2307043"/>
                  <a:pt x="2920192" y="2342756"/>
                </a:cubicBezTo>
                <a:cubicBezTo>
                  <a:pt x="2920192" y="2378470"/>
                  <a:pt x="2891243" y="2407423"/>
                  <a:pt x="2855533" y="2407423"/>
                </a:cubicBezTo>
                <a:cubicBezTo>
                  <a:pt x="2819822" y="2407423"/>
                  <a:pt x="2790873" y="2378470"/>
                  <a:pt x="2790873" y="2342756"/>
                </a:cubicBezTo>
                <a:cubicBezTo>
                  <a:pt x="2790873" y="2307043"/>
                  <a:pt x="2819822" y="2278090"/>
                  <a:pt x="2855533" y="2278090"/>
                </a:cubicBezTo>
                <a:close/>
                <a:moveTo>
                  <a:pt x="2698976" y="2278090"/>
                </a:moveTo>
                <a:cubicBezTo>
                  <a:pt x="2734686" y="2278090"/>
                  <a:pt x="2763635" y="2307043"/>
                  <a:pt x="2763635" y="2342756"/>
                </a:cubicBezTo>
                <a:cubicBezTo>
                  <a:pt x="2763635" y="2378470"/>
                  <a:pt x="2734686" y="2407423"/>
                  <a:pt x="2698976" y="2407423"/>
                </a:cubicBezTo>
                <a:cubicBezTo>
                  <a:pt x="2663266" y="2407423"/>
                  <a:pt x="2634317" y="2378470"/>
                  <a:pt x="2634317" y="2342756"/>
                </a:cubicBezTo>
                <a:cubicBezTo>
                  <a:pt x="2634317" y="2307043"/>
                  <a:pt x="2663266" y="2278090"/>
                  <a:pt x="2698976" y="2278090"/>
                </a:cubicBezTo>
                <a:close/>
                <a:moveTo>
                  <a:pt x="2546333" y="2278090"/>
                </a:moveTo>
                <a:cubicBezTo>
                  <a:pt x="2582041" y="2278090"/>
                  <a:pt x="2610993" y="2307043"/>
                  <a:pt x="2610993" y="2342756"/>
                </a:cubicBezTo>
                <a:cubicBezTo>
                  <a:pt x="2610993" y="2378470"/>
                  <a:pt x="2582041" y="2407423"/>
                  <a:pt x="2546333" y="2407423"/>
                </a:cubicBezTo>
                <a:cubicBezTo>
                  <a:pt x="2510612" y="2407423"/>
                  <a:pt x="2481673" y="2378470"/>
                  <a:pt x="2481673" y="2342756"/>
                </a:cubicBezTo>
                <a:cubicBezTo>
                  <a:pt x="2481673" y="2307043"/>
                  <a:pt x="2510612" y="2278090"/>
                  <a:pt x="2546333" y="2278090"/>
                </a:cubicBezTo>
                <a:close/>
                <a:moveTo>
                  <a:pt x="2389761" y="2278090"/>
                </a:moveTo>
                <a:cubicBezTo>
                  <a:pt x="2425486" y="2278090"/>
                  <a:pt x="2454433" y="2307043"/>
                  <a:pt x="2454433" y="2342756"/>
                </a:cubicBezTo>
                <a:cubicBezTo>
                  <a:pt x="2454433" y="2378470"/>
                  <a:pt x="2425486" y="2407423"/>
                  <a:pt x="2389761" y="2407423"/>
                </a:cubicBezTo>
                <a:cubicBezTo>
                  <a:pt x="2354056" y="2407423"/>
                  <a:pt x="2325098" y="2378470"/>
                  <a:pt x="2325098" y="2342756"/>
                </a:cubicBezTo>
                <a:cubicBezTo>
                  <a:pt x="2325098" y="2307043"/>
                  <a:pt x="2354056" y="2278090"/>
                  <a:pt x="2389761" y="2278090"/>
                </a:cubicBezTo>
                <a:close/>
                <a:moveTo>
                  <a:pt x="2237087" y="2278090"/>
                </a:moveTo>
                <a:cubicBezTo>
                  <a:pt x="2272808" y="2278090"/>
                  <a:pt x="2301766" y="2307043"/>
                  <a:pt x="2301766" y="2342756"/>
                </a:cubicBezTo>
                <a:cubicBezTo>
                  <a:pt x="2301766" y="2378470"/>
                  <a:pt x="2272808" y="2407423"/>
                  <a:pt x="2237087" y="2407423"/>
                </a:cubicBezTo>
                <a:cubicBezTo>
                  <a:pt x="2201366" y="2407423"/>
                  <a:pt x="2172408" y="2378470"/>
                  <a:pt x="2172408" y="2342756"/>
                </a:cubicBezTo>
                <a:cubicBezTo>
                  <a:pt x="2172408" y="2307043"/>
                  <a:pt x="2201366" y="2278090"/>
                  <a:pt x="2237087" y="2278090"/>
                </a:cubicBezTo>
                <a:close/>
                <a:moveTo>
                  <a:pt x="9850358" y="2137178"/>
                </a:moveTo>
                <a:cubicBezTo>
                  <a:pt x="9886072" y="2137178"/>
                  <a:pt x="9915024" y="2166130"/>
                  <a:pt x="9915024" y="2201844"/>
                </a:cubicBezTo>
                <a:cubicBezTo>
                  <a:pt x="9915024" y="2237558"/>
                  <a:pt x="9886072" y="2266510"/>
                  <a:pt x="9850358" y="2266510"/>
                </a:cubicBezTo>
                <a:cubicBezTo>
                  <a:pt x="9814644" y="2266510"/>
                  <a:pt x="9785692" y="2237558"/>
                  <a:pt x="9785692" y="2201844"/>
                </a:cubicBezTo>
                <a:cubicBezTo>
                  <a:pt x="9785692" y="2166130"/>
                  <a:pt x="9814644" y="2137178"/>
                  <a:pt x="9850358" y="2137178"/>
                </a:cubicBezTo>
                <a:close/>
                <a:moveTo>
                  <a:pt x="9693783" y="2137178"/>
                </a:moveTo>
                <a:cubicBezTo>
                  <a:pt x="9729497" y="2137178"/>
                  <a:pt x="9758449" y="2166130"/>
                  <a:pt x="9758449" y="2201844"/>
                </a:cubicBezTo>
                <a:cubicBezTo>
                  <a:pt x="9758449" y="2237558"/>
                  <a:pt x="9729497" y="2266510"/>
                  <a:pt x="9693783" y="2266510"/>
                </a:cubicBezTo>
                <a:cubicBezTo>
                  <a:pt x="9658069" y="2266510"/>
                  <a:pt x="9629117" y="2237558"/>
                  <a:pt x="9629117" y="2201844"/>
                </a:cubicBezTo>
                <a:cubicBezTo>
                  <a:pt x="9629117" y="2166130"/>
                  <a:pt x="9658069" y="2137178"/>
                  <a:pt x="9693783" y="2137178"/>
                </a:cubicBezTo>
                <a:close/>
                <a:moveTo>
                  <a:pt x="9541123" y="2137178"/>
                </a:moveTo>
                <a:cubicBezTo>
                  <a:pt x="9576837" y="2137178"/>
                  <a:pt x="9605789" y="2166130"/>
                  <a:pt x="9605789" y="2201844"/>
                </a:cubicBezTo>
                <a:cubicBezTo>
                  <a:pt x="9605789" y="2237558"/>
                  <a:pt x="9576837" y="2266510"/>
                  <a:pt x="9541123" y="2266510"/>
                </a:cubicBezTo>
                <a:cubicBezTo>
                  <a:pt x="9505409" y="2266510"/>
                  <a:pt x="9476457" y="2237558"/>
                  <a:pt x="9476457" y="2201844"/>
                </a:cubicBezTo>
                <a:cubicBezTo>
                  <a:pt x="9476457" y="2166130"/>
                  <a:pt x="9505409" y="2137178"/>
                  <a:pt x="9541123" y="2137178"/>
                </a:cubicBezTo>
                <a:close/>
                <a:moveTo>
                  <a:pt x="9384550" y="2137178"/>
                </a:moveTo>
                <a:cubicBezTo>
                  <a:pt x="9420264" y="2137178"/>
                  <a:pt x="9449216" y="2166130"/>
                  <a:pt x="9449216" y="2201844"/>
                </a:cubicBezTo>
                <a:cubicBezTo>
                  <a:pt x="9449216" y="2237558"/>
                  <a:pt x="9420264" y="2266510"/>
                  <a:pt x="9384550" y="2266510"/>
                </a:cubicBezTo>
                <a:cubicBezTo>
                  <a:pt x="9348836" y="2266510"/>
                  <a:pt x="9319884" y="2237558"/>
                  <a:pt x="9319884" y="2201844"/>
                </a:cubicBezTo>
                <a:cubicBezTo>
                  <a:pt x="9319884" y="2166130"/>
                  <a:pt x="9348836" y="2137178"/>
                  <a:pt x="9384550" y="2137178"/>
                </a:cubicBezTo>
                <a:close/>
                <a:moveTo>
                  <a:pt x="9227977" y="2137178"/>
                </a:moveTo>
                <a:cubicBezTo>
                  <a:pt x="9263691" y="2137178"/>
                  <a:pt x="9292643" y="2166130"/>
                  <a:pt x="9292643" y="2201844"/>
                </a:cubicBezTo>
                <a:cubicBezTo>
                  <a:pt x="9292643" y="2237558"/>
                  <a:pt x="9263691" y="2266510"/>
                  <a:pt x="9227977" y="2266510"/>
                </a:cubicBezTo>
                <a:cubicBezTo>
                  <a:pt x="9192263" y="2266510"/>
                  <a:pt x="9163311" y="2237558"/>
                  <a:pt x="9163311" y="2201844"/>
                </a:cubicBezTo>
                <a:cubicBezTo>
                  <a:pt x="9163311" y="2166130"/>
                  <a:pt x="9192263" y="2137178"/>
                  <a:pt x="9227977" y="2137178"/>
                </a:cubicBezTo>
                <a:close/>
                <a:moveTo>
                  <a:pt x="9075319" y="2137178"/>
                </a:moveTo>
                <a:cubicBezTo>
                  <a:pt x="9111033" y="2137178"/>
                  <a:pt x="9139985" y="2166130"/>
                  <a:pt x="9139985" y="2201844"/>
                </a:cubicBezTo>
                <a:cubicBezTo>
                  <a:pt x="9139985" y="2237558"/>
                  <a:pt x="9111033" y="2266510"/>
                  <a:pt x="9075319" y="2266510"/>
                </a:cubicBezTo>
                <a:cubicBezTo>
                  <a:pt x="9039605" y="2266510"/>
                  <a:pt x="9010653" y="2237558"/>
                  <a:pt x="9010653" y="2201844"/>
                </a:cubicBezTo>
                <a:cubicBezTo>
                  <a:pt x="9010653" y="2166130"/>
                  <a:pt x="9039605" y="2137178"/>
                  <a:pt x="9075319" y="2137178"/>
                </a:cubicBezTo>
                <a:close/>
                <a:moveTo>
                  <a:pt x="8914831" y="2137178"/>
                </a:moveTo>
                <a:cubicBezTo>
                  <a:pt x="8950545" y="2137178"/>
                  <a:pt x="8979497" y="2166130"/>
                  <a:pt x="8979497" y="2201844"/>
                </a:cubicBezTo>
                <a:cubicBezTo>
                  <a:pt x="8979497" y="2237558"/>
                  <a:pt x="8950545" y="2266510"/>
                  <a:pt x="8914831" y="2266510"/>
                </a:cubicBezTo>
                <a:cubicBezTo>
                  <a:pt x="8879117" y="2266510"/>
                  <a:pt x="8850165" y="2237558"/>
                  <a:pt x="8850165" y="2201844"/>
                </a:cubicBezTo>
                <a:cubicBezTo>
                  <a:pt x="8850165" y="2166130"/>
                  <a:pt x="8879117" y="2137178"/>
                  <a:pt x="8914831" y="2137178"/>
                </a:cubicBezTo>
                <a:close/>
                <a:moveTo>
                  <a:pt x="8766086" y="2137178"/>
                </a:moveTo>
                <a:cubicBezTo>
                  <a:pt x="8801800" y="2137178"/>
                  <a:pt x="8830752" y="2166130"/>
                  <a:pt x="8830752" y="2201844"/>
                </a:cubicBezTo>
                <a:cubicBezTo>
                  <a:pt x="8830752" y="2237558"/>
                  <a:pt x="8801800" y="2266510"/>
                  <a:pt x="8766086" y="2266510"/>
                </a:cubicBezTo>
                <a:cubicBezTo>
                  <a:pt x="8730372" y="2266510"/>
                  <a:pt x="8701420" y="2237558"/>
                  <a:pt x="8701420" y="2201844"/>
                </a:cubicBezTo>
                <a:cubicBezTo>
                  <a:pt x="8701420" y="2166130"/>
                  <a:pt x="8730372" y="2137178"/>
                  <a:pt x="8766086" y="2137178"/>
                </a:cubicBezTo>
                <a:close/>
                <a:moveTo>
                  <a:pt x="8601685" y="2137178"/>
                </a:moveTo>
                <a:cubicBezTo>
                  <a:pt x="8637399" y="2137178"/>
                  <a:pt x="8666351" y="2166130"/>
                  <a:pt x="8666351" y="2201844"/>
                </a:cubicBezTo>
                <a:cubicBezTo>
                  <a:pt x="8666351" y="2237558"/>
                  <a:pt x="8637399" y="2266510"/>
                  <a:pt x="8601685" y="2266510"/>
                </a:cubicBezTo>
                <a:cubicBezTo>
                  <a:pt x="8565971" y="2266510"/>
                  <a:pt x="8537019" y="2237558"/>
                  <a:pt x="8537019" y="2201844"/>
                </a:cubicBezTo>
                <a:cubicBezTo>
                  <a:pt x="8537019" y="2166130"/>
                  <a:pt x="8565971" y="2137178"/>
                  <a:pt x="8601685" y="2137178"/>
                </a:cubicBezTo>
                <a:close/>
                <a:moveTo>
                  <a:pt x="8449025" y="2137178"/>
                </a:moveTo>
                <a:cubicBezTo>
                  <a:pt x="8484739" y="2137178"/>
                  <a:pt x="8513691" y="2166130"/>
                  <a:pt x="8513691" y="2201844"/>
                </a:cubicBezTo>
                <a:cubicBezTo>
                  <a:pt x="8513691" y="2237558"/>
                  <a:pt x="8484739" y="2266510"/>
                  <a:pt x="8449025" y="2266510"/>
                </a:cubicBezTo>
                <a:cubicBezTo>
                  <a:pt x="8413311" y="2266510"/>
                  <a:pt x="8384359" y="2237558"/>
                  <a:pt x="8384359" y="2201844"/>
                </a:cubicBezTo>
                <a:cubicBezTo>
                  <a:pt x="8384359" y="2166130"/>
                  <a:pt x="8413311" y="2137178"/>
                  <a:pt x="8449025" y="2137178"/>
                </a:cubicBezTo>
                <a:close/>
                <a:moveTo>
                  <a:pt x="8296368" y="2137178"/>
                </a:moveTo>
                <a:cubicBezTo>
                  <a:pt x="8332082" y="2137178"/>
                  <a:pt x="8361034" y="2166130"/>
                  <a:pt x="8361034" y="2201844"/>
                </a:cubicBezTo>
                <a:cubicBezTo>
                  <a:pt x="8361034" y="2237558"/>
                  <a:pt x="8332082" y="2266510"/>
                  <a:pt x="8296368" y="2266510"/>
                </a:cubicBezTo>
                <a:cubicBezTo>
                  <a:pt x="8260654" y="2266510"/>
                  <a:pt x="8231702" y="2237558"/>
                  <a:pt x="8231702" y="2201844"/>
                </a:cubicBezTo>
                <a:cubicBezTo>
                  <a:pt x="8231702" y="2166130"/>
                  <a:pt x="8260654" y="2137178"/>
                  <a:pt x="8296368" y="2137178"/>
                </a:cubicBezTo>
                <a:close/>
                <a:moveTo>
                  <a:pt x="8139793" y="2137178"/>
                </a:moveTo>
                <a:cubicBezTo>
                  <a:pt x="8175507" y="2137178"/>
                  <a:pt x="8204459" y="2166130"/>
                  <a:pt x="8204459" y="2201844"/>
                </a:cubicBezTo>
                <a:cubicBezTo>
                  <a:pt x="8204459" y="2237558"/>
                  <a:pt x="8175507" y="2266510"/>
                  <a:pt x="8139793" y="2266510"/>
                </a:cubicBezTo>
                <a:cubicBezTo>
                  <a:pt x="8104079" y="2266510"/>
                  <a:pt x="8075127" y="2237558"/>
                  <a:pt x="8075127" y="2201844"/>
                </a:cubicBezTo>
                <a:cubicBezTo>
                  <a:pt x="8075127" y="2166130"/>
                  <a:pt x="8104079" y="2137178"/>
                  <a:pt x="8139793" y="2137178"/>
                </a:cubicBezTo>
                <a:close/>
                <a:moveTo>
                  <a:pt x="7987133" y="2137178"/>
                </a:moveTo>
                <a:cubicBezTo>
                  <a:pt x="8022847" y="2137178"/>
                  <a:pt x="8051799" y="2166130"/>
                  <a:pt x="8051799" y="2201844"/>
                </a:cubicBezTo>
                <a:cubicBezTo>
                  <a:pt x="8051799" y="2237558"/>
                  <a:pt x="8022847" y="2266510"/>
                  <a:pt x="7987133" y="2266510"/>
                </a:cubicBezTo>
                <a:cubicBezTo>
                  <a:pt x="7951419" y="2266510"/>
                  <a:pt x="7922467" y="2237558"/>
                  <a:pt x="7922467" y="2201844"/>
                </a:cubicBezTo>
                <a:cubicBezTo>
                  <a:pt x="7922467" y="2166130"/>
                  <a:pt x="7951419" y="2137178"/>
                  <a:pt x="7987133" y="2137178"/>
                </a:cubicBezTo>
                <a:close/>
                <a:moveTo>
                  <a:pt x="7830562" y="2137178"/>
                </a:moveTo>
                <a:cubicBezTo>
                  <a:pt x="7866276" y="2137178"/>
                  <a:pt x="7895228" y="2166130"/>
                  <a:pt x="7895228" y="2201844"/>
                </a:cubicBezTo>
                <a:cubicBezTo>
                  <a:pt x="7895228" y="2237558"/>
                  <a:pt x="7866276" y="2266510"/>
                  <a:pt x="7830562" y="2266510"/>
                </a:cubicBezTo>
                <a:cubicBezTo>
                  <a:pt x="7794848" y="2266510"/>
                  <a:pt x="7765896" y="2237558"/>
                  <a:pt x="7765896" y="2201844"/>
                </a:cubicBezTo>
                <a:cubicBezTo>
                  <a:pt x="7765896" y="2166130"/>
                  <a:pt x="7794848" y="2137178"/>
                  <a:pt x="7830562" y="2137178"/>
                </a:cubicBezTo>
                <a:close/>
                <a:moveTo>
                  <a:pt x="7677904" y="2137178"/>
                </a:moveTo>
                <a:cubicBezTo>
                  <a:pt x="7713618" y="2137178"/>
                  <a:pt x="7742570" y="2166130"/>
                  <a:pt x="7742570" y="2201844"/>
                </a:cubicBezTo>
                <a:cubicBezTo>
                  <a:pt x="7742570" y="2237558"/>
                  <a:pt x="7713618" y="2266510"/>
                  <a:pt x="7677904" y="2266510"/>
                </a:cubicBezTo>
                <a:cubicBezTo>
                  <a:pt x="7642190" y="2266510"/>
                  <a:pt x="7613238" y="2237558"/>
                  <a:pt x="7613238" y="2201844"/>
                </a:cubicBezTo>
                <a:cubicBezTo>
                  <a:pt x="7613238" y="2166130"/>
                  <a:pt x="7642190" y="2137178"/>
                  <a:pt x="7677904" y="2137178"/>
                </a:cubicBezTo>
                <a:close/>
                <a:moveTo>
                  <a:pt x="7368669" y="2137178"/>
                </a:moveTo>
                <a:cubicBezTo>
                  <a:pt x="7404383" y="2137178"/>
                  <a:pt x="7433335" y="2166130"/>
                  <a:pt x="7433335" y="2201844"/>
                </a:cubicBezTo>
                <a:cubicBezTo>
                  <a:pt x="7433335" y="2237558"/>
                  <a:pt x="7404383" y="2266510"/>
                  <a:pt x="7368669" y="2266510"/>
                </a:cubicBezTo>
                <a:cubicBezTo>
                  <a:pt x="7332955" y="2266510"/>
                  <a:pt x="7304003" y="2237558"/>
                  <a:pt x="7304003" y="2201844"/>
                </a:cubicBezTo>
                <a:cubicBezTo>
                  <a:pt x="7304003" y="2166130"/>
                  <a:pt x="7332955" y="2137178"/>
                  <a:pt x="7368669" y="2137178"/>
                </a:cubicBezTo>
                <a:close/>
                <a:moveTo>
                  <a:pt x="7212096" y="2137178"/>
                </a:moveTo>
                <a:cubicBezTo>
                  <a:pt x="7247810" y="2137178"/>
                  <a:pt x="7276762" y="2166130"/>
                  <a:pt x="7276762" y="2201844"/>
                </a:cubicBezTo>
                <a:cubicBezTo>
                  <a:pt x="7276762" y="2237558"/>
                  <a:pt x="7247810" y="2266510"/>
                  <a:pt x="7212096" y="2266510"/>
                </a:cubicBezTo>
                <a:cubicBezTo>
                  <a:pt x="7176382" y="2266510"/>
                  <a:pt x="7147430" y="2237558"/>
                  <a:pt x="7147430" y="2201844"/>
                </a:cubicBezTo>
                <a:cubicBezTo>
                  <a:pt x="7147430" y="2166130"/>
                  <a:pt x="7176382" y="2137178"/>
                  <a:pt x="7212096" y="2137178"/>
                </a:cubicBezTo>
                <a:close/>
                <a:moveTo>
                  <a:pt x="7055523" y="2137178"/>
                </a:moveTo>
                <a:cubicBezTo>
                  <a:pt x="7091237" y="2137178"/>
                  <a:pt x="7120189" y="2166130"/>
                  <a:pt x="7120189" y="2201844"/>
                </a:cubicBezTo>
                <a:cubicBezTo>
                  <a:pt x="7120189" y="2237558"/>
                  <a:pt x="7091237" y="2266510"/>
                  <a:pt x="7055523" y="2266510"/>
                </a:cubicBezTo>
                <a:cubicBezTo>
                  <a:pt x="7019809" y="2266510"/>
                  <a:pt x="6990857" y="2237558"/>
                  <a:pt x="6990857" y="2201844"/>
                </a:cubicBezTo>
                <a:cubicBezTo>
                  <a:pt x="6990857" y="2166130"/>
                  <a:pt x="7019809" y="2137178"/>
                  <a:pt x="7055523" y="2137178"/>
                </a:cubicBezTo>
                <a:close/>
                <a:moveTo>
                  <a:pt x="6895037" y="2137178"/>
                </a:moveTo>
                <a:cubicBezTo>
                  <a:pt x="6930751" y="2137178"/>
                  <a:pt x="6959703" y="2166130"/>
                  <a:pt x="6959703" y="2201844"/>
                </a:cubicBezTo>
                <a:cubicBezTo>
                  <a:pt x="6959703" y="2237558"/>
                  <a:pt x="6930751" y="2266510"/>
                  <a:pt x="6895037" y="2266510"/>
                </a:cubicBezTo>
                <a:cubicBezTo>
                  <a:pt x="6859323" y="2266510"/>
                  <a:pt x="6830371" y="2237558"/>
                  <a:pt x="6830371" y="2201844"/>
                </a:cubicBezTo>
                <a:cubicBezTo>
                  <a:pt x="6830371" y="2166130"/>
                  <a:pt x="6859323" y="2137178"/>
                  <a:pt x="6895037" y="2137178"/>
                </a:cubicBezTo>
                <a:close/>
                <a:moveTo>
                  <a:pt x="6742377" y="2137178"/>
                </a:moveTo>
                <a:cubicBezTo>
                  <a:pt x="6778091" y="2137178"/>
                  <a:pt x="6807043" y="2166130"/>
                  <a:pt x="6807043" y="2201844"/>
                </a:cubicBezTo>
                <a:cubicBezTo>
                  <a:pt x="6807043" y="2237558"/>
                  <a:pt x="6778091" y="2266510"/>
                  <a:pt x="6742377" y="2266510"/>
                </a:cubicBezTo>
                <a:cubicBezTo>
                  <a:pt x="6706663" y="2266510"/>
                  <a:pt x="6677711" y="2237558"/>
                  <a:pt x="6677711" y="2201844"/>
                </a:cubicBezTo>
                <a:cubicBezTo>
                  <a:pt x="6677711" y="2166130"/>
                  <a:pt x="6706663" y="2137178"/>
                  <a:pt x="6742377" y="2137178"/>
                </a:cubicBezTo>
                <a:close/>
                <a:moveTo>
                  <a:pt x="6429231" y="2137178"/>
                </a:moveTo>
                <a:cubicBezTo>
                  <a:pt x="6464945" y="2137178"/>
                  <a:pt x="6493897" y="2166130"/>
                  <a:pt x="6493897" y="2201844"/>
                </a:cubicBezTo>
                <a:cubicBezTo>
                  <a:pt x="6493897" y="2237558"/>
                  <a:pt x="6464945" y="2266510"/>
                  <a:pt x="6429231" y="2266510"/>
                </a:cubicBezTo>
                <a:cubicBezTo>
                  <a:pt x="6393517" y="2266510"/>
                  <a:pt x="6364565" y="2237558"/>
                  <a:pt x="6364565" y="2201844"/>
                </a:cubicBezTo>
                <a:cubicBezTo>
                  <a:pt x="6364565" y="2166130"/>
                  <a:pt x="6393517" y="2137178"/>
                  <a:pt x="6429231" y="2137178"/>
                </a:cubicBezTo>
                <a:close/>
                <a:moveTo>
                  <a:pt x="6276571" y="2137178"/>
                </a:moveTo>
                <a:cubicBezTo>
                  <a:pt x="6312285" y="2137178"/>
                  <a:pt x="6341237" y="2166130"/>
                  <a:pt x="6341237" y="2201844"/>
                </a:cubicBezTo>
                <a:cubicBezTo>
                  <a:pt x="6341237" y="2237558"/>
                  <a:pt x="6312285" y="2266510"/>
                  <a:pt x="6276571" y="2266510"/>
                </a:cubicBezTo>
                <a:cubicBezTo>
                  <a:pt x="6240857" y="2266510"/>
                  <a:pt x="6211905" y="2237558"/>
                  <a:pt x="6211905" y="2201844"/>
                </a:cubicBezTo>
                <a:cubicBezTo>
                  <a:pt x="6211905" y="2166130"/>
                  <a:pt x="6240857" y="2137178"/>
                  <a:pt x="6276571" y="2137178"/>
                </a:cubicBezTo>
                <a:close/>
                <a:moveTo>
                  <a:pt x="6119999" y="2137178"/>
                </a:moveTo>
                <a:cubicBezTo>
                  <a:pt x="6155713" y="2137178"/>
                  <a:pt x="6184665" y="2166130"/>
                  <a:pt x="6184665" y="2201844"/>
                </a:cubicBezTo>
                <a:cubicBezTo>
                  <a:pt x="6184665" y="2237558"/>
                  <a:pt x="6155713" y="2266510"/>
                  <a:pt x="6119999" y="2266510"/>
                </a:cubicBezTo>
                <a:cubicBezTo>
                  <a:pt x="6084285" y="2266510"/>
                  <a:pt x="6055333" y="2237558"/>
                  <a:pt x="6055333" y="2201844"/>
                </a:cubicBezTo>
                <a:cubicBezTo>
                  <a:pt x="6055333" y="2166130"/>
                  <a:pt x="6084285" y="2137178"/>
                  <a:pt x="6119999" y="2137178"/>
                </a:cubicBezTo>
                <a:close/>
                <a:moveTo>
                  <a:pt x="5967339" y="2137178"/>
                </a:moveTo>
                <a:cubicBezTo>
                  <a:pt x="6003053" y="2137178"/>
                  <a:pt x="6032005" y="2166130"/>
                  <a:pt x="6032005" y="2201844"/>
                </a:cubicBezTo>
                <a:cubicBezTo>
                  <a:pt x="6032005" y="2237558"/>
                  <a:pt x="6003053" y="2266510"/>
                  <a:pt x="5967339" y="2266510"/>
                </a:cubicBezTo>
                <a:cubicBezTo>
                  <a:pt x="5931625" y="2266510"/>
                  <a:pt x="5902673" y="2237558"/>
                  <a:pt x="5902673" y="2201844"/>
                </a:cubicBezTo>
                <a:cubicBezTo>
                  <a:pt x="5902673" y="2166130"/>
                  <a:pt x="5931625" y="2137178"/>
                  <a:pt x="5967339" y="2137178"/>
                </a:cubicBezTo>
                <a:close/>
                <a:moveTo>
                  <a:pt x="5810794" y="2137178"/>
                </a:moveTo>
                <a:cubicBezTo>
                  <a:pt x="5846480" y="2137178"/>
                  <a:pt x="5875432" y="2166130"/>
                  <a:pt x="5875432" y="2201844"/>
                </a:cubicBezTo>
                <a:cubicBezTo>
                  <a:pt x="5875432" y="2237558"/>
                  <a:pt x="5846480" y="2266510"/>
                  <a:pt x="5810794" y="2266510"/>
                </a:cubicBezTo>
                <a:cubicBezTo>
                  <a:pt x="5775072" y="2266510"/>
                  <a:pt x="5746114" y="2237558"/>
                  <a:pt x="5746114" y="2201844"/>
                </a:cubicBezTo>
                <a:cubicBezTo>
                  <a:pt x="5746114" y="2166130"/>
                  <a:pt x="5775072" y="2137178"/>
                  <a:pt x="5810794" y="2137178"/>
                </a:cubicBezTo>
                <a:close/>
                <a:moveTo>
                  <a:pt x="5658108" y="2137178"/>
                </a:moveTo>
                <a:cubicBezTo>
                  <a:pt x="5693823" y="2137178"/>
                  <a:pt x="5722781" y="2166130"/>
                  <a:pt x="5722781" y="2201844"/>
                </a:cubicBezTo>
                <a:cubicBezTo>
                  <a:pt x="5722781" y="2237558"/>
                  <a:pt x="5693823" y="2266510"/>
                  <a:pt x="5658108" y="2266510"/>
                </a:cubicBezTo>
                <a:cubicBezTo>
                  <a:pt x="5622396" y="2266510"/>
                  <a:pt x="5593441" y="2237558"/>
                  <a:pt x="5593441" y="2201844"/>
                </a:cubicBezTo>
                <a:cubicBezTo>
                  <a:pt x="5593441" y="2166130"/>
                  <a:pt x="5622396" y="2137178"/>
                  <a:pt x="5658108" y="2137178"/>
                </a:cubicBezTo>
                <a:close/>
                <a:moveTo>
                  <a:pt x="5501540" y="2137178"/>
                </a:moveTo>
                <a:cubicBezTo>
                  <a:pt x="5537254" y="2137178"/>
                  <a:pt x="5566204" y="2166130"/>
                  <a:pt x="5566204" y="2201844"/>
                </a:cubicBezTo>
                <a:cubicBezTo>
                  <a:pt x="5566204" y="2237558"/>
                  <a:pt x="5537254" y="2266510"/>
                  <a:pt x="5501540" y="2266510"/>
                </a:cubicBezTo>
                <a:cubicBezTo>
                  <a:pt x="5465826" y="2266510"/>
                  <a:pt x="5436883" y="2237558"/>
                  <a:pt x="5436883" y="2201844"/>
                </a:cubicBezTo>
                <a:cubicBezTo>
                  <a:pt x="5436883" y="2166130"/>
                  <a:pt x="5465826" y="2137178"/>
                  <a:pt x="5501540" y="2137178"/>
                </a:cubicBezTo>
                <a:close/>
                <a:moveTo>
                  <a:pt x="3321359" y="2137178"/>
                </a:moveTo>
                <a:cubicBezTo>
                  <a:pt x="3357071" y="2137178"/>
                  <a:pt x="3386011" y="2166130"/>
                  <a:pt x="3386011" y="2201844"/>
                </a:cubicBezTo>
                <a:cubicBezTo>
                  <a:pt x="3386011" y="2237558"/>
                  <a:pt x="3357071" y="2266510"/>
                  <a:pt x="3321359" y="2266510"/>
                </a:cubicBezTo>
                <a:cubicBezTo>
                  <a:pt x="3285638" y="2266510"/>
                  <a:pt x="3256695" y="2237558"/>
                  <a:pt x="3256695" y="2201844"/>
                </a:cubicBezTo>
                <a:cubicBezTo>
                  <a:pt x="3256695" y="2166130"/>
                  <a:pt x="3285638" y="2137178"/>
                  <a:pt x="3321359" y="2137178"/>
                </a:cubicBezTo>
                <a:close/>
                <a:moveTo>
                  <a:pt x="3172606" y="2137178"/>
                </a:moveTo>
                <a:cubicBezTo>
                  <a:pt x="3208327" y="2137178"/>
                  <a:pt x="3237278" y="2166130"/>
                  <a:pt x="3237278" y="2201844"/>
                </a:cubicBezTo>
                <a:cubicBezTo>
                  <a:pt x="3237278" y="2237558"/>
                  <a:pt x="3208327" y="2266510"/>
                  <a:pt x="3172606" y="2266510"/>
                </a:cubicBezTo>
                <a:cubicBezTo>
                  <a:pt x="3136884" y="2266510"/>
                  <a:pt x="3107925" y="2237558"/>
                  <a:pt x="3107925" y="2201844"/>
                </a:cubicBezTo>
                <a:cubicBezTo>
                  <a:pt x="3107925" y="2166130"/>
                  <a:pt x="3136884" y="2137178"/>
                  <a:pt x="3172606" y="2137178"/>
                </a:cubicBezTo>
                <a:close/>
                <a:moveTo>
                  <a:pt x="3012096" y="2137178"/>
                </a:moveTo>
                <a:cubicBezTo>
                  <a:pt x="3047807" y="2137178"/>
                  <a:pt x="3076765" y="2166130"/>
                  <a:pt x="3076765" y="2201844"/>
                </a:cubicBezTo>
                <a:cubicBezTo>
                  <a:pt x="3076765" y="2237558"/>
                  <a:pt x="3047807" y="2266510"/>
                  <a:pt x="3012096" y="2266510"/>
                </a:cubicBezTo>
                <a:cubicBezTo>
                  <a:pt x="2976386" y="2266510"/>
                  <a:pt x="2947438" y="2237558"/>
                  <a:pt x="2947438" y="2201844"/>
                </a:cubicBezTo>
                <a:cubicBezTo>
                  <a:pt x="2947438" y="2166130"/>
                  <a:pt x="2976386" y="2137178"/>
                  <a:pt x="3012096" y="2137178"/>
                </a:cubicBezTo>
                <a:close/>
                <a:moveTo>
                  <a:pt x="2855539" y="2137178"/>
                </a:moveTo>
                <a:cubicBezTo>
                  <a:pt x="2891249" y="2137178"/>
                  <a:pt x="2920198" y="2166130"/>
                  <a:pt x="2920198" y="2201844"/>
                </a:cubicBezTo>
                <a:cubicBezTo>
                  <a:pt x="2920198" y="2237558"/>
                  <a:pt x="2891249" y="2266510"/>
                  <a:pt x="2855539" y="2266510"/>
                </a:cubicBezTo>
                <a:cubicBezTo>
                  <a:pt x="2819829" y="2266510"/>
                  <a:pt x="2790880" y="2237558"/>
                  <a:pt x="2790880" y="2201844"/>
                </a:cubicBezTo>
                <a:cubicBezTo>
                  <a:pt x="2790880" y="2166130"/>
                  <a:pt x="2819829" y="2137178"/>
                  <a:pt x="2855539" y="2137178"/>
                </a:cubicBezTo>
                <a:close/>
                <a:moveTo>
                  <a:pt x="2698983" y="2137178"/>
                </a:moveTo>
                <a:cubicBezTo>
                  <a:pt x="2734694" y="2137178"/>
                  <a:pt x="2763642" y="2166130"/>
                  <a:pt x="2763642" y="2201844"/>
                </a:cubicBezTo>
                <a:cubicBezTo>
                  <a:pt x="2763642" y="2237558"/>
                  <a:pt x="2734694" y="2266510"/>
                  <a:pt x="2698983" y="2266510"/>
                </a:cubicBezTo>
                <a:cubicBezTo>
                  <a:pt x="2663274" y="2266510"/>
                  <a:pt x="2634325" y="2237558"/>
                  <a:pt x="2634325" y="2201844"/>
                </a:cubicBezTo>
                <a:cubicBezTo>
                  <a:pt x="2634325" y="2166130"/>
                  <a:pt x="2663274" y="2137178"/>
                  <a:pt x="2698983" y="2137178"/>
                </a:cubicBezTo>
                <a:close/>
                <a:moveTo>
                  <a:pt x="2546341" y="2137178"/>
                </a:moveTo>
                <a:cubicBezTo>
                  <a:pt x="2582052" y="2137178"/>
                  <a:pt x="2611002" y="2166130"/>
                  <a:pt x="2611002" y="2201844"/>
                </a:cubicBezTo>
                <a:cubicBezTo>
                  <a:pt x="2611002" y="2237558"/>
                  <a:pt x="2582052" y="2266510"/>
                  <a:pt x="2546341" y="2266510"/>
                </a:cubicBezTo>
                <a:cubicBezTo>
                  <a:pt x="2510621" y="2266510"/>
                  <a:pt x="2481681" y="2237558"/>
                  <a:pt x="2481681" y="2201844"/>
                </a:cubicBezTo>
                <a:cubicBezTo>
                  <a:pt x="2481681" y="2166130"/>
                  <a:pt x="2510621" y="2137178"/>
                  <a:pt x="2546341" y="2137178"/>
                </a:cubicBezTo>
                <a:close/>
                <a:moveTo>
                  <a:pt x="2389761" y="2137178"/>
                </a:moveTo>
                <a:cubicBezTo>
                  <a:pt x="2425494" y="2137178"/>
                  <a:pt x="2454444" y="2166130"/>
                  <a:pt x="2454444" y="2201844"/>
                </a:cubicBezTo>
                <a:cubicBezTo>
                  <a:pt x="2454444" y="2237558"/>
                  <a:pt x="2425494" y="2266510"/>
                  <a:pt x="2389761" y="2266510"/>
                </a:cubicBezTo>
                <a:cubicBezTo>
                  <a:pt x="2354065" y="2266510"/>
                  <a:pt x="2325107" y="2237558"/>
                  <a:pt x="2325107" y="2201844"/>
                </a:cubicBezTo>
                <a:cubicBezTo>
                  <a:pt x="2325107" y="2166130"/>
                  <a:pt x="2354065" y="2137178"/>
                  <a:pt x="2389761" y="2137178"/>
                </a:cubicBezTo>
                <a:close/>
                <a:moveTo>
                  <a:pt x="2237094" y="2137178"/>
                </a:moveTo>
                <a:cubicBezTo>
                  <a:pt x="2272816" y="2137178"/>
                  <a:pt x="2301774" y="2166130"/>
                  <a:pt x="2301774" y="2201844"/>
                </a:cubicBezTo>
                <a:cubicBezTo>
                  <a:pt x="2301774" y="2237558"/>
                  <a:pt x="2272816" y="2266510"/>
                  <a:pt x="2237094" y="2266510"/>
                </a:cubicBezTo>
                <a:cubicBezTo>
                  <a:pt x="2201372" y="2266510"/>
                  <a:pt x="2172414" y="2237558"/>
                  <a:pt x="2172414" y="2201844"/>
                </a:cubicBezTo>
                <a:cubicBezTo>
                  <a:pt x="2172414" y="2166130"/>
                  <a:pt x="2201372" y="2137178"/>
                  <a:pt x="2237094" y="2137178"/>
                </a:cubicBezTo>
                <a:close/>
                <a:moveTo>
                  <a:pt x="2084416" y="2137178"/>
                </a:moveTo>
                <a:cubicBezTo>
                  <a:pt x="2120132" y="2137178"/>
                  <a:pt x="2149082" y="2166130"/>
                  <a:pt x="2149082" y="2201844"/>
                </a:cubicBezTo>
                <a:cubicBezTo>
                  <a:pt x="2149082" y="2237558"/>
                  <a:pt x="2120132" y="2266510"/>
                  <a:pt x="2084416" y="2266510"/>
                </a:cubicBezTo>
                <a:cubicBezTo>
                  <a:pt x="2048693" y="2266510"/>
                  <a:pt x="2019767" y="2237558"/>
                  <a:pt x="2019767" y="2201844"/>
                </a:cubicBezTo>
                <a:cubicBezTo>
                  <a:pt x="2019767" y="2166130"/>
                  <a:pt x="2048693" y="2137178"/>
                  <a:pt x="2084416" y="2137178"/>
                </a:cubicBezTo>
                <a:close/>
                <a:moveTo>
                  <a:pt x="1927830" y="2137178"/>
                </a:moveTo>
                <a:cubicBezTo>
                  <a:pt x="1963544" y="2137178"/>
                  <a:pt x="1992519" y="2166130"/>
                  <a:pt x="1992519" y="2201844"/>
                </a:cubicBezTo>
                <a:cubicBezTo>
                  <a:pt x="1992519" y="2237558"/>
                  <a:pt x="1963544" y="2266510"/>
                  <a:pt x="1927830" y="2266510"/>
                </a:cubicBezTo>
                <a:cubicBezTo>
                  <a:pt x="1892146" y="2266510"/>
                  <a:pt x="1863193" y="2237558"/>
                  <a:pt x="1863193" y="2201844"/>
                </a:cubicBezTo>
                <a:cubicBezTo>
                  <a:pt x="1863193" y="2166130"/>
                  <a:pt x="1892146" y="2137178"/>
                  <a:pt x="1927830" y="2137178"/>
                </a:cubicBezTo>
                <a:close/>
                <a:moveTo>
                  <a:pt x="1775186" y="2137178"/>
                </a:moveTo>
                <a:cubicBezTo>
                  <a:pt x="1810892" y="2137178"/>
                  <a:pt x="1839865" y="2166130"/>
                  <a:pt x="1839865" y="2201844"/>
                </a:cubicBezTo>
                <a:cubicBezTo>
                  <a:pt x="1839865" y="2237558"/>
                  <a:pt x="1810892" y="2266510"/>
                  <a:pt x="1775186" y="2266510"/>
                </a:cubicBezTo>
                <a:cubicBezTo>
                  <a:pt x="1739466" y="2266510"/>
                  <a:pt x="1710516" y="2237558"/>
                  <a:pt x="1710516" y="2201844"/>
                </a:cubicBezTo>
                <a:cubicBezTo>
                  <a:pt x="1710516" y="2166130"/>
                  <a:pt x="1739466" y="2137178"/>
                  <a:pt x="1775186" y="2137178"/>
                </a:cubicBezTo>
                <a:close/>
                <a:moveTo>
                  <a:pt x="1618605" y="2137178"/>
                </a:moveTo>
                <a:cubicBezTo>
                  <a:pt x="1654322" y="2137178"/>
                  <a:pt x="1683274" y="2166130"/>
                  <a:pt x="1683274" y="2201844"/>
                </a:cubicBezTo>
                <a:cubicBezTo>
                  <a:pt x="1683274" y="2237558"/>
                  <a:pt x="1654322" y="2266510"/>
                  <a:pt x="1618605" y="2266510"/>
                </a:cubicBezTo>
                <a:cubicBezTo>
                  <a:pt x="1582893" y="2266510"/>
                  <a:pt x="1553941" y="2237558"/>
                  <a:pt x="1553941" y="2201844"/>
                </a:cubicBezTo>
                <a:cubicBezTo>
                  <a:pt x="1553941" y="2166130"/>
                  <a:pt x="1582893" y="2137178"/>
                  <a:pt x="1618605" y="2137178"/>
                </a:cubicBezTo>
                <a:close/>
                <a:moveTo>
                  <a:pt x="1465947" y="2137178"/>
                </a:moveTo>
                <a:cubicBezTo>
                  <a:pt x="1501661" y="2137178"/>
                  <a:pt x="1530613" y="2166130"/>
                  <a:pt x="1530613" y="2201844"/>
                </a:cubicBezTo>
                <a:cubicBezTo>
                  <a:pt x="1530613" y="2237558"/>
                  <a:pt x="1501661" y="2266510"/>
                  <a:pt x="1465947" y="2266510"/>
                </a:cubicBezTo>
                <a:cubicBezTo>
                  <a:pt x="1430233" y="2266510"/>
                  <a:pt x="1401283" y="2237558"/>
                  <a:pt x="1401283" y="2201844"/>
                </a:cubicBezTo>
                <a:cubicBezTo>
                  <a:pt x="1401283" y="2166130"/>
                  <a:pt x="1430233" y="2137178"/>
                  <a:pt x="1465947" y="2137178"/>
                </a:cubicBezTo>
                <a:close/>
                <a:moveTo>
                  <a:pt x="5348894" y="2137174"/>
                </a:moveTo>
                <a:cubicBezTo>
                  <a:pt x="5384609" y="2137174"/>
                  <a:pt x="5413562" y="2166127"/>
                  <a:pt x="5413562" y="2201840"/>
                </a:cubicBezTo>
                <a:cubicBezTo>
                  <a:pt x="5413562" y="2237555"/>
                  <a:pt x="5384609" y="2266507"/>
                  <a:pt x="5348894" y="2266507"/>
                </a:cubicBezTo>
                <a:cubicBezTo>
                  <a:pt x="5313199" y="2266507"/>
                  <a:pt x="5284237" y="2237555"/>
                  <a:pt x="5284237" y="2201840"/>
                </a:cubicBezTo>
                <a:cubicBezTo>
                  <a:pt x="5284237" y="2166127"/>
                  <a:pt x="5313199" y="2137174"/>
                  <a:pt x="5348894" y="2137174"/>
                </a:cubicBezTo>
                <a:close/>
                <a:moveTo>
                  <a:pt x="5192302" y="2137174"/>
                </a:moveTo>
                <a:cubicBezTo>
                  <a:pt x="5228016" y="2137174"/>
                  <a:pt x="5256968" y="2166126"/>
                  <a:pt x="5256968" y="2201840"/>
                </a:cubicBezTo>
                <a:cubicBezTo>
                  <a:pt x="5256968" y="2237554"/>
                  <a:pt x="5228016" y="2266506"/>
                  <a:pt x="5192302" y="2266506"/>
                </a:cubicBezTo>
                <a:cubicBezTo>
                  <a:pt x="5156588" y="2266506"/>
                  <a:pt x="5127636" y="2237554"/>
                  <a:pt x="5127636" y="2201840"/>
                </a:cubicBezTo>
                <a:cubicBezTo>
                  <a:pt x="5127636" y="2166126"/>
                  <a:pt x="5156588" y="2137174"/>
                  <a:pt x="5192302" y="2137174"/>
                </a:cubicBezTo>
                <a:close/>
                <a:moveTo>
                  <a:pt x="10312248" y="2000175"/>
                </a:moveTo>
                <a:cubicBezTo>
                  <a:pt x="10347962" y="2000175"/>
                  <a:pt x="10376914" y="2029127"/>
                  <a:pt x="10376914" y="2064841"/>
                </a:cubicBezTo>
                <a:cubicBezTo>
                  <a:pt x="10376914" y="2100555"/>
                  <a:pt x="10347962" y="2129508"/>
                  <a:pt x="10312248" y="2129508"/>
                </a:cubicBezTo>
                <a:cubicBezTo>
                  <a:pt x="10276534" y="2129508"/>
                  <a:pt x="10247582" y="2100555"/>
                  <a:pt x="10247582" y="2064841"/>
                </a:cubicBezTo>
                <a:cubicBezTo>
                  <a:pt x="10247582" y="2029127"/>
                  <a:pt x="10276534" y="2000175"/>
                  <a:pt x="10312248" y="2000175"/>
                </a:cubicBezTo>
                <a:close/>
                <a:moveTo>
                  <a:pt x="10159588" y="2000175"/>
                </a:moveTo>
                <a:cubicBezTo>
                  <a:pt x="10195302" y="2000175"/>
                  <a:pt x="10224254" y="2029127"/>
                  <a:pt x="10224254" y="2064841"/>
                </a:cubicBezTo>
                <a:cubicBezTo>
                  <a:pt x="10224254" y="2100555"/>
                  <a:pt x="10195302" y="2129508"/>
                  <a:pt x="10159588" y="2129508"/>
                </a:cubicBezTo>
                <a:cubicBezTo>
                  <a:pt x="10123874" y="2129508"/>
                  <a:pt x="10094922" y="2100555"/>
                  <a:pt x="10094922" y="2064841"/>
                </a:cubicBezTo>
                <a:cubicBezTo>
                  <a:pt x="10094922" y="2029127"/>
                  <a:pt x="10123874" y="2000175"/>
                  <a:pt x="10159588" y="2000175"/>
                </a:cubicBezTo>
                <a:close/>
                <a:moveTo>
                  <a:pt x="10003016" y="2000175"/>
                </a:moveTo>
                <a:cubicBezTo>
                  <a:pt x="10038730" y="2000175"/>
                  <a:pt x="10067682" y="2029127"/>
                  <a:pt x="10067682" y="2064841"/>
                </a:cubicBezTo>
                <a:cubicBezTo>
                  <a:pt x="10067682" y="2100555"/>
                  <a:pt x="10038730" y="2129508"/>
                  <a:pt x="10003016" y="2129508"/>
                </a:cubicBezTo>
                <a:cubicBezTo>
                  <a:pt x="9967302" y="2129508"/>
                  <a:pt x="9938350" y="2100555"/>
                  <a:pt x="9938350" y="2064841"/>
                </a:cubicBezTo>
                <a:cubicBezTo>
                  <a:pt x="9938350" y="2029127"/>
                  <a:pt x="9967302" y="2000175"/>
                  <a:pt x="10003016" y="2000175"/>
                </a:cubicBezTo>
                <a:close/>
                <a:moveTo>
                  <a:pt x="9850358" y="2000175"/>
                </a:moveTo>
                <a:cubicBezTo>
                  <a:pt x="9886072" y="2000175"/>
                  <a:pt x="9915024" y="2029127"/>
                  <a:pt x="9915024" y="2064841"/>
                </a:cubicBezTo>
                <a:cubicBezTo>
                  <a:pt x="9915024" y="2100555"/>
                  <a:pt x="9886072" y="2129508"/>
                  <a:pt x="9850358" y="2129508"/>
                </a:cubicBezTo>
                <a:cubicBezTo>
                  <a:pt x="9814644" y="2129508"/>
                  <a:pt x="9785692" y="2100555"/>
                  <a:pt x="9785692" y="2064841"/>
                </a:cubicBezTo>
                <a:cubicBezTo>
                  <a:pt x="9785692" y="2029127"/>
                  <a:pt x="9814644" y="2000175"/>
                  <a:pt x="9850358" y="2000175"/>
                </a:cubicBezTo>
                <a:close/>
                <a:moveTo>
                  <a:pt x="9693783" y="2000175"/>
                </a:moveTo>
                <a:cubicBezTo>
                  <a:pt x="9729497" y="2000175"/>
                  <a:pt x="9758449" y="2029127"/>
                  <a:pt x="9758449" y="2064841"/>
                </a:cubicBezTo>
                <a:cubicBezTo>
                  <a:pt x="9758449" y="2100555"/>
                  <a:pt x="9729497" y="2129508"/>
                  <a:pt x="9693783" y="2129508"/>
                </a:cubicBezTo>
                <a:cubicBezTo>
                  <a:pt x="9658069" y="2129508"/>
                  <a:pt x="9629117" y="2100555"/>
                  <a:pt x="9629117" y="2064841"/>
                </a:cubicBezTo>
                <a:cubicBezTo>
                  <a:pt x="9629117" y="2029127"/>
                  <a:pt x="9658069" y="2000175"/>
                  <a:pt x="9693783" y="2000175"/>
                </a:cubicBezTo>
                <a:close/>
                <a:moveTo>
                  <a:pt x="9541123" y="2000175"/>
                </a:moveTo>
                <a:cubicBezTo>
                  <a:pt x="9576837" y="2000175"/>
                  <a:pt x="9605789" y="2029127"/>
                  <a:pt x="9605789" y="2064841"/>
                </a:cubicBezTo>
                <a:cubicBezTo>
                  <a:pt x="9605789" y="2100555"/>
                  <a:pt x="9576837" y="2129508"/>
                  <a:pt x="9541123" y="2129508"/>
                </a:cubicBezTo>
                <a:cubicBezTo>
                  <a:pt x="9505409" y="2129508"/>
                  <a:pt x="9476457" y="2100555"/>
                  <a:pt x="9476457" y="2064841"/>
                </a:cubicBezTo>
                <a:cubicBezTo>
                  <a:pt x="9476457" y="2029127"/>
                  <a:pt x="9505409" y="2000175"/>
                  <a:pt x="9541123" y="2000175"/>
                </a:cubicBezTo>
                <a:close/>
                <a:moveTo>
                  <a:pt x="9384550" y="2000175"/>
                </a:moveTo>
                <a:cubicBezTo>
                  <a:pt x="9420264" y="2000175"/>
                  <a:pt x="9449216" y="2029127"/>
                  <a:pt x="9449216" y="2064841"/>
                </a:cubicBezTo>
                <a:cubicBezTo>
                  <a:pt x="9449216" y="2100555"/>
                  <a:pt x="9420264" y="2129508"/>
                  <a:pt x="9384550" y="2129508"/>
                </a:cubicBezTo>
                <a:cubicBezTo>
                  <a:pt x="9348836" y="2129508"/>
                  <a:pt x="9319884" y="2100555"/>
                  <a:pt x="9319884" y="2064841"/>
                </a:cubicBezTo>
                <a:cubicBezTo>
                  <a:pt x="9319884" y="2029127"/>
                  <a:pt x="9348836" y="2000175"/>
                  <a:pt x="9384550" y="2000175"/>
                </a:cubicBezTo>
                <a:close/>
                <a:moveTo>
                  <a:pt x="9227977" y="2000175"/>
                </a:moveTo>
                <a:cubicBezTo>
                  <a:pt x="9263691" y="2000175"/>
                  <a:pt x="9292643" y="2029127"/>
                  <a:pt x="9292643" y="2064841"/>
                </a:cubicBezTo>
                <a:cubicBezTo>
                  <a:pt x="9292643" y="2100555"/>
                  <a:pt x="9263691" y="2129508"/>
                  <a:pt x="9227977" y="2129508"/>
                </a:cubicBezTo>
                <a:cubicBezTo>
                  <a:pt x="9192263" y="2129508"/>
                  <a:pt x="9163311" y="2100555"/>
                  <a:pt x="9163311" y="2064841"/>
                </a:cubicBezTo>
                <a:cubicBezTo>
                  <a:pt x="9163311" y="2029127"/>
                  <a:pt x="9192263" y="2000175"/>
                  <a:pt x="9227977" y="2000175"/>
                </a:cubicBezTo>
                <a:close/>
                <a:moveTo>
                  <a:pt x="9075319" y="2000175"/>
                </a:moveTo>
                <a:cubicBezTo>
                  <a:pt x="9111033" y="2000175"/>
                  <a:pt x="9139985" y="2029127"/>
                  <a:pt x="9139985" y="2064841"/>
                </a:cubicBezTo>
                <a:cubicBezTo>
                  <a:pt x="9139985" y="2100555"/>
                  <a:pt x="9111033" y="2129508"/>
                  <a:pt x="9075319" y="2129508"/>
                </a:cubicBezTo>
                <a:cubicBezTo>
                  <a:pt x="9039605" y="2129508"/>
                  <a:pt x="9010653" y="2100555"/>
                  <a:pt x="9010653" y="2064841"/>
                </a:cubicBezTo>
                <a:cubicBezTo>
                  <a:pt x="9010653" y="2029127"/>
                  <a:pt x="9039605" y="2000175"/>
                  <a:pt x="9075319" y="2000175"/>
                </a:cubicBezTo>
                <a:close/>
                <a:moveTo>
                  <a:pt x="8914831" y="2000175"/>
                </a:moveTo>
                <a:cubicBezTo>
                  <a:pt x="8950545" y="2000175"/>
                  <a:pt x="8979497" y="2029127"/>
                  <a:pt x="8979497" y="2064841"/>
                </a:cubicBezTo>
                <a:cubicBezTo>
                  <a:pt x="8979497" y="2100555"/>
                  <a:pt x="8950545" y="2129508"/>
                  <a:pt x="8914831" y="2129508"/>
                </a:cubicBezTo>
                <a:cubicBezTo>
                  <a:pt x="8879117" y="2129508"/>
                  <a:pt x="8850165" y="2100555"/>
                  <a:pt x="8850165" y="2064841"/>
                </a:cubicBezTo>
                <a:cubicBezTo>
                  <a:pt x="8850165" y="2029127"/>
                  <a:pt x="8879117" y="2000175"/>
                  <a:pt x="8914831" y="2000175"/>
                </a:cubicBezTo>
                <a:close/>
                <a:moveTo>
                  <a:pt x="8766086" y="2000175"/>
                </a:moveTo>
                <a:cubicBezTo>
                  <a:pt x="8801800" y="2000175"/>
                  <a:pt x="8830752" y="2029127"/>
                  <a:pt x="8830752" y="2064841"/>
                </a:cubicBezTo>
                <a:cubicBezTo>
                  <a:pt x="8830752" y="2100555"/>
                  <a:pt x="8801800" y="2129508"/>
                  <a:pt x="8766086" y="2129508"/>
                </a:cubicBezTo>
                <a:cubicBezTo>
                  <a:pt x="8730372" y="2129508"/>
                  <a:pt x="8701420" y="2100555"/>
                  <a:pt x="8701420" y="2064841"/>
                </a:cubicBezTo>
                <a:cubicBezTo>
                  <a:pt x="8701420" y="2029127"/>
                  <a:pt x="8730372" y="2000175"/>
                  <a:pt x="8766086" y="2000175"/>
                </a:cubicBezTo>
                <a:close/>
                <a:moveTo>
                  <a:pt x="8601685" y="2000175"/>
                </a:moveTo>
                <a:cubicBezTo>
                  <a:pt x="8637399" y="2000175"/>
                  <a:pt x="8666351" y="2029127"/>
                  <a:pt x="8666351" y="2064841"/>
                </a:cubicBezTo>
                <a:cubicBezTo>
                  <a:pt x="8666351" y="2100555"/>
                  <a:pt x="8637399" y="2129508"/>
                  <a:pt x="8601685" y="2129508"/>
                </a:cubicBezTo>
                <a:cubicBezTo>
                  <a:pt x="8565971" y="2129508"/>
                  <a:pt x="8537019" y="2100555"/>
                  <a:pt x="8537019" y="2064841"/>
                </a:cubicBezTo>
                <a:cubicBezTo>
                  <a:pt x="8537019" y="2029127"/>
                  <a:pt x="8565971" y="2000175"/>
                  <a:pt x="8601685" y="2000175"/>
                </a:cubicBezTo>
                <a:close/>
                <a:moveTo>
                  <a:pt x="8449025" y="2000175"/>
                </a:moveTo>
                <a:cubicBezTo>
                  <a:pt x="8484739" y="2000175"/>
                  <a:pt x="8513691" y="2029127"/>
                  <a:pt x="8513691" y="2064841"/>
                </a:cubicBezTo>
                <a:cubicBezTo>
                  <a:pt x="8513691" y="2100555"/>
                  <a:pt x="8484739" y="2129508"/>
                  <a:pt x="8449025" y="2129508"/>
                </a:cubicBezTo>
                <a:cubicBezTo>
                  <a:pt x="8413311" y="2129508"/>
                  <a:pt x="8384359" y="2100555"/>
                  <a:pt x="8384359" y="2064841"/>
                </a:cubicBezTo>
                <a:cubicBezTo>
                  <a:pt x="8384359" y="2029127"/>
                  <a:pt x="8413311" y="2000175"/>
                  <a:pt x="8449025" y="2000175"/>
                </a:cubicBezTo>
                <a:close/>
                <a:moveTo>
                  <a:pt x="8296368" y="2000175"/>
                </a:moveTo>
                <a:cubicBezTo>
                  <a:pt x="8332082" y="2000175"/>
                  <a:pt x="8361034" y="2029127"/>
                  <a:pt x="8361034" y="2064841"/>
                </a:cubicBezTo>
                <a:cubicBezTo>
                  <a:pt x="8361034" y="2100555"/>
                  <a:pt x="8332082" y="2129508"/>
                  <a:pt x="8296368" y="2129508"/>
                </a:cubicBezTo>
                <a:cubicBezTo>
                  <a:pt x="8260654" y="2129508"/>
                  <a:pt x="8231702" y="2100555"/>
                  <a:pt x="8231702" y="2064841"/>
                </a:cubicBezTo>
                <a:cubicBezTo>
                  <a:pt x="8231702" y="2029127"/>
                  <a:pt x="8260654" y="2000175"/>
                  <a:pt x="8296368" y="2000175"/>
                </a:cubicBezTo>
                <a:close/>
                <a:moveTo>
                  <a:pt x="8139793" y="2000175"/>
                </a:moveTo>
                <a:cubicBezTo>
                  <a:pt x="8175507" y="2000175"/>
                  <a:pt x="8204459" y="2029127"/>
                  <a:pt x="8204459" y="2064841"/>
                </a:cubicBezTo>
                <a:cubicBezTo>
                  <a:pt x="8204459" y="2100555"/>
                  <a:pt x="8175507" y="2129508"/>
                  <a:pt x="8139793" y="2129508"/>
                </a:cubicBezTo>
                <a:cubicBezTo>
                  <a:pt x="8104079" y="2129508"/>
                  <a:pt x="8075127" y="2100555"/>
                  <a:pt x="8075127" y="2064841"/>
                </a:cubicBezTo>
                <a:cubicBezTo>
                  <a:pt x="8075127" y="2029127"/>
                  <a:pt x="8104079" y="2000175"/>
                  <a:pt x="8139793" y="2000175"/>
                </a:cubicBezTo>
                <a:close/>
                <a:moveTo>
                  <a:pt x="7987133" y="2000175"/>
                </a:moveTo>
                <a:cubicBezTo>
                  <a:pt x="8022847" y="2000175"/>
                  <a:pt x="8051799" y="2029127"/>
                  <a:pt x="8051799" y="2064841"/>
                </a:cubicBezTo>
                <a:cubicBezTo>
                  <a:pt x="8051799" y="2100555"/>
                  <a:pt x="8022847" y="2129508"/>
                  <a:pt x="7987133" y="2129508"/>
                </a:cubicBezTo>
                <a:cubicBezTo>
                  <a:pt x="7951419" y="2129508"/>
                  <a:pt x="7922467" y="2100555"/>
                  <a:pt x="7922467" y="2064841"/>
                </a:cubicBezTo>
                <a:cubicBezTo>
                  <a:pt x="7922467" y="2029127"/>
                  <a:pt x="7951419" y="2000175"/>
                  <a:pt x="7987133" y="2000175"/>
                </a:cubicBezTo>
                <a:close/>
                <a:moveTo>
                  <a:pt x="7830562" y="2000175"/>
                </a:moveTo>
                <a:cubicBezTo>
                  <a:pt x="7866276" y="2000175"/>
                  <a:pt x="7895228" y="2029127"/>
                  <a:pt x="7895228" y="2064841"/>
                </a:cubicBezTo>
                <a:cubicBezTo>
                  <a:pt x="7895228" y="2100555"/>
                  <a:pt x="7866276" y="2129508"/>
                  <a:pt x="7830562" y="2129508"/>
                </a:cubicBezTo>
                <a:cubicBezTo>
                  <a:pt x="7794848" y="2129508"/>
                  <a:pt x="7765896" y="2100555"/>
                  <a:pt x="7765896" y="2064841"/>
                </a:cubicBezTo>
                <a:cubicBezTo>
                  <a:pt x="7765896" y="2029127"/>
                  <a:pt x="7794848" y="2000175"/>
                  <a:pt x="7830562" y="2000175"/>
                </a:cubicBezTo>
                <a:close/>
                <a:moveTo>
                  <a:pt x="7677904" y="2000175"/>
                </a:moveTo>
                <a:cubicBezTo>
                  <a:pt x="7713618" y="2000175"/>
                  <a:pt x="7742570" y="2029127"/>
                  <a:pt x="7742570" y="2064841"/>
                </a:cubicBezTo>
                <a:cubicBezTo>
                  <a:pt x="7742570" y="2100555"/>
                  <a:pt x="7713618" y="2129508"/>
                  <a:pt x="7677904" y="2129508"/>
                </a:cubicBezTo>
                <a:cubicBezTo>
                  <a:pt x="7642190" y="2129508"/>
                  <a:pt x="7613238" y="2100555"/>
                  <a:pt x="7613238" y="2064841"/>
                </a:cubicBezTo>
                <a:cubicBezTo>
                  <a:pt x="7613238" y="2029127"/>
                  <a:pt x="7642190" y="2000175"/>
                  <a:pt x="7677904" y="2000175"/>
                </a:cubicBezTo>
                <a:close/>
                <a:moveTo>
                  <a:pt x="7521331" y="2000175"/>
                </a:moveTo>
                <a:cubicBezTo>
                  <a:pt x="7557045" y="2000175"/>
                  <a:pt x="7585997" y="2029127"/>
                  <a:pt x="7585997" y="2064841"/>
                </a:cubicBezTo>
                <a:cubicBezTo>
                  <a:pt x="7585997" y="2100555"/>
                  <a:pt x="7557045" y="2129508"/>
                  <a:pt x="7521331" y="2129508"/>
                </a:cubicBezTo>
                <a:cubicBezTo>
                  <a:pt x="7485617" y="2129508"/>
                  <a:pt x="7456665" y="2100555"/>
                  <a:pt x="7456665" y="2064841"/>
                </a:cubicBezTo>
                <a:cubicBezTo>
                  <a:pt x="7456665" y="2029127"/>
                  <a:pt x="7485617" y="2000175"/>
                  <a:pt x="7521331" y="2000175"/>
                </a:cubicBezTo>
                <a:close/>
                <a:moveTo>
                  <a:pt x="7368669" y="2000175"/>
                </a:moveTo>
                <a:cubicBezTo>
                  <a:pt x="7404383" y="2000175"/>
                  <a:pt x="7433335" y="2029127"/>
                  <a:pt x="7433335" y="2064841"/>
                </a:cubicBezTo>
                <a:cubicBezTo>
                  <a:pt x="7433335" y="2100555"/>
                  <a:pt x="7404383" y="2129508"/>
                  <a:pt x="7368669" y="2129508"/>
                </a:cubicBezTo>
                <a:cubicBezTo>
                  <a:pt x="7332955" y="2129508"/>
                  <a:pt x="7304003" y="2100555"/>
                  <a:pt x="7304003" y="2064841"/>
                </a:cubicBezTo>
                <a:cubicBezTo>
                  <a:pt x="7304003" y="2029127"/>
                  <a:pt x="7332955" y="2000175"/>
                  <a:pt x="7368669" y="2000175"/>
                </a:cubicBezTo>
                <a:close/>
                <a:moveTo>
                  <a:pt x="7212096" y="2000175"/>
                </a:moveTo>
                <a:cubicBezTo>
                  <a:pt x="7247810" y="2000175"/>
                  <a:pt x="7276762" y="2029127"/>
                  <a:pt x="7276762" y="2064841"/>
                </a:cubicBezTo>
                <a:cubicBezTo>
                  <a:pt x="7276762" y="2100555"/>
                  <a:pt x="7247810" y="2129508"/>
                  <a:pt x="7212096" y="2129508"/>
                </a:cubicBezTo>
                <a:cubicBezTo>
                  <a:pt x="7176382" y="2129508"/>
                  <a:pt x="7147430" y="2100555"/>
                  <a:pt x="7147430" y="2064841"/>
                </a:cubicBezTo>
                <a:cubicBezTo>
                  <a:pt x="7147430" y="2029127"/>
                  <a:pt x="7176382" y="2000175"/>
                  <a:pt x="7212096" y="2000175"/>
                </a:cubicBezTo>
                <a:close/>
                <a:moveTo>
                  <a:pt x="7055523" y="2000175"/>
                </a:moveTo>
                <a:cubicBezTo>
                  <a:pt x="7091237" y="2000175"/>
                  <a:pt x="7120189" y="2029127"/>
                  <a:pt x="7120189" y="2064841"/>
                </a:cubicBezTo>
                <a:cubicBezTo>
                  <a:pt x="7120189" y="2100555"/>
                  <a:pt x="7091237" y="2129508"/>
                  <a:pt x="7055523" y="2129508"/>
                </a:cubicBezTo>
                <a:cubicBezTo>
                  <a:pt x="7019809" y="2129508"/>
                  <a:pt x="6990857" y="2100555"/>
                  <a:pt x="6990857" y="2064841"/>
                </a:cubicBezTo>
                <a:cubicBezTo>
                  <a:pt x="6990857" y="2029127"/>
                  <a:pt x="7019809" y="2000175"/>
                  <a:pt x="7055523" y="2000175"/>
                </a:cubicBezTo>
                <a:close/>
                <a:moveTo>
                  <a:pt x="6895037" y="2000175"/>
                </a:moveTo>
                <a:cubicBezTo>
                  <a:pt x="6930751" y="2000175"/>
                  <a:pt x="6959703" y="2029127"/>
                  <a:pt x="6959703" y="2064841"/>
                </a:cubicBezTo>
                <a:cubicBezTo>
                  <a:pt x="6959703" y="2100555"/>
                  <a:pt x="6930751" y="2129508"/>
                  <a:pt x="6895037" y="2129508"/>
                </a:cubicBezTo>
                <a:cubicBezTo>
                  <a:pt x="6859323" y="2129508"/>
                  <a:pt x="6830371" y="2100555"/>
                  <a:pt x="6830371" y="2064841"/>
                </a:cubicBezTo>
                <a:cubicBezTo>
                  <a:pt x="6830371" y="2029127"/>
                  <a:pt x="6859323" y="2000175"/>
                  <a:pt x="6895037" y="2000175"/>
                </a:cubicBezTo>
                <a:close/>
                <a:moveTo>
                  <a:pt x="6742377" y="2000175"/>
                </a:moveTo>
                <a:cubicBezTo>
                  <a:pt x="6778091" y="2000175"/>
                  <a:pt x="6807043" y="2029127"/>
                  <a:pt x="6807043" y="2064841"/>
                </a:cubicBezTo>
                <a:cubicBezTo>
                  <a:pt x="6807043" y="2100555"/>
                  <a:pt x="6778091" y="2129508"/>
                  <a:pt x="6742377" y="2129508"/>
                </a:cubicBezTo>
                <a:cubicBezTo>
                  <a:pt x="6706663" y="2129508"/>
                  <a:pt x="6677711" y="2100555"/>
                  <a:pt x="6677711" y="2064841"/>
                </a:cubicBezTo>
                <a:cubicBezTo>
                  <a:pt x="6677711" y="2029127"/>
                  <a:pt x="6706663" y="2000175"/>
                  <a:pt x="6742377" y="2000175"/>
                </a:cubicBezTo>
                <a:close/>
                <a:moveTo>
                  <a:pt x="6585804" y="2000175"/>
                </a:moveTo>
                <a:cubicBezTo>
                  <a:pt x="6621518" y="2000175"/>
                  <a:pt x="6650470" y="2029127"/>
                  <a:pt x="6650470" y="2064841"/>
                </a:cubicBezTo>
                <a:cubicBezTo>
                  <a:pt x="6650470" y="2100555"/>
                  <a:pt x="6621518" y="2129508"/>
                  <a:pt x="6585804" y="2129508"/>
                </a:cubicBezTo>
                <a:cubicBezTo>
                  <a:pt x="6550090" y="2129508"/>
                  <a:pt x="6521138" y="2100555"/>
                  <a:pt x="6521138" y="2064841"/>
                </a:cubicBezTo>
                <a:cubicBezTo>
                  <a:pt x="6521138" y="2029127"/>
                  <a:pt x="6550090" y="2000175"/>
                  <a:pt x="6585804" y="2000175"/>
                </a:cubicBezTo>
                <a:close/>
                <a:moveTo>
                  <a:pt x="6429231" y="2000175"/>
                </a:moveTo>
                <a:cubicBezTo>
                  <a:pt x="6464945" y="2000175"/>
                  <a:pt x="6493897" y="2029127"/>
                  <a:pt x="6493897" y="2064841"/>
                </a:cubicBezTo>
                <a:cubicBezTo>
                  <a:pt x="6493897" y="2100555"/>
                  <a:pt x="6464945" y="2129508"/>
                  <a:pt x="6429231" y="2129508"/>
                </a:cubicBezTo>
                <a:cubicBezTo>
                  <a:pt x="6393517" y="2129508"/>
                  <a:pt x="6364565" y="2100555"/>
                  <a:pt x="6364565" y="2064841"/>
                </a:cubicBezTo>
                <a:cubicBezTo>
                  <a:pt x="6364565" y="2029127"/>
                  <a:pt x="6393517" y="2000175"/>
                  <a:pt x="6429231" y="2000175"/>
                </a:cubicBezTo>
                <a:close/>
                <a:moveTo>
                  <a:pt x="6276571" y="2000175"/>
                </a:moveTo>
                <a:cubicBezTo>
                  <a:pt x="6312285" y="2000175"/>
                  <a:pt x="6341237" y="2029127"/>
                  <a:pt x="6341237" y="2064841"/>
                </a:cubicBezTo>
                <a:cubicBezTo>
                  <a:pt x="6341237" y="2100555"/>
                  <a:pt x="6312285" y="2129508"/>
                  <a:pt x="6276571" y="2129508"/>
                </a:cubicBezTo>
                <a:cubicBezTo>
                  <a:pt x="6240857" y="2129508"/>
                  <a:pt x="6211905" y="2100555"/>
                  <a:pt x="6211905" y="2064841"/>
                </a:cubicBezTo>
                <a:cubicBezTo>
                  <a:pt x="6211905" y="2029127"/>
                  <a:pt x="6240857" y="2000175"/>
                  <a:pt x="6276571" y="2000175"/>
                </a:cubicBezTo>
                <a:close/>
                <a:moveTo>
                  <a:pt x="6119999" y="2000175"/>
                </a:moveTo>
                <a:cubicBezTo>
                  <a:pt x="6155713" y="2000175"/>
                  <a:pt x="6184665" y="2029127"/>
                  <a:pt x="6184665" y="2064841"/>
                </a:cubicBezTo>
                <a:cubicBezTo>
                  <a:pt x="6184665" y="2100555"/>
                  <a:pt x="6155713" y="2129508"/>
                  <a:pt x="6119999" y="2129508"/>
                </a:cubicBezTo>
                <a:cubicBezTo>
                  <a:pt x="6084285" y="2129508"/>
                  <a:pt x="6055333" y="2100555"/>
                  <a:pt x="6055333" y="2064841"/>
                </a:cubicBezTo>
                <a:cubicBezTo>
                  <a:pt x="6055333" y="2029127"/>
                  <a:pt x="6084285" y="2000175"/>
                  <a:pt x="6119999" y="2000175"/>
                </a:cubicBezTo>
                <a:close/>
                <a:moveTo>
                  <a:pt x="5967339" y="2000175"/>
                </a:moveTo>
                <a:cubicBezTo>
                  <a:pt x="6003053" y="2000175"/>
                  <a:pt x="6032005" y="2029127"/>
                  <a:pt x="6032005" y="2064841"/>
                </a:cubicBezTo>
                <a:cubicBezTo>
                  <a:pt x="6032005" y="2100555"/>
                  <a:pt x="6003053" y="2129508"/>
                  <a:pt x="5967339" y="2129508"/>
                </a:cubicBezTo>
                <a:cubicBezTo>
                  <a:pt x="5931625" y="2129508"/>
                  <a:pt x="5902673" y="2100555"/>
                  <a:pt x="5902673" y="2064841"/>
                </a:cubicBezTo>
                <a:cubicBezTo>
                  <a:pt x="5902673" y="2029127"/>
                  <a:pt x="5931625" y="2000175"/>
                  <a:pt x="5967339" y="2000175"/>
                </a:cubicBezTo>
                <a:close/>
                <a:moveTo>
                  <a:pt x="5810796" y="2000175"/>
                </a:moveTo>
                <a:cubicBezTo>
                  <a:pt x="5846480" y="2000175"/>
                  <a:pt x="5875432" y="2029127"/>
                  <a:pt x="5875432" y="2064841"/>
                </a:cubicBezTo>
                <a:cubicBezTo>
                  <a:pt x="5875432" y="2100555"/>
                  <a:pt x="5846480" y="2129508"/>
                  <a:pt x="5810796" y="2129508"/>
                </a:cubicBezTo>
                <a:cubicBezTo>
                  <a:pt x="5775075" y="2129508"/>
                  <a:pt x="5746114" y="2100555"/>
                  <a:pt x="5746114" y="2064841"/>
                </a:cubicBezTo>
                <a:cubicBezTo>
                  <a:pt x="5746114" y="2029127"/>
                  <a:pt x="5775075" y="2000175"/>
                  <a:pt x="5810796" y="2000175"/>
                </a:cubicBezTo>
                <a:close/>
                <a:moveTo>
                  <a:pt x="5658111" y="2000175"/>
                </a:moveTo>
                <a:cubicBezTo>
                  <a:pt x="5693825" y="2000175"/>
                  <a:pt x="5722783" y="2029127"/>
                  <a:pt x="5722783" y="2064841"/>
                </a:cubicBezTo>
                <a:cubicBezTo>
                  <a:pt x="5722783" y="2100555"/>
                  <a:pt x="5693825" y="2129508"/>
                  <a:pt x="5658111" y="2129508"/>
                </a:cubicBezTo>
                <a:cubicBezTo>
                  <a:pt x="5622398" y="2129508"/>
                  <a:pt x="5593443" y="2100555"/>
                  <a:pt x="5593443" y="2064841"/>
                </a:cubicBezTo>
                <a:cubicBezTo>
                  <a:pt x="5593443" y="2029127"/>
                  <a:pt x="5622398" y="2000175"/>
                  <a:pt x="5658111" y="2000175"/>
                </a:cubicBezTo>
                <a:close/>
                <a:moveTo>
                  <a:pt x="5501543" y="2000175"/>
                </a:moveTo>
                <a:cubicBezTo>
                  <a:pt x="5537254" y="2000175"/>
                  <a:pt x="5566204" y="2029127"/>
                  <a:pt x="5566204" y="2064841"/>
                </a:cubicBezTo>
                <a:cubicBezTo>
                  <a:pt x="5566204" y="2100555"/>
                  <a:pt x="5537254" y="2129508"/>
                  <a:pt x="5501543" y="2129508"/>
                </a:cubicBezTo>
                <a:cubicBezTo>
                  <a:pt x="5465827" y="2129508"/>
                  <a:pt x="5436884" y="2100555"/>
                  <a:pt x="5436884" y="2064841"/>
                </a:cubicBezTo>
                <a:cubicBezTo>
                  <a:pt x="5436884" y="2029127"/>
                  <a:pt x="5465827" y="2000175"/>
                  <a:pt x="5501543" y="2000175"/>
                </a:cubicBezTo>
                <a:close/>
                <a:moveTo>
                  <a:pt x="3630587" y="2000175"/>
                </a:moveTo>
                <a:cubicBezTo>
                  <a:pt x="3666298" y="2000175"/>
                  <a:pt x="3695253" y="2029127"/>
                  <a:pt x="3695253" y="2064841"/>
                </a:cubicBezTo>
                <a:cubicBezTo>
                  <a:pt x="3695253" y="2100555"/>
                  <a:pt x="3666298" y="2129508"/>
                  <a:pt x="3630587" y="2129508"/>
                </a:cubicBezTo>
                <a:cubicBezTo>
                  <a:pt x="3594864" y="2129508"/>
                  <a:pt x="3565911" y="2100555"/>
                  <a:pt x="3565911" y="2064841"/>
                </a:cubicBezTo>
                <a:cubicBezTo>
                  <a:pt x="3565911" y="2029127"/>
                  <a:pt x="3594864" y="2000175"/>
                  <a:pt x="3630587" y="2000175"/>
                </a:cubicBezTo>
                <a:close/>
                <a:moveTo>
                  <a:pt x="3481836" y="2000175"/>
                </a:moveTo>
                <a:cubicBezTo>
                  <a:pt x="3517551" y="2000175"/>
                  <a:pt x="3546503" y="2029127"/>
                  <a:pt x="3546503" y="2064841"/>
                </a:cubicBezTo>
                <a:cubicBezTo>
                  <a:pt x="3546503" y="2100555"/>
                  <a:pt x="3517551" y="2129508"/>
                  <a:pt x="3481836" y="2129508"/>
                </a:cubicBezTo>
                <a:cubicBezTo>
                  <a:pt x="3446127" y="2129508"/>
                  <a:pt x="3417179" y="2100555"/>
                  <a:pt x="3417179" y="2064841"/>
                </a:cubicBezTo>
                <a:cubicBezTo>
                  <a:pt x="3417179" y="2029127"/>
                  <a:pt x="3446127" y="2000175"/>
                  <a:pt x="3481836" y="2000175"/>
                </a:cubicBezTo>
                <a:close/>
                <a:moveTo>
                  <a:pt x="3321368" y="2000175"/>
                </a:moveTo>
                <a:cubicBezTo>
                  <a:pt x="3357073" y="2000175"/>
                  <a:pt x="3386016" y="2029127"/>
                  <a:pt x="3386016" y="2064841"/>
                </a:cubicBezTo>
                <a:cubicBezTo>
                  <a:pt x="3386016" y="2100555"/>
                  <a:pt x="3357073" y="2129508"/>
                  <a:pt x="3321368" y="2129508"/>
                </a:cubicBezTo>
                <a:cubicBezTo>
                  <a:pt x="3285647" y="2129508"/>
                  <a:pt x="3256702" y="2100555"/>
                  <a:pt x="3256702" y="2064841"/>
                </a:cubicBezTo>
                <a:cubicBezTo>
                  <a:pt x="3256702" y="2029127"/>
                  <a:pt x="3285647" y="2000175"/>
                  <a:pt x="3321368" y="2000175"/>
                </a:cubicBezTo>
                <a:close/>
                <a:moveTo>
                  <a:pt x="3172613" y="2000175"/>
                </a:moveTo>
                <a:cubicBezTo>
                  <a:pt x="3208335" y="2000175"/>
                  <a:pt x="3237285" y="2029127"/>
                  <a:pt x="3237285" y="2064841"/>
                </a:cubicBezTo>
                <a:cubicBezTo>
                  <a:pt x="3237285" y="2100555"/>
                  <a:pt x="3208335" y="2129508"/>
                  <a:pt x="3172613" y="2129508"/>
                </a:cubicBezTo>
                <a:cubicBezTo>
                  <a:pt x="3136891" y="2129508"/>
                  <a:pt x="3107933" y="2100555"/>
                  <a:pt x="3107933" y="2064841"/>
                </a:cubicBezTo>
                <a:cubicBezTo>
                  <a:pt x="3107933" y="2029127"/>
                  <a:pt x="3136891" y="2000175"/>
                  <a:pt x="3172613" y="2000175"/>
                </a:cubicBezTo>
                <a:close/>
                <a:moveTo>
                  <a:pt x="3012103" y="2000175"/>
                </a:moveTo>
                <a:cubicBezTo>
                  <a:pt x="3047814" y="2000175"/>
                  <a:pt x="3076772" y="2029127"/>
                  <a:pt x="3076772" y="2064841"/>
                </a:cubicBezTo>
                <a:cubicBezTo>
                  <a:pt x="3076772" y="2100555"/>
                  <a:pt x="3047814" y="2129508"/>
                  <a:pt x="3012103" y="2129508"/>
                </a:cubicBezTo>
                <a:cubicBezTo>
                  <a:pt x="2976393" y="2129508"/>
                  <a:pt x="2947444" y="2100555"/>
                  <a:pt x="2947444" y="2064841"/>
                </a:cubicBezTo>
                <a:cubicBezTo>
                  <a:pt x="2947444" y="2029127"/>
                  <a:pt x="2976393" y="2000175"/>
                  <a:pt x="3012103" y="2000175"/>
                </a:cubicBezTo>
                <a:close/>
                <a:moveTo>
                  <a:pt x="2855546" y="2000175"/>
                </a:moveTo>
                <a:cubicBezTo>
                  <a:pt x="2891256" y="2000175"/>
                  <a:pt x="2920205" y="2029127"/>
                  <a:pt x="2920205" y="2064841"/>
                </a:cubicBezTo>
                <a:cubicBezTo>
                  <a:pt x="2920205" y="2100555"/>
                  <a:pt x="2891256" y="2129508"/>
                  <a:pt x="2855546" y="2129508"/>
                </a:cubicBezTo>
                <a:cubicBezTo>
                  <a:pt x="2819837" y="2129508"/>
                  <a:pt x="2790888" y="2100555"/>
                  <a:pt x="2790888" y="2064841"/>
                </a:cubicBezTo>
                <a:cubicBezTo>
                  <a:pt x="2790888" y="2029127"/>
                  <a:pt x="2819837" y="2000175"/>
                  <a:pt x="2855546" y="2000175"/>
                </a:cubicBezTo>
                <a:close/>
                <a:moveTo>
                  <a:pt x="2698992" y="2000175"/>
                </a:moveTo>
                <a:cubicBezTo>
                  <a:pt x="2734702" y="2000175"/>
                  <a:pt x="2763651" y="2029127"/>
                  <a:pt x="2763651" y="2064841"/>
                </a:cubicBezTo>
                <a:cubicBezTo>
                  <a:pt x="2763651" y="2100555"/>
                  <a:pt x="2734702" y="2129508"/>
                  <a:pt x="2698992" y="2129508"/>
                </a:cubicBezTo>
                <a:cubicBezTo>
                  <a:pt x="2663283" y="2129508"/>
                  <a:pt x="2634334" y="2100555"/>
                  <a:pt x="2634334" y="2064841"/>
                </a:cubicBezTo>
                <a:cubicBezTo>
                  <a:pt x="2634334" y="2029127"/>
                  <a:pt x="2663283" y="2000175"/>
                  <a:pt x="2698992" y="2000175"/>
                </a:cubicBezTo>
                <a:close/>
                <a:moveTo>
                  <a:pt x="2546352" y="2000175"/>
                </a:moveTo>
                <a:cubicBezTo>
                  <a:pt x="2582062" y="2000175"/>
                  <a:pt x="2611012" y="2029127"/>
                  <a:pt x="2611012" y="2064841"/>
                </a:cubicBezTo>
                <a:cubicBezTo>
                  <a:pt x="2611012" y="2100555"/>
                  <a:pt x="2582062" y="2129508"/>
                  <a:pt x="2546352" y="2129508"/>
                </a:cubicBezTo>
                <a:cubicBezTo>
                  <a:pt x="2510631" y="2129508"/>
                  <a:pt x="2481692" y="2100555"/>
                  <a:pt x="2481692" y="2064841"/>
                </a:cubicBezTo>
                <a:cubicBezTo>
                  <a:pt x="2481692" y="2029127"/>
                  <a:pt x="2510631" y="2000175"/>
                  <a:pt x="2546352" y="2000175"/>
                </a:cubicBezTo>
                <a:close/>
                <a:moveTo>
                  <a:pt x="2389761" y="2000175"/>
                </a:moveTo>
                <a:cubicBezTo>
                  <a:pt x="2425505" y="2000175"/>
                  <a:pt x="2454456" y="2029127"/>
                  <a:pt x="2454456" y="2064841"/>
                </a:cubicBezTo>
                <a:cubicBezTo>
                  <a:pt x="2454456" y="2100555"/>
                  <a:pt x="2425505" y="2129508"/>
                  <a:pt x="2389761" y="2129508"/>
                </a:cubicBezTo>
                <a:cubicBezTo>
                  <a:pt x="2354076" y="2129508"/>
                  <a:pt x="2325118" y="2100555"/>
                  <a:pt x="2325118" y="2064841"/>
                </a:cubicBezTo>
                <a:cubicBezTo>
                  <a:pt x="2325118" y="2029127"/>
                  <a:pt x="2354076" y="2000175"/>
                  <a:pt x="2389761" y="2000175"/>
                </a:cubicBezTo>
                <a:close/>
                <a:moveTo>
                  <a:pt x="2237104" y="2000175"/>
                </a:moveTo>
                <a:cubicBezTo>
                  <a:pt x="2272826" y="2000175"/>
                  <a:pt x="2301785" y="2029127"/>
                  <a:pt x="2301785" y="2064841"/>
                </a:cubicBezTo>
                <a:cubicBezTo>
                  <a:pt x="2301785" y="2100555"/>
                  <a:pt x="2272826" y="2129508"/>
                  <a:pt x="2237104" y="2129508"/>
                </a:cubicBezTo>
                <a:cubicBezTo>
                  <a:pt x="2201381" y="2129508"/>
                  <a:pt x="2172423" y="2100555"/>
                  <a:pt x="2172423" y="2064841"/>
                </a:cubicBezTo>
                <a:cubicBezTo>
                  <a:pt x="2172423" y="2029127"/>
                  <a:pt x="2201381" y="2000175"/>
                  <a:pt x="2237104" y="2000175"/>
                </a:cubicBezTo>
                <a:close/>
                <a:moveTo>
                  <a:pt x="2084427" y="2000175"/>
                </a:moveTo>
                <a:cubicBezTo>
                  <a:pt x="2120140" y="2000175"/>
                  <a:pt x="2149089" y="2029127"/>
                  <a:pt x="2149089" y="2064841"/>
                </a:cubicBezTo>
                <a:cubicBezTo>
                  <a:pt x="2149089" y="2100555"/>
                  <a:pt x="2120140" y="2129508"/>
                  <a:pt x="2084427" y="2129508"/>
                </a:cubicBezTo>
                <a:cubicBezTo>
                  <a:pt x="2048700" y="2129508"/>
                  <a:pt x="2019780" y="2100555"/>
                  <a:pt x="2019780" y="2064841"/>
                </a:cubicBezTo>
                <a:cubicBezTo>
                  <a:pt x="2019780" y="2029127"/>
                  <a:pt x="2048700" y="2000175"/>
                  <a:pt x="2084427" y="2000175"/>
                </a:cubicBezTo>
                <a:close/>
                <a:moveTo>
                  <a:pt x="1927843" y="2000175"/>
                </a:moveTo>
                <a:cubicBezTo>
                  <a:pt x="1963566" y="2000175"/>
                  <a:pt x="1992527" y="2029127"/>
                  <a:pt x="1992527" y="2064841"/>
                </a:cubicBezTo>
                <a:cubicBezTo>
                  <a:pt x="1992527" y="2100555"/>
                  <a:pt x="1963566" y="2129508"/>
                  <a:pt x="1927843" y="2129508"/>
                </a:cubicBezTo>
                <a:cubicBezTo>
                  <a:pt x="1892154" y="2129508"/>
                  <a:pt x="1863202" y="2100555"/>
                  <a:pt x="1863202" y="2064841"/>
                </a:cubicBezTo>
                <a:cubicBezTo>
                  <a:pt x="1863202" y="2029127"/>
                  <a:pt x="1892154" y="2000175"/>
                  <a:pt x="1927843" y="2000175"/>
                </a:cubicBezTo>
                <a:close/>
                <a:moveTo>
                  <a:pt x="1775193" y="2000175"/>
                </a:moveTo>
                <a:cubicBezTo>
                  <a:pt x="1810899" y="2000175"/>
                  <a:pt x="1839873" y="2029127"/>
                  <a:pt x="1839873" y="2064841"/>
                </a:cubicBezTo>
                <a:cubicBezTo>
                  <a:pt x="1839873" y="2100555"/>
                  <a:pt x="1810899" y="2129508"/>
                  <a:pt x="1775193" y="2129508"/>
                </a:cubicBezTo>
                <a:cubicBezTo>
                  <a:pt x="1739472" y="2129508"/>
                  <a:pt x="1710523" y="2100555"/>
                  <a:pt x="1710523" y="2064841"/>
                </a:cubicBezTo>
                <a:cubicBezTo>
                  <a:pt x="1710523" y="2029127"/>
                  <a:pt x="1739472" y="2000175"/>
                  <a:pt x="1775193" y="2000175"/>
                </a:cubicBezTo>
                <a:close/>
                <a:moveTo>
                  <a:pt x="1618612" y="2000175"/>
                </a:moveTo>
                <a:cubicBezTo>
                  <a:pt x="1654331" y="2000175"/>
                  <a:pt x="1683281" y="2029127"/>
                  <a:pt x="1683281" y="2064841"/>
                </a:cubicBezTo>
                <a:cubicBezTo>
                  <a:pt x="1683281" y="2100555"/>
                  <a:pt x="1654331" y="2129508"/>
                  <a:pt x="1618612" y="2129508"/>
                </a:cubicBezTo>
                <a:cubicBezTo>
                  <a:pt x="1582901" y="2129508"/>
                  <a:pt x="1553949" y="2100555"/>
                  <a:pt x="1553949" y="2064841"/>
                </a:cubicBezTo>
                <a:cubicBezTo>
                  <a:pt x="1553949" y="2029127"/>
                  <a:pt x="1582901" y="2000175"/>
                  <a:pt x="1618612" y="2000175"/>
                </a:cubicBezTo>
                <a:close/>
                <a:moveTo>
                  <a:pt x="1465954" y="2000175"/>
                </a:moveTo>
                <a:cubicBezTo>
                  <a:pt x="1501667" y="2000175"/>
                  <a:pt x="1530620" y="2029127"/>
                  <a:pt x="1530620" y="2064841"/>
                </a:cubicBezTo>
                <a:cubicBezTo>
                  <a:pt x="1530620" y="2100555"/>
                  <a:pt x="1501667" y="2129508"/>
                  <a:pt x="1465954" y="2129508"/>
                </a:cubicBezTo>
                <a:cubicBezTo>
                  <a:pt x="1430241" y="2129508"/>
                  <a:pt x="1401290" y="2100555"/>
                  <a:pt x="1401290" y="2064841"/>
                </a:cubicBezTo>
                <a:cubicBezTo>
                  <a:pt x="1401290" y="2029127"/>
                  <a:pt x="1430241" y="2000175"/>
                  <a:pt x="1465954" y="2000175"/>
                </a:cubicBezTo>
                <a:close/>
                <a:moveTo>
                  <a:pt x="2237112" y="1851452"/>
                </a:moveTo>
                <a:cubicBezTo>
                  <a:pt x="2272835" y="1851452"/>
                  <a:pt x="2301794" y="1880404"/>
                  <a:pt x="2301794" y="1916117"/>
                </a:cubicBezTo>
                <a:cubicBezTo>
                  <a:pt x="2301794" y="1951831"/>
                  <a:pt x="2272835" y="1980764"/>
                  <a:pt x="2237112" y="1980764"/>
                </a:cubicBezTo>
                <a:cubicBezTo>
                  <a:pt x="2201389" y="1980764"/>
                  <a:pt x="2172429" y="1951831"/>
                  <a:pt x="2172429" y="1916117"/>
                </a:cubicBezTo>
                <a:cubicBezTo>
                  <a:pt x="2172429" y="1880404"/>
                  <a:pt x="2201389" y="1851452"/>
                  <a:pt x="2237112" y="1851452"/>
                </a:cubicBezTo>
                <a:close/>
                <a:moveTo>
                  <a:pt x="2084431" y="1851452"/>
                </a:moveTo>
                <a:cubicBezTo>
                  <a:pt x="2120147" y="1851452"/>
                  <a:pt x="2149096" y="1880404"/>
                  <a:pt x="2149096" y="1916117"/>
                </a:cubicBezTo>
                <a:cubicBezTo>
                  <a:pt x="2149096" y="1951831"/>
                  <a:pt x="2120147" y="1980764"/>
                  <a:pt x="2084431" y="1980764"/>
                </a:cubicBezTo>
                <a:cubicBezTo>
                  <a:pt x="2048705" y="1980764"/>
                  <a:pt x="2019789" y="1951831"/>
                  <a:pt x="2019789" y="1916117"/>
                </a:cubicBezTo>
                <a:cubicBezTo>
                  <a:pt x="2019789" y="1880404"/>
                  <a:pt x="2048705" y="1851452"/>
                  <a:pt x="2084431" y="1851452"/>
                </a:cubicBezTo>
                <a:close/>
                <a:moveTo>
                  <a:pt x="1927843" y="1851452"/>
                </a:moveTo>
                <a:cubicBezTo>
                  <a:pt x="1963566" y="1851452"/>
                  <a:pt x="1992535" y="1880404"/>
                  <a:pt x="1992535" y="1916117"/>
                </a:cubicBezTo>
                <a:cubicBezTo>
                  <a:pt x="1992535" y="1951831"/>
                  <a:pt x="1963566" y="1980764"/>
                  <a:pt x="1927843" y="1980764"/>
                </a:cubicBezTo>
                <a:cubicBezTo>
                  <a:pt x="1892164" y="1980764"/>
                  <a:pt x="1863210" y="1951831"/>
                  <a:pt x="1863210" y="1916117"/>
                </a:cubicBezTo>
                <a:cubicBezTo>
                  <a:pt x="1863210" y="1880404"/>
                  <a:pt x="1892164" y="1851452"/>
                  <a:pt x="1927843" y="1851452"/>
                </a:cubicBezTo>
                <a:close/>
                <a:moveTo>
                  <a:pt x="1775198" y="1851452"/>
                </a:moveTo>
                <a:cubicBezTo>
                  <a:pt x="1810904" y="1851452"/>
                  <a:pt x="1839879" y="1880404"/>
                  <a:pt x="1839879" y="1916117"/>
                </a:cubicBezTo>
                <a:cubicBezTo>
                  <a:pt x="1839879" y="1951831"/>
                  <a:pt x="1810904" y="1980764"/>
                  <a:pt x="1775198" y="1980764"/>
                </a:cubicBezTo>
                <a:cubicBezTo>
                  <a:pt x="1739482" y="1980764"/>
                  <a:pt x="1710529" y="1951831"/>
                  <a:pt x="1710529" y="1916117"/>
                </a:cubicBezTo>
                <a:cubicBezTo>
                  <a:pt x="1710529" y="1880404"/>
                  <a:pt x="1739482" y="1851452"/>
                  <a:pt x="1775198" y="1851452"/>
                </a:cubicBezTo>
                <a:close/>
                <a:moveTo>
                  <a:pt x="1618616" y="1851452"/>
                </a:moveTo>
                <a:cubicBezTo>
                  <a:pt x="1654335" y="1851452"/>
                  <a:pt x="1683287" y="1880404"/>
                  <a:pt x="1683287" y="1916117"/>
                </a:cubicBezTo>
                <a:cubicBezTo>
                  <a:pt x="1683287" y="1951831"/>
                  <a:pt x="1654335" y="1980764"/>
                  <a:pt x="1618616" y="1980764"/>
                </a:cubicBezTo>
                <a:cubicBezTo>
                  <a:pt x="1582905" y="1980764"/>
                  <a:pt x="1553953" y="1951831"/>
                  <a:pt x="1553953" y="1916117"/>
                </a:cubicBezTo>
                <a:cubicBezTo>
                  <a:pt x="1553953" y="1880404"/>
                  <a:pt x="1582905" y="1851452"/>
                  <a:pt x="1618616" y="1851452"/>
                </a:cubicBezTo>
                <a:close/>
                <a:moveTo>
                  <a:pt x="1465960" y="1851450"/>
                </a:moveTo>
                <a:cubicBezTo>
                  <a:pt x="1501673" y="1851450"/>
                  <a:pt x="1530626" y="1880402"/>
                  <a:pt x="1530626" y="1916115"/>
                </a:cubicBezTo>
                <a:cubicBezTo>
                  <a:pt x="1530626" y="1951830"/>
                  <a:pt x="1501673" y="1980761"/>
                  <a:pt x="1465960" y="1980761"/>
                </a:cubicBezTo>
                <a:cubicBezTo>
                  <a:pt x="1430246" y="1980761"/>
                  <a:pt x="1401296" y="1951830"/>
                  <a:pt x="1401296" y="1916115"/>
                </a:cubicBezTo>
                <a:cubicBezTo>
                  <a:pt x="1401296" y="1880402"/>
                  <a:pt x="1430246" y="1851450"/>
                  <a:pt x="1465960" y="1851450"/>
                </a:cubicBezTo>
                <a:close/>
                <a:moveTo>
                  <a:pt x="10625394" y="1851450"/>
                </a:moveTo>
                <a:cubicBezTo>
                  <a:pt x="10661108" y="1851450"/>
                  <a:pt x="10690060" y="1880400"/>
                  <a:pt x="10690060" y="1916114"/>
                </a:cubicBezTo>
                <a:cubicBezTo>
                  <a:pt x="10690060" y="1951828"/>
                  <a:pt x="10661108" y="1980760"/>
                  <a:pt x="10625394" y="1980760"/>
                </a:cubicBezTo>
                <a:cubicBezTo>
                  <a:pt x="10589680" y="1980760"/>
                  <a:pt x="10560728" y="1951828"/>
                  <a:pt x="10560728" y="1916114"/>
                </a:cubicBezTo>
                <a:cubicBezTo>
                  <a:pt x="10560728" y="1880400"/>
                  <a:pt x="10589680" y="1851450"/>
                  <a:pt x="10625394" y="1851450"/>
                </a:cubicBezTo>
                <a:close/>
                <a:moveTo>
                  <a:pt x="10159588" y="1851450"/>
                </a:moveTo>
                <a:cubicBezTo>
                  <a:pt x="10195302" y="1851450"/>
                  <a:pt x="10224254" y="1880400"/>
                  <a:pt x="10224254" y="1916114"/>
                </a:cubicBezTo>
                <a:cubicBezTo>
                  <a:pt x="10224254" y="1951828"/>
                  <a:pt x="10195302" y="1980760"/>
                  <a:pt x="10159588" y="1980760"/>
                </a:cubicBezTo>
                <a:cubicBezTo>
                  <a:pt x="10123874" y="1980760"/>
                  <a:pt x="10094922" y="1951828"/>
                  <a:pt x="10094922" y="1916114"/>
                </a:cubicBezTo>
                <a:cubicBezTo>
                  <a:pt x="10094922" y="1880400"/>
                  <a:pt x="10123874" y="1851450"/>
                  <a:pt x="10159588" y="1851450"/>
                </a:cubicBezTo>
                <a:close/>
                <a:moveTo>
                  <a:pt x="10003016" y="1851450"/>
                </a:moveTo>
                <a:cubicBezTo>
                  <a:pt x="10038730" y="1851450"/>
                  <a:pt x="10067682" y="1880400"/>
                  <a:pt x="10067682" y="1916114"/>
                </a:cubicBezTo>
                <a:cubicBezTo>
                  <a:pt x="10067682" y="1951828"/>
                  <a:pt x="10038730" y="1980760"/>
                  <a:pt x="10003016" y="1980760"/>
                </a:cubicBezTo>
                <a:cubicBezTo>
                  <a:pt x="9967302" y="1980760"/>
                  <a:pt x="9938350" y="1951828"/>
                  <a:pt x="9938350" y="1916114"/>
                </a:cubicBezTo>
                <a:cubicBezTo>
                  <a:pt x="9938350" y="1880400"/>
                  <a:pt x="9967302" y="1851450"/>
                  <a:pt x="10003016" y="1851450"/>
                </a:cubicBezTo>
                <a:close/>
                <a:moveTo>
                  <a:pt x="9850358" y="1851450"/>
                </a:moveTo>
                <a:cubicBezTo>
                  <a:pt x="9886072" y="1851450"/>
                  <a:pt x="9915024" y="1880400"/>
                  <a:pt x="9915024" y="1916114"/>
                </a:cubicBezTo>
                <a:cubicBezTo>
                  <a:pt x="9915024" y="1951828"/>
                  <a:pt x="9886072" y="1980760"/>
                  <a:pt x="9850358" y="1980760"/>
                </a:cubicBezTo>
                <a:cubicBezTo>
                  <a:pt x="9814644" y="1980760"/>
                  <a:pt x="9785692" y="1951828"/>
                  <a:pt x="9785692" y="1916114"/>
                </a:cubicBezTo>
                <a:cubicBezTo>
                  <a:pt x="9785692" y="1880400"/>
                  <a:pt x="9814644" y="1851450"/>
                  <a:pt x="9850358" y="1851450"/>
                </a:cubicBezTo>
                <a:close/>
                <a:moveTo>
                  <a:pt x="9693783" y="1851450"/>
                </a:moveTo>
                <a:cubicBezTo>
                  <a:pt x="9729497" y="1851450"/>
                  <a:pt x="9758449" y="1880400"/>
                  <a:pt x="9758449" y="1916114"/>
                </a:cubicBezTo>
                <a:cubicBezTo>
                  <a:pt x="9758449" y="1951828"/>
                  <a:pt x="9729497" y="1980760"/>
                  <a:pt x="9693783" y="1980760"/>
                </a:cubicBezTo>
                <a:cubicBezTo>
                  <a:pt x="9658069" y="1980760"/>
                  <a:pt x="9629117" y="1951828"/>
                  <a:pt x="9629117" y="1916114"/>
                </a:cubicBezTo>
                <a:cubicBezTo>
                  <a:pt x="9629117" y="1880400"/>
                  <a:pt x="9658069" y="1851450"/>
                  <a:pt x="9693783" y="1851450"/>
                </a:cubicBezTo>
                <a:close/>
                <a:moveTo>
                  <a:pt x="9541123" y="1851450"/>
                </a:moveTo>
                <a:cubicBezTo>
                  <a:pt x="9576837" y="1851450"/>
                  <a:pt x="9605789" y="1880400"/>
                  <a:pt x="9605789" y="1916114"/>
                </a:cubicBezTo>
                <a:cubicBezTo>
                  <a:pt x="9605789" y="1951828"/>
                  <a:pt x="9576837" y="1980760"/>
                  <a:pt x="9541123" y="1980760"/>
                </a:cubicBezTo>
                <a:cubicBezTo>
                  <a:pt x="9505409" y="1980760"/>
                  <a:pt x="9476457" y="1951828"/>
                  <a:pt x="9476457" y="1916114"/>
                </a:cubicBezTo>
                <a:cubicBezTo>
                  <a:pt x="9476457" y="1880400"/>
                  <a:pt x="9505409" y="1851450"/>
                  <a:pt x="9541123" y="1851450"/>
                </a:cubicBezTo>
                <a:close/>
                <a:moveTo>
                  <a:pt x="9384550" y="1851450"/>
                </a:moveTo>
                <a:cubicBezTo>
                  <a:pt x="9420264" y="1851450"/>
                  <a:pt x="9449216" y="1880400"/>
                  <a:pt x="9449216" y="1916114"/>
                </a:cubicBezTo>
                <a:cubicBezTo>
                  <a:pt x="9449216" y="1951828"/>
                  <a:pt x="9420264" y="1980760"/>
                  <a:pt x="9384550" y="1980760"/>
                </a:cubicBezTo>
                <a:cubicBezTo>
                  <a:pt x="9348836" y="1980760"/>
                  <a:pt x="9319884" y="1951828"/>
                  <a:pt x="9319884" y="1916114"/>
                </a:cubicBezTo>
                <a:cubicBezTo>
                  <a:pt x="9319884" y="1880400"/>
                  <a:pt x="9348836" y="1851450"/>
                  <a:pt x="9384550" y="1851450"/>
                </a:cubicBezTo>
                <a:close/>
                <a:moveTo>
                  <a:pt x="9227977" y="1851450"/>
                </a:moveTo>
                <a:cubicBezTo>
                  <a:pt x="9263691" y="1851450"/>
                  <a:pt x="9292643" y="1880400"/>
                  <a:pt x="9292643" y="1916114"/>
                </a:cubicBezTo>
                <a:cubicBezTo>
                  <a:pt x="9292643" y="1951828"/>
                  <a:pt x="9263691" y="1980760"/>
                  <a:pt x="9227977" y="1980760"/>
                </a:cubicBezTo>
                <a:cubicBezTo>
                  <a:pt x="9192263" y="1980760"/>
                  <a:pt x="9163311" y="1951828"/>
                  <a:pt x="9163311" y="1916114"/>
                </a:cubicBezTo>
                <a:cubicBezTo>
                  <a:pt x="9163311" y="1880400"/>
                  <a:pt x="9192263" y="1851450"/>
                  <a:pt x="9227977" y="1851450"/>
                </a:cubicBezTo>
                <a:close/>
                <a:moveTo>
                  <a:pt x="9075319" y="1851450"/>
                </a:moveTo>
                <a:cubicBezTo>
                  <a:pt x="9111033" y="1851450"/>
                  <a:pt x="9139985" y="1880400"/>
                  <a:pt x="9139985" y="1916114"/>
                </a:cubicBezTo>
                <a:cubicBezTo>
                  <a:pt x="9139985" y="1951828"/>
                  <a:pt x="9111033" y="1980760"/>
                  <a:pt x="9075319" y="1980760"/>
                </a:cubicBezTo>
                <a:cubicBezTo>
                  <a:pt x="9039605" y="1980760"/>
                  <a:pt x="9010653" y="1951828"/>
                  <a:pt x="9010653" y="1916114"/>
                </a:cubicBezTo>
                <a:cubicBezTo>
                  <a:pt x="9010653" y="1880400"/>
                  <a:pt x="9039605" y="1851450"/>
                  <a:pt x="9075319" y="1851450"/>
                </a:cubicBezTo>
                <a:close/>
                <a:moveTo>
                  <a:pt x="8914831" y="1851450"/>
                </a:moveTo>
                <a:cubicBezTo>
                  <a:pt x="8950545" y="1851450"/>
                  <a:pt x="8979497" y="1880400"/>
                  <a:pt x="8979497" y="1916114"/>
                </a:cubicBezTo>
                <a:cubicBezTo>
                  <a:pt x="8979497" y="1951828"/>
                  <a:pt x="8950545" y="1980760"/>
                  <a:pt x="8914831" y="1980760"/>
                </a:cubicBezTo>
                <a:cubicBezTo>
                  <a:pt x="8879117" y="1980760"/>
                  <a:pt x="8850165" y="1951828"/>
                  <a:pt x="8850165" y="1916114"/>
                </a:cubicBezTo>
                <a:cubicBezTo>
                  <a:pt x="8850165" y="1880400"/>
                  <a:pt x="8879117" y="1851450"/>
                  <a:pt x="8914831" y="1851450"/>
                </a:cubicBezTo>
                <a:close/>
                <a:moveTo>
                  <a:pt x="8766086" y="1851450"/>
                </a:moveTo>
                <a:cubicBezTo>
                  <a:pt x="8801800" y="1851450"/>
                  <a:pt x="8830752" y="1880400"/>
                  <a:pt x="8830752" y="1916114"/>
                </a:cubicBezTo>
                <a:cubicBezTo>
                  <a:pt x="8830752" y="1951828"/>
                  <a:pt x="8801800" y="1980760"/>
                  <a:pt x="8766086" y="1980760"/>
                </a:cubicBezTo>
                <a:cubicBezTo>
                  <a:pt x="8730372" y="1980760"/>
                  <a:pt x="8701420" y="1951828"/>
                  <a:pt x="8701420" y="1916114"/>
                </a:cubicBezTo>
                <a:cubicBezTo>
                  <a:pt x="8701420" y="1880400"/>
                  <a:pt x="8730372" y="1851450"/>
                  <a:pt x="8766086" y="1851450"/>
                </a:cubicBezTo>
                <a:close/>
                <a:moveTo>
                  <a:pt x="8601685" y="1851450"/>
                </a:moveTo>
                <a:cubicBezTo>
                  <a:pt x="8637399" y="1851450"/>
                  <a:pt x="8666351" y="1880400"/>
                  <a:pt x="8666351" y="1916114"/>
                </a:cubicBezTo>
                <a:cubicBezTo>
                  <a:pt x="8666351" y="1951828"/>
                  <a:pt x="8637399" y="1980760"/>
                  <a:pt x="8601685" y="1980760"/>
                </a:cubicBezTo>
                <a:cubicBezTo>
                  <a:pt x="8565971" y="1980760"/>
                  <a:pt x="8537019" y="1951828"/>
                  <a:pt x="8537019" y="1916114"/>
                </a:cubicBezTo>
                <a:cubicBezTo>
                  <a:pt x="8537019" y="1880400"/>
                  <a:pt x="8565971" y="1851450"/>
                  <a:pt x="8601685" y="1851450"/>
                </a:cubicBezTo>
                <a:close/>
                <a:moveTo>
                  <a:pt x="8449025" y="1851450"/>
                </a:moveTo>
                <a:cubicBezTo>
                  <a:pt x="8484739" y="1851450"/>
                  <a:pt x="8513691" y="1880400"/>
                  <a:pt x="8513691" y="1916114"/>
                </a:cubicBezTo>
                <a:cubicBezTo>
                  <a:pt x="8513691" y="1951828"/>
                  <a:pt x="8484739" y="1980760"/>
                  <a:pt x="8449025" y="1980760"/>
                </a:cubicBezTo>
                <a:cubicBezTo>
                  <a:pt x="8413311" y="1980760"/>
                  <a:pt x="8384359" y="1951828"/>
                  <a:pt x="8384359" y="1916114"/>
                </a:cubicBezTo>
                <a:cubicBezTo>
                  <a:pt x="8384359" y="1880400"/>
                  <a:pt x="8413311" y="1851450"/>
                  <a:pt x="8449025" y="1851450"/>
                </a:cubicBezTo>
                <a:close/>
                <a:moveTo>
                  <a:pt x="8296368" y="1851450"/>
                </a:moveTo>
                <a:cubicBezTo>
                  <a:pt x="8332082" y="1851450"/>
                  <a:pt x="8361034" y="1880400"/>
                  <a:pt x="8361034" y="1916114"/>
                </a:cubicBezTo>
                <a:cubicBezTo>
                  <a:pt x="8361034" y="1951828"/>
                  <a:pt x="8332082" y="1980760"/>
                  <a:pt x="8296368" y="1980760"/>
                </a:cubicBezTo>
                <a:cubicBezTo>
                  <a:pt x="8260654" y="1980760"/>
                  <a:pt x="8231702" y="1951828"/>
                  <a:pt x="8231702" y="1916114"/>
                </a:cubicBezTo>
                <a:cubicBezTo>
                  <a:pt x="8231702" y="1880400"/>
                  <a:pt x="8260654" y="1851450"/>
                  <a:pt x="8296368" y="1851450"/>
                </a:cubicBezTo>
                <a:close/>
                <a:moveTo>
                  <a:pt x="8139793" y="1851450"/>
                </a:moveTo>
                <a:cubicBezTo>
                  <a:pt x="8175507" y="1851450"/>
                  <a:pt x="8204459" y="1880400"/>
                  <a:pt x="8204459" y="1916114"/>
                </a:cubicBezTo>
                <a:cubicBezTo>
                  <a:pt x="8204459" y="1951828"/>
                  <a:pt x="8175507" y="1980760"/>
                  <a:pt x="8139793" y="1980760"/>
                </a:cubicBezTo>
                <a:cubicBezTo>
                  <a:pt x="8104079" y="1980760"/>
                  <a:pt x="8075127" y="1951828"/>
                  <a:pt x="8075127" y="1916114"/>
                </a:cubicBezTo>
                <a:cubicBezTo>
                  <a:pt x="8075127" y="1880400"/>
                  <a:pt x="8104079" y="1851450"/>
                  <a:pt x="8139793" y="1851450"/>
                </a:cubicBezTo>
                <a:close/>
                <a:moveTo>
                  <a:pt x="7987133" y="1851450"/>
                </a:moveTo>
                <a:cubicBezTo>
                  <a:pt x="8022847" y="1851450"/>
                  <a:pt x="8051799" y="1880400"/>
                  <a:pt x="8051799" y="1916114"/>
                </a:cubicBezTo>
                <a:cubicBezTo>
                  <a:pt x="8051799" y="1951828"/>
                  <a:pt x="8022847" y="1980760"/>
                  <a:pt x="7987133" y="1980760"/>
                </a:cubicBezTo>
                <a:cubicBezTo>
                  <a:pt x="7951419" y="1980760"/>
                  <a:pt x="7922467" y="1951828"/>
                  <a:pt x="7922467" y="1916114"/>
                </a:cubicBezTo>
                <a:cubicBezTo>
                  <a:pt x="7922467" y="1880400"/>
                  <a:pt x="7951419" y="1851450"/>
                  <a:pt x="7987133" y="1851450"/>
                </a:cubicBezTo>
                <a:close/>
                <a:moveTo>
                  <a:pt x="7830562" y="1851450"/>
                </a:moveTo>
                <a:cubicBezTo>
                  <a:pt x="7866276" y="1851450"/>
                  <a:pt x="7895228" y="1880400"/>
                  <a:pt x="7895228" y="1916114"/>
                </a:cubicBezTo>
                <a:cubicBezTo>
                  <a:pt x="7895228" y="1951828"/>
                  <a:pt x="7866276" y="1980760"/>
                  <a:pt x="7830562" y="1980760"/>
                </a:cubicBezTo>
                <a:cubicBezTo>
                  <a:pt x="7794848" y="1980760"/>
                  <a:pt x="7765896" y="1951828"/>
                  <a:pt x="7765896" y="1916114"/>
                </a:cubicBezTo>
                <a:cubicBezTo>
                  <a:pt x="7765896" y="1880400"/>
                  <a:pt x="7794848" y="1851450"/>
                  <a:pt x="7830562" y="1851450"/>
                </a:cubicBezTo>
                <a:close/>
                <a:moveTo>
                  <a:pt x="7677904" y="1851450"/>
                </a:moveTo>
                <a:cubicBezTo>
                  <a:pt x="7713618" y="1851450"/>
                  <a:pt x="7742570" y="1880400"/>
                  <a:pt x="7742570" y="1916114"/>
                </a:cubicBezTo>
                <a:cubicBezTo>
                  <a:pt x="7742570" y="1951828"/>
                  <a:pt x="7713618" y="1980760"/>
                  <a:pt x="7677904" y="1980760"/>
                </a:cubicBezTo>
                <a:cubicBezTo>
                  <a:pt x="7642190" y="1980760"/>
                  <a:pt x="7613238" y="1951828"/>
                  <a:pt x="7613238" y="1916114"/>
                </a:cubicBezTo>
                <a:cubicBezTo>
                  <a:pt x="7613238" y="1880400"/>
                  <a:pt x="7642190" y="1851450"/>
                  <a:pt x="7677904" y="1851450"/>
                </a:cubicBezTo>
                <a:close/>
                <a:moveTo>
                  <a:pt x="7521331" y="1851450"/>
                </a:moveTo>
                <a:cubicBezTo>
                  <a:pt x="7557045" y="1851450"/>
                  <a:pt x="7585997" y="1880400"/>
                  <a:pt x="7585997" y="1916114"/>
                </a:cubicBezTo>
                <a:cubicBezTo>
                  <a:pt x="7585997" y="1951828"/>
                  <a:pt x="7557045" y="1980760"/>
                  <a:pt x="7521331" y="1980760"/>
                </a:cubicBezTo>
                <a:cubicBezTo>
                  <a:pt x="7485617" y="1980760"/>
                  <a:pt x="7456665" y="1951828"/>
                  <a:pt x="7456665" y="1916114"/>
                </a:cubicBezTo>
                <a:cubicBezTo>
                  <a:pt x="7456665" y="1880400"/>
                  <a:pt x="7485617" y="1851450"/>
                  <a:pt x="7521331" y="1851450"/>
                </a:cubicBezTo>
                <a:close/>
                <a:moveTo>
                  <a:pt x="7368671" y="1851450"/>
                </a:moveTo>
                <a:cubicBezTo>
                  <a:pt x="7404385" y="1851450"/>
                  <a:pt x="7433337" y="1880400"/>
                  <a:pt x="7433337" y="1916114"/>
                </a:cubicBezTo>
                <a:cubicBezTo>
                  <a:pt x="7433337" y="1951828"/>
                  <a:pt x="7404385" y="1980760"/>
                  <a:pt x="7368671" y="1980760"/>
                </a:cubicBezTo>
                <a:cubicBezTo>
                  <a:pt x="7332957" y="1980760"/>
                  <a:pt x="7304005" y="1951828"/>
                  <a:pt x="7304005" y="1916114"/>
                </a:cubicBezTo>
                <a:cubicBezTo>
                  <a:pt x="7304005" y="1880400"/>
                  <a:pt x="7332957" y="1851450"/>
                  <a:pt x="7368671" y="1851450"/>
                </a:cubicBezTo>
                <a:close/>
                <a:moveTo>
                  <a:pt x="7212096" y="1851450"/>
                </a:moveTo>
                <a:cubicBezTo>
                  <a:pt x="7247810" y="1851450"/>
                  <a:pt x="7276762" y="1880400"/>
                  <a:pt x="7276762" y="1916114"/>
                </a:cubicBezTo>
                <a:cubicBezTo>
                  <a:pt x="7276762" y="1951828"/>
                  <a:pt x="7247810" y="1980760"/>
                  <a:pt x="7212096" y="1980760"/>
                </a:cubicBezTo>
                <a:cubicBezTo>
                  <a:pt x="7176382" y="1980760"/>
                  <a:pt x="7147430" y="1951828"/>
                  <a:pt x="7147430" y="1916114"/>
                </a:cubicBezTo>
                <a:cubicBezTo>
                  <a:pt x="7147430" y="1880400"/>
                  <a:pt x="7176382" y="1851450"/>
                  <a:pt x="7212096" y="1851450"/>
                </a:cubicBezTo>
                <a:close/>
                <a:moveTo>
                  <a:pt x="7055523" y="1851450"/>
                </a:moveTo>
                <a:cubicBezTo>
                  <a:pt x="7091237" y="1851450"/>
                  <a:pt x="7120189" y="1880400"/>
                  <a:pt x="7120189" y="1916114"/>
                </a:cubicBezTo>
                <a:cubicBezTo>
                  <a:pt x="7120189" y="1951828"/>
                  <a:pt x="7091237" y="1980760"/>
                  <a:pt x="7055523" y="1980760"/>
                </a:cubicBezTo>
                <a:cubicBezTo>
                  <a:pt x="7019809" y="1980760"/>
                  <a:pt x="6990857" y="1951828"/>
                  <a:pt x="6990857" y="1916114"/>
                </a:cubicBezTo>
                <a:cubicBezTo>
                  <a:pt x="6990857" y="1880400"/>
                  <a:pt x="7019809" y="1851450"/>
                  <a:pt x="7055523" y="1851450"/>
                </a:cubicBezTo>
                <a:close/>
                <a:moveTo>
                  <a:pt x="6895037" y="1851450"/>
                </a:moveTo>
                <a:cubicBezTo>
                  <a:pt x="6930751" y="1851450"/>
                  <a:pt x="6959703" y="1880400"/>
                  <a:pt x="6959703" y="1916114"/>
                </a:cubicBezTo>
                <a:cubicBezTo>
                  <a:pt x="6959703" y="1951828"/>
                  <a:pt x="6930751" y="1980760"/>
                  <a:pt x="6895037" y="1980760"/>
                </a:cubicBezTo>
                <a:cubicBezTo>
                  <a:pt x="6859323" y="1980760"/>
                  <a:pt x="6830371" y="1951828"/>
                  <a:pt x="6830371" y="1916114"/>
                </a:cubicBezTo>
                <a:cubicBezTo>
                  <a:pt x="6830371" y="1880400"/>
                  <a:pt x="6859323" y="1851450"/>
                  <a:pt x="6895037" y="1851450"/>
                </a:cubicBezTo>
                <a:close/>
                <a:moveTo>
                  <a:pt x="6742377" y="1851450"/>
                </a:moveTo>
                <a:cubicBezTo>
                  <a:pt x="6778091" y="1851450"/>
                  <a:pt x="6807043" y="1880400"/>
                  <a:pt x="6807043" y="1916114"/>
                </a:cubicBezTo>
                <a:cubicBezTo>
                  <a:pt x="6807043" y="1951828"/>
                  <a:pt x="6778091" y="1980760"/>
                  <a:pt x="6742377" y="1980760"/>
                </a:cubicBezTo>
                <a:cubicBezTo>
                  <a:pt x="6706663" y="1980760"/>
                  <a:pt x="6677711" y="1951828"/>
                  <a:pt x="6677711" y="1916114"/>
                </a:cubicBezTo>
                <a:cubicBezTo>
                  <a:pt x="6677711" y="1880400"/>
                  <a:pt x="6706663" y="1851450"/>
                  <a:pt x="6742377" y="1851450"/>
                </a:cubicBezTo>
                <a:close/>
                <a:moveTo>
                  <a:pt x="6585804" y="1851450"/>
                </a:moveTo>
                <a:cubicBezTo>
                  <a:pt x="6621518" y="1851450"/>
                  <a:pt x="6650470" y="1880400"/>
                  <a:pt x="6650470" y="1916114"/>
                </a:cubicBezTo>
                <a:cubicBezTo>
                  <a:pt x="6650470" y="1951828"/>
                  <a:pt x="6621518" y="1980760"/>
                  <a:pt x="6585804" y="1980760"/>
                </a:cubicBezTo>
                <a:cubicBezTo>
                  <a:pt x="6550090" y="1980760"/>
                  <a:pt x="6521138" y="1951828"/>
                  <a:pt x="6521138" y="1916114"/>
                </a:cubicBezTo>
                <a:cubicBezTo>
                  <a:pt x="6521138" y="1880400"/>
                  <a:pt x="6550090" y="1851450"/>
                  <a:pt x="6585804" y="1851450"/>
                </a:cubicBezTo>
                <a:close/>
                <a:moveTo>
                  <a:pt x="6276571" y="1851450"/>
                </a:moveTo>
                <a:cubicBezTo>
                  <a:pt x="6312285" y="1851450"/>
                  <a:pt x="6341237" y="1880400"/>
                  <a:pt x="6341237" y="1916114"/>
                </a:cubicBezTo>
                <a:cubicBezTo>
                  <a:pt x="6341237" y="1951828"/>
                  <a:pt x="6312285" y="1980760"/>
                  <a:pt x="6276571" y="1980760"/>
                </a:cubicBezTo>
                <a:cubicBezTo>
                  <a:pt x="6240857" y="1980760"/>
                  <a:pt x="6211905" y="1951828"/>
                  <a:pt x="6211905" y="1916114"/>
                </a:cubicBezTo>
                <a:cubicBezTo>
                  <a:pt x="6211905" y="1880400"/>
                  <a:pt x="6240857" y="1851450"/>
                  <a:pt x="6276571" y="1851450"/>
                </a:cubicBezTo>
                <a:close/>
                <a:moveTo>
                  <a:pt x="6119999" y="1851450"/>
                </a:moveTo>
                <a:cubicBezTo>
                  <a:pt x="6155713" y="1851450"/>
                  <a:pt x="6184665" y="1880400"/>
                  <a:pt x="6184665" y="1916114"/>
                </a:cubicBezTo>
                <a:cubicBezTo>
                  <a:pt x="6184665" y="1951828"/>
                  <a:pt x="6155713" y="1980760"/>
                  <a:pt x="6119999" y="1980760"/>
                </a:cubicBezTo>
                <a:cubicBezTo>
                  <a:pt x="6084285" y="1980760"/>
                  <a:pt x="6055333" y="1951828"/>
                  <a:pt x="6055333" y="1916114"/>
                </a:cubicBezTo>
                <a:cubicBezTo>
                  <a:pt x="6055333" y="1880400"/>
                  <a:pt x="6084285" y="1851450"/>
                  <a:pt x="6119999" y="1851450"/>
                </a:cubicBezTo>
                <a:close/>
                <a:moveTo>
                  <a:pt x="5967339" y="1851450"/>
                </a:moveTo>
                <a:cubicBezTo>
                  <a:pt x="6003053" y="1851450"/>
                  <a:pt x="6032005" y="1880400"/>
                  <a:pt x="6032005" y="1916114"/>
                </a:cubicBezTo>
                <a:cubicBezTo>
                  <a:pt x="6032005" y="1951828"/>
                  <a:pt x="6003053" y="1980760"/>
                  <a:pt x="5967339" y="1980760"/>
                </a:cubicBezTo>
                <a:cubicBezTo>
                  <a:pt x="5931625" y="1980760"/>
                  <a:pt x="5902673" y="1951828"/>
                  <a:pt x="5902673" y="1916114"/>
                </a:cubicBezTo>
                <a:cubicBezTo>
                  <a:pt x="5902673" y="1880400"/>
                  <a:pt x="5931625" y="1851450"/>
                  <a:pt x="5967339" y="1851450"/>
                </a:cubicBezTo>
                <a:close/>
                <a:moveTo>
                  <a:pt x="5810798" y="1851450"/>
                </a:moveTo>
                <a:cubicBezTo>
                  <a:pt x="5846480" y="1851450"/>
                  <a:pt x="5875432" y="1880400"/>
                  <a:pt x="5875432" y="1916114"/>
                </a:cubicBezTo>
                <a:cubicBezTo>
                  <a:pt x="5875432" y="1951828"/>
                  <a:pt x="5846480" y="1980760"/>
                  <a:pt x="5810798" y="1980760"/>
                </a:cubicBezTo>
                <a:cubicBezTo>
                  <a:pt x="5775075" y="1980760"/>
                  <a:pt x="5746117" y="1951828"/>
                  <a:pt x="5746117" y="1916114"/>
                </a:cubicBezTo>
                <a:cubicBezTo>
                  <a:pt x="5746117" y="1880400"/>
                  <a:pt x="5775075" y="1851450"/>
                  <a:pt x="5810798" y="1851450"/>
                </a:cubicBezTo>
                <a:close/>
                <a:moveTo>
                  <a:pt x="5658111" y="1851450"/>
                </a:moveTo>
                <a:cubicBezTo>
                  <a:pt x="5693825" y="1851450"/>
                  <a:pt x="5722783" y="1880400"/>
                  <a:pt x="5722783" y="1916114"/>
                </a:cubicBezTo>
                <a:cubicBezTo>
                  <a:pt x="5722783" y="1951828"/>
                  <a:pt x="5693825" y="1980760"/>
                  <a:pt x="5658111" y="1980760"/>
                </a:cubicBezTo>
                <a:cubicBezTo>
                  <a:pt x="5622399" y="1980760"/>
                  <a:pt x="5593443" y="1951828"/>
                  <a:pt x="5593443" y="1916114"/>
                </a:cubicBezTo>
                <a:cubicBezTo>
                  <a:pt x="5593443" y="1880400"/>
                  <a:pt x="5622399" y="1851450"/>
                  <a:pt x="5658111" y="1851450"/>
                </a:cubicBezTo>
                <a:close/>
                <a:moveTo>
                  <a:pt x="5501543" y="1851450"/>
                </a:moveTo>
                <a:cubicBezTo>
                  <a:pt x="5537254" y="1851450"/>
                  <a:pt x="5566204" y="1880400"/>
                  <a:pt x="5566204" y="1916114"/>
                </a:cubicBezTo>
                <a:cubicBezTo>
                  <a:pt x="5566204" y="1951828"/>
                  <a:pt x="5537254" y="1980760"/>
                  <a:pt x="5501543" y="1980760"/>
                </a:cubicBezTo>
                <a:cubicBezTo>
                  <a:pt x="5465827" y="1980760"/>
                  <a:pt x="5436885" y="1951828"/>
                  <a:pt x="5436885" y="1916114"/>
                </a:cubicBezTo>
                <a:cubicBezTo>
                  <a:pt x="5436885" y="1880400"/>
                  <a:pt x="5465827" y="1851450"/>
                  <a:pt x="5501543" y="1851450"/>
                </a:cubicBezTo>
                <a:close/>
                <a:moveTo>
                  <a:pt x="5348888" y="1851450"/>
                </a:moveTo>
                <a:cubicBezTo>
                  <a:pt x="5384604" y="1851450"/>
                  <a:pt x="5413554" y="1880400"/>
                  <a:pt x="5413554" y="1916114"/>
                </a:cubicBezTo>
                <a:cubicBezTo>
                  <a:pt x="5413554" y="1951828"/>
                  <a:pt x="5384604" y="1980760"/>
                  <a:pt x="5348888" y="1980760"/>
                </a:cubicBezTo>
                <a:cubicBezTo>
                  <a:pt x="5313189" y="1980760"/>
                  <a:pt x="5284230" y="1951828"/>
                  <a:pt x="5284230" y="1916114"/>
                </a:cubicBezTo>
                <a:cubicBezTo>
                  <a:pt x="5284230" y="1880400"/>
                  <a:pt x="5313189" y="1851450"/>
                  <a:pt x="5348888" y="1851450"/>
                </a:cubicBezTo>
                <a:close/>
                <a:moveTo>
                  <a:pt x="3630594" y="1851450"/>
                </a:moveTo>
                <a:cubicBezTo>
                  <a:pt x="3666307" y="1851450"/>
                  <a:pt x="3695260" y="1880400"/>
                  <a:pt x="3695260" y="1916114"/>
                </a:cubicBezTo>
                <a:cubicBezTo>
                  <a:pt x="3695260" y="1951828"/>
                  <a:pt x="3666307" y="1980760"/>
                  <a:pt x="3630594" y="1980760"/>
                </a:cubicBezTo>
                <a:cubicBezTo>
                  <a:pt x="3594871" y="1980760"/>
                  <a:pt x="3565917" y="1951828"/>
                  <a:pt x="3565917" y="1916114"/>
                </a:cubicBezTo>
                <a:cubicBezTo>
                  <a:pt x="3565917" y="1880400"/>
                  <a:pt x="3594871" y="1851450"/>
                  <a:pt x="3630594" y="1851450"/>
                </a:cubicBezTo>
                <a:close/>
                <a:moveTo>
                  <a:pt x="3481843" y="1851450"/>
                </a:moveTo>
                <a:cubicBezTo>
                  <a:pt x="3517558" y="1851450"/>
                  <a:pt x="3546512" y="1880400"/>
                  <a:pt x="3546512" y="1916114"/>
                </a:cubicBezTo>
                <a:cubicBezTo>
                  <a:pt x="3546512" y="1951828"/>
                  <a:pt x="3517558" y="1980760"/>
                  <a:pt x="3481843" y="1980760"/>
                </a:cubicBezTo>
                <a:cubicBezTo>
                  <a:pt x="3446134" y="1980760"/>
                  <a:pt x="3417186" y="1951828"/>
                  <a:pt x="3417186" y="1916114"/>
                </a:cubicBezTo>
                <a:cubicBezTo>
                  <a:pt x="3417186" y="1880400"/>
                  <a:pt x="3446134" y="1851450"/>
                  <a:pt x="3481843" y="1851450"/>
                </a:cubicBezTo>
                <a:close/>
                <a:moveTo>
                  <a:pt x="3321374" y="1851450"/>
                </a:moveTo>
                <a:cubicBezTo>
                  <a:pt x="3357081" y="1851450"/>
                  <a:pt x="3386019" y="1880400"/>
                  <a:pt x="3386019" y="1916114"/>
                </a:cubicBezTo>
                <a:cubicBezTo>
                  <a:pt x="3386019" y="1951828"/>
                  <a:pt x="3357081" y="1980760"/>
                  <a:pt x="3321374" y="1980760"/>
                </a:cubicBezTo>
                <a:cubicBezTo>
                  <a:pt x="3285655" y="1980760"/>
                  <a:pt x="3256709" y="1951828"/>
                  <a:pt x="3256709" y="1916114"/>
                </a:cubicBezTo>
                <a:cubicBezTo>
                  <a:pt x="3256709" y="1880400"/>
                  <a:pt x="3285655" y="1851450"/>
                  <a:pt x="3321374" y="1851450"/>
                </a:cubicBezTo>
                <a:close/>
                <a:moveTo>
                  <a:pt x="3172621" y="1851450"/>
                </a:moveTo>
                <a:cubicBezTo>
                  <a:pt x="3208343" y="1851450"/>
                  <a:pt x="3237294" y="1880400"/>
                  <a:pt x="3237294" y="1916114"/>
                </a:cubicBezTo>
                <a:cubicBezTo>
                  <a:pt x="3237294" y="1951828"/>
                  <a:pt x="3208343" y="1980760"/>
                  <a:pt x="3172621" y="1980760"/>
                </a:cubicBezTo>
                <a:cubicBezTo>
                  <a:pt x="3136899" y="1980760"/>
                  <a:pt x="3107940" y="1951828"/>
                  <a:pt x="3107940" y="1916114"/>
                </a:cubicBezTo>
                <a:cubicBezTo>
                  <a:pt x="3107940" y="1880400"/>
                  <a:pt x="3136899" y="1851450"/>
                  <a:pt x="3172621" y="1851450"/>
                </a:cubicBezTo>
                <a:close/>
                <a:moveTo>
                  <a:pt x="3012108" y="1851450"/>
                </a:moveTo>
                <a:cubicBezTo>
                  <a:pt x="3047819" y="1851450"/>
                  <a:pt x="3076778" y="1880400"/>
                  <a:pt x="3076778" y="1916114"/>
                </a:cubicBezTo>
                <a:cubicBezTo>
                  <a:pt x="3076778" y="1951828"/>
                  <a:pt x="3047819" y="1980760"/>
                  <a:pt x="3012108" y="1980760"/>
                </a:cubicBezTo>
                <a:cubicBezTo>
                  <a:pt x="2976400" y="1980760"/>
                  <a:pt x="2947451" y="1951828"/>
                  <a:pt x="2947451" y="1916114"/>
                </a:cubicBezTo>
                <a:cubicBezTo>
                  <a:pt x="2947451" y="1880400"/>
                  <a:pt x="2976400" y="1851450"/>
                  <a:pt x="3012108" y="1851450"/>
                </a:cubicBezTo>
                <a:close/>
                <a:moveTo>
                  <a:pt x="2855554" y="1851450"/>
                </a:moveTo>
                <a:cubicBezTo>
                  <a:pt x="2891264" y="1851450"/>
                  <a:pt x="2920212" y="1880400"/>
                  <a:pt x="2920212" y="1916114"/>
                </a:cubicBezTo>
                <a:cubicBezTo>
                  <a:pt x="2920212" y="1951828"/>
                  <a:pt x="2891264" y="1980760"/>
                  <a:pt x="2855554" y="1980760"/>
                </a:cubicBezTo>
                <a:cubicBezTo>
                  <a:pt x="2819845" y="1980760"/>
                  <a:pt x="2790897" y="1951828"/>
                  <a:pt x="2790897" y="1916114"/>
                </a:cubicBezTo>
                <a:cubicBezTo>
                  <a:pt x="2790897" y="1880400"/>
                  <a:pt x="2819845" y="1851450"/>
                  <a:pt x="2855554" y="1851450"/>
                </a:cubicBezTo>
                <a:close/>
                <a:moveTo>
                  <a:pt x="2699002" y="1851450"/>
                </a:moveTo>
                <a:cubicBezTo>
                  <a:pt x="2734711" y="1851450"/>
                  <a:pt x="2763659" y="1880400"/>
                  <a:pt x="2763659" y="1916114"/>
                </a:cubicBezTo>
                <a:cubicBezTo>
                  <a:pt x="2763659" y="1951828"/>
                  <a:pt x="2734711" y="1980760"/>
                  <a:pt x="2699002" y="1980760"/>
                </a:cubicBezTo>
                <a:cubicBezTo>
                  <a:pt x="2663292" y="1980760"/>
                  <a:pt x="2634344" y="1951828"/>
                  <a:pt x="2634344" y="1916114"/>
                </a:cubicBezTo>
                <a:cubicBezTo>
                  <a:pt x="2634344" y="1880400"/>
                  <a:pt x="2663292" y="1851450"/>
                  <a:pt x="2699002" y="1851450"/>
                </a:cubicBezTo>
                <a:close/>
                <a:moveTo>
                  <a:pt x="2546361" y="1851450"/>
                </a:moveTo>
                <a:cubicBezTo>
                  <a:pt x="2582072" y="1851450"/>
                  <a:pt x="2611021" y="1880400"/>
                  <a:pt x="2611021" y="1916114"/>
                </a:cubicBezTo>
                <a:cubicBezTo>
                  <a:pt x="2611021" y="1951828"/>
                  <a:pt x="2582072" y="1980760"/>
                  <a:pt x="2546361" y="1980760"/>
                </a:cubicBezTo>
                <a:cubicBezTo>
                  <a:pt x="2510640" y="1980760"/>
                  <a:pt x="2481704" y="1951828"/>
                  <a:pt x="2481704" y="1916114"/>
                </a:cubicBezTo>
                <a:cubicBezTo>
                  <a:pt x="2481704" y="1880400"/>
                  <a:pt x="2510640" y="1851450"/>
                  <a:pt x="2546361" y="1851450"/>
                </a:cubicBezTo>
                <a:close/>
                <a:moveTo>
                  <a:pt x="2389782" y="1851450"/>
                </a:moveTo>
                <a:cubicBezTo>
                  <a:pt x="2425516" y="1851450"/>
                  <a:pt x="2454467" y="1880400"/>
                  <a:pt x="2454467" y="1916114"/>
                </a:cubicBezTo>
                <a:cubicBezTo>
                  <a:pt x="2454467" y="1951828"/>
                  <a:pt x="2425516" y="1980760"/>
                  <a:pt x="2389782" y="1980760"/>
                </a:cubicBezTo>
                <a:cubicBezTo>
                  <a:pt x="2354086" y="1980760"/>
                  <a:pt x="2325128" y="1951828"/>
                  <a:pt x="2325128" y="1916114"/>
                </a:cubicBezTo>
                <a:cubicBezTo>
                  <a:pt x="2325128" y="1880400"/>
                  <a:pt x="2354086" y="1851450"/>
                  <a:pt x="2389782" y="1851450"/>
                </a:cubicBezTo>
                <a:close/>
                <a:moveTo>
                  <a:pt x="10625394" y="1710535"/>
                </a:moveTo>
                <a:cubicBezTo>
                  <a:pt x="10661108" y="1710535"/>
                  <a:pt x="10690060" y="1739485"/>
                  <a:pt x="10690060" y="1775201"/>
                </a:cubicBezTo>
                <a:cubicBezTo>
                  <a:pt x="10690060" y="1810913"/>
                  <a:pt x="10661108" y="1839865"/>
                  <a:pt x="10625394" y="1839865"/>
                </a:cubicBezTo>
                <a:cubicBezTo>
                  <a:pt x="10589680" y="1839865"/>
                  <a:pt x="10560728" y="1810913"/>
                  <a:pt x="10560728" y="1775201"/>
                </a:cubicBezTo>
                <a:cubicBezTo>
                  <a:pt x="10560728" y="1739485"/>
                  <a:pt x="10589680" y="1710535"/>
                  <a:pt x="10625394" y="1710535"/>
                </a:cubicBezTo>
                <a:close/>
                <a:moveTo>
                  <a:pt x="10159588" y="1710535"/>
                </a:moveTo>
                <a:cubicBezTo>
                  <a:pt x="10195302" y="1710535"/>
                  <a:pt x="10224254" y="1739485"/>
                  <a:pt x="10224254" y="1775201"/>
                </a:cubicBezTo>
                <a:cubicBezTo>
                  <a:pt x="10224254" y="1810913"/>
                  <a:pt x="10195302" y="1839865"/>
                  <a:pt x="10159588" y="1839865"/>
                </a:cubicBezTo>
                <a:cubicBezTo>
                  <a:pt x="10123874" y="1839865"/>
                  <a:pt x="10094922" y="1810913"/>
                  <a:pt x="10094922" y="1775201"/>
                </a:cubicBezTo>
                <a:cubicBezTo>
                  <a:pt x="10094922" y="1739485"/>
                  <a:pt x="10123874" y="1710535"/>
                  <a:pt x="10159588" y="1710535"/>
                </a:cubicBezTo>
                <a:close/>
                <a:moveTo>
                  <a:pt x="10003016" y="1710535"/>
                </a:moveTo>
                <a:cubicBezTo>
                  <a:pt x="10038730" y="1710535"/>
                  <a:pt x="10067682" y="1739485"/>
                  <a:pt x="10067682" y="1775201"/>
                </a:cubicBezTo>
                <a:cubicBezTo>
                  <a:pt x="10067682" y="1810913"/>
                  <a:pt x="10038730" y="1839865"/>
                  <a:pt x="10003016" y="1839865"/>
                </a:cubicBezTo>
                <a:cubicBezTo>
                  <a:pt x="9967302" y="1839865"/>
                  <a:pt x="9938350" y="1810913"/>
                  <a:pt x="9938350" y="1775201"/>
                </a:cubicBezTo>
                <a:cubicBezTo>
                  <a:pt x="9938350" y="1739485"/>
                  <a:pt x="9967302" y="1710535"/>
                  <a:pt x="10003016" y="1710535"/>
                </a:cubicBezTo>
                <a:close/>
                <a:moveTo>
                  <a:pt x="9850356" y="1710535"/>
                </a:moveTo>
                <a:cubicBezTo>
                  <a:pt x="9886070" y="1710535"/>
                  <a:pt x="9915022" y="1739485"/>
                  <a:pt x="9915022" y="1775201"/>
                </a:cubicBezTo>
                <a:cubicBezTo>
                  <a:pt x="9915022" y="1810913"/>
                  <a:pt x="9886070" y="1839865"/>
                  <a:pt x="9850356" y="1839865"/>
                </a:cubicBezTo>
                <a:cubicBezTo>
                  <a:pt x="9814642" y="1839865"/>
                  <a:pt x="9785690" y="1810913"/>
                  <a:pt x="9785690" y="1775201"/>
                </a:cubicBezTo>
                <a:cubicBezTo>
                  <a:pt x="9785690" y="1739485"/>
                  <a:pt x="9814642" y="1710535"/>
                  <a:pt x="9850356" y="1710535"/>
                </a:cubicBezTo>
                <a:close/>
                <a:moveTo>
                  <a:pt x="9693782" y="1710535"/>
                </a:moveTo>
                <a:cubicBezTo>
                  <a:pt x="9729496" y="1710535"/>
                  <a:pt x="9758448" y="1739485"/>
                  <a:pt x="9758448" y="1775201"/>
                </a:cubicBezTo>
                <a:cubicBezTo>
                  <a:pt x="9758448" y="1810913"/>
                  <a:pt x="9729496" y="1839865"/>
                  <a:pt x="9693782" y="1839865"/>
                </a:cubicBezTo>
                <a:cubicBezTo>
                  <a:pt x="9658068" y="1839865"/>
                  <a:pt x="9629116" y="1810913"/>
                  <a:pt x="9629116" y="1775201"/>
                </a:cubicBezTo>
                <a:cubicBezTo>
                  <a:pt x="9629116" y="1739485"/>
                  <a:pt x="9658068" y="1710535"/>
                  <a:pt x="9693782" y="1710535"/>
                </a:cubicBezTo>
                <a:close/>
                <a:moveTo>
                  <a:pt x="9541123" y="1710535"/>
                </a:moveTo>
                <a:cubicBezTo>
                  <a:pt x="9576837" y="1710535"/>
                  <a:pt x="9605789" y="1739485"/>
                  <a:pt x="9605789" y="1775201"/>
                </a:cubicBezTo>
                <a:cubicBezTo>
                  <a:pt x="9605789" y="1810913"/>
                  <a:pt x="9576837" y="1839865"/>
                  <a:pt x="9541123" y="1839865"/>
                </a:cubicBezTo>
                <a:cubicBezTo>
                  <a:pt x="9505409" y="1839865"/>
                  <a:pt x="9476457" y="1810913"/>
                  <a:pt x="9476457" y="1775201"/>
                </a:cubicBezTo>
                <a:cubicBezTo>
                  <a:pt x="9476457" y="1739485"/>
                  <a:pt x="9505409" y="1710535"/>
                  <a:pt x="9541123" y="1710535"/>
                </a:cubicBezTo>
                <a:close/>
                <a:moveTo>
                  <a:pt x="9384550" y="1710535"/>
                </a:moveTo>
                <a:cubicBezTo>
                  <a:pt x="9420264" y="1710535"/>
                  <a:pt x="9449216" y="1739485"/>
                  <a:pt x="9449216" y="1775201"/>
                </a:cubicBezTo>
                <a:cubicBezTo>
                  <a:pt x="9449216" y="1810913"/>
                  <a:pt x="9420264" y="1839865"/>
                  <a:pt x="9384550" y="1839865"/>
                </a:cubicBezTo>
                <a:cubicBezTo>
                  <a:pt x="9348836" y="1839865"/>
                  <a:pt x="9319884" y="1810913"/>
                  <a:pt x="9319884" y="1775201"/>
                </a:cubicBezTo>
                <a:cubicBezTo>
                  <a:pt x="9319884" y="1739485"/>
                  <a:pt x="9348836" y="1710535"/>
                  <a:pt x="9384550" y="1710535"/>
                </a:cubicBezTo>
                <a:close/>
                <a:moveTo>
                  <a:pt x="9227977" y="1710535"/>
                </a:moveTo>
                <a:cubicBezTo>
                  <a:pt x="9263691" y="1710535"/>
                  <a:pt x="9292643" y="1739485"/>
                  <a:pt x="9292643" y="1775201"/>
                </a:cubicBezTo>
                <a:cubicBezTo>
                  <a:pt x="9292643" y="1810913"/>
                  <a:pt x="9263691" y="1839865"/>
                  <a:pt x="9227977" y="1839865"/>
                </a:cubicBezTo>
                <a:cubicBezTo>
                  <a:pt x="9192263" y="1839865"/>
                  <a:pt x="9163311" y="1810913"/>
                  <a:pt x="9163311" y="1775201"/>
                </a:cubicBezTo>
                <a:cubicBezTo>
                  <a:pt x="9163311" y="1739485"/>
                  <a:pt x="9192263" y="1710535"/>
                  <a:pt x="9227977" y="1710535"/>
                </a:cubicBezTo>
                <a:close/>
                <a:moveTo>
                  <a:pt x="9075317" y="1710535"/>
                </a:moveTo>
                <a:cubicBezTo>
                  <a:pt x="9111031" y="1710535"/>
                  <a:pt x="9139983" y="1739485"/>
                  <a:pt x="9139983" y="1775201"/>
                </a:cubicBezTo>
                <a:cubicBezTo>
                  <a:pt x="9139983" y="1810913"/>
                  <a:pt x="9111031" y="1839865"/>
                  <a:pt x="9075317" y="1839865"/>
                </a:cubicBezTo>
                <a:cubicBezTo>
                  <a:pt x="9039603" y="1839865"/>
                  <a:pt x="9010651" y="1810913"/>
                  <a:pt x="9010651" y="1775201"/>
                </a:cubicBezTo>
                <a:cubicBezTo>
                  <a:pt x="9010651" y="1739485"/>
                  <a:pt x="9039603" y="1710535"/>
                  <a:pt x="9075317" y="1710535"/>
                </a:cubicBezTo>
                <a:close/>
                <a:moveTo>
                  <a:pt x="8914829" y="1710535"/>
                </a:moveTo>
                <a:cubicBezTo>
                  <a:pt x="8950543" y="1710535"/>
                  <a:pt x="8979495" y="1739485"/>
                  <a:pt x="8979495" y="1775201"/>
                </a:cubicBezTo>
                <a:cubicBezTo>
                  <a:pt x="8979495" y="1810913"/>
                  <a:pt x="8950543" y="1839865"/>
                  <a:pt x="8914829" y="1839865"/>
                </a:cubicBezTo>
                <a:cubicBezTo>
                  <a:pt x="8879115" y="1839865"/>
                  <a:pt x="8850163" y="1810913"/>
                  <a:pt x="8850163" y="1775201"/>
                </a:cubicBezTo>
                <a:cubicBezTo>
                  <a:pt x="8850163" y="1739485"/>
                  <a:pt x="8879115" y="1710535"/>
                  <a:pt x="8914829" y="1710535"/>
                </a:cubicBezTo>
                <a:close/>
                <a:moveTo>
                  <a:pt x="8766086" y="1710535"/>
                </a:moveTo>
                <a:cubicBezTo>
                  <a:pt x="8801800" y="1710535"/>
                  <a:pt x="8830752" y="1739485"/>
                  <a:pt x="8830752" y="1775201"/>
                </a:cubicBezTo>
                <a:cubicBezTo>
                  <a:pt x="8830752" y="1810913"/>
                  <a:pt x="8801800" y="1839865"/>
                  <a:pt x="8766086" y="1839865"/>
                </a:cubicBezTo>
                <a:cubicBezTo>
                  <a:pt x="8730372" y="1839865"/>
                  <a:pt x="8701420" y="1810913"/>
                  <a:pt x="8701420" y="1775201"/>
                </a:cubicBezTo>
                <a:cubicBezTo>
                  <a:pt x="8701420" y="1739485"/>
                  <a:pt x="8730372" y="1710535"/>
                  <a:pt x="8766086" y="1710535"/>
                </a:cubicBezTo>
                <a:close/>
                <a:moveTo>
                  <a:pt x="8601683" y="1710535"/>
                </a:moveTo>
                <a:cubicBezTo>
                  <a:pt x="8637397" y="1710535"/>
                  <a:pt x="8666349" y="1739485"/>
                  <a:pt x="8666349" y="1775201"/>
                </a:cubicBezTo>
                <a:cubicBezTo>
                  <a:pt x="8666349" y="1810913"/>
                  <a:pt x="8637397" y="1839865"/>
                  <a:pt x="8601683" y="1839865"/>
                </a:cubicBezTo>
                <a:cubicBezTo>
                  <a:pt x="8565969" y="1839865"/>
                  <a:pt x="8537017" y="1810913"/>
                  <a:pt x="8537017" y="1775201"/>
                </a:cubicBezTo>
                <a:cubicBezTo>
                  <a:pt x="8537017" y="1739485"/>
                  <a:pt x="8565969" y="1710535"/>
                  <a:pt x="8601683" y="1710535"/>
                </a:cubicBezTo>
                <a:close/>
                <a:moveTo>
                  <a:pt x="8449025" y="1710535"/>
                </a:moveTo>
                <a:cubicBezTo>
                  <a:pt x="8484739" y="1710535"/>
                  <a:pt x="8513691" y="1739485"/>
                  <a:pt x="8513691" y="1775201"/>
                </a:cubicBezTo>
                <a:cubicBezTo>
                  <a:pt x="8513691" y="1810913"/>
                  <a:pt x="8484739" y="1839865"/>
                  <a:pt x="8449025" y="1839865"/>
                </a:cubicBezTo>
                <a:cubicBezTo>
                  <a:pt x="8413311" y="1839865"/>
                  <a:pt x="8384359" y="1810913"/>
                  <a:pt x="8384359" y="1775201"/>
                </a:cubicBezTo>
                <a:cubicBezTo>
                  <a:pt x="8384359" y="1739485"/>
                  <a:pt x="8413311" y="1710535"/>
                  <a:pt x="8449025" y="1710535"/>
                </a:cubicBezTo>
                <a:close/>
                <a:moveTo>
                  <a:pt x="8296367" y="1710535"/>
                </a:moveTo>
                <a:cubicBezTo>
                  <a:pt x="8332081" y="1710535"/>
                  <a:pt x="8361033" y="1739485"/>
                  <a:pt x="8361033" y="1775201"/>
                </a:cubicBezTo>
                <a:cubicBezTo>
                  <a:pt x="8361033" y="1810913"/>
                  <a:pt x="8332081" y="1839865"/>
                  <a:pt x="8296367" y="1839865"/>
                </a:cubicBezTo>
                <a:cubicBezTo>
                  <a:pt x="8260653" y="1839865"/>
                  <a:pt x="8231701" y="1810913"/>
                  <a:pt x="8231701" y="1775201"/>
                </a:cubicBezTo>
                <a:cubicBezTo>
                  <a:pt x="8231701" y="1739485"/>
                  <a:pt x="8260653" y="1710535"/>
                  <a:pt x="8296367" y="1710535"/>
                </a:cubicBezTo>
                <a:close/>
                <a:moveTo>
                  <a:pt x="8139792" y="1710535"/>
                </a:moveTo>
                <a:cubicBezTo>
                  <a:pt x="8175506" y="1710535"/>
                  <a:pt x="8204458" y="1739485"/>
                  <a:pt x="8204458" y="1775201"/>
                </a:cubicBezTo>
                <a:cubicBezTo>
                  <a:pt x="8204458" y="1810913"/>
                  <a:pt x="8175506" y="1839865"/>
                  <a:pt x="8139792" y="1839865"/>
                </a:cubicBezTo>
                <a:cubicBezTo>
                  <a:pt x="8104078" y="1839865"/>
                  <a:pt x="8075126" y="1810913"/>
                  <a:pt x="8075126" y="1775201"/>
                </a:cubicBezTo>
                <a:cubicBezTo>
                  <a:pt x="8075126" y="1739485"/>
                  <a:pt x="8104078" y="1710535"/>
                  <a:pt x="8139792" y="1710535"/>
                </a:cubicBezTo>
                <a:close/>
                <a:moveTo>
                  <a:pt x="7987133" y="1710535"/>
                </a:moveTo>
                <a:cubicBezTo>
                  <a:pt x="8022847" y="1710535"/>
                  <a:pt x="8051799" y="1739485"/>
                  <a:pt x="8051799" y="1775201"/>
                </a:cubicBezTo>
                <a:cubicBezTo>
                  <a:pt x="8051799" y="1810913"/>
                  <a:pt x="8022847" y="1839865"/>
                  <a:pt x="7987133" y="1839865"/>
                </a:cubicBezTo>
                <a:cubicBezTo>
                  <a:pt x="7951419" y="1839865"/>
                  <a:pt x="7922467" y="1810913"/>
                  <a:pt x="7922467" y="1775201"/>
                </a:cubicBezTo>
                <a:cubicBezTo>
                  <a:pt x="7922467" y="1739485"/>
                  <a:pt x="7951419" y="1710535"/>
                  <a:pt x="7987133" y="1710535"/>
                </a:cubicBezTo>
                <a:close/>
                <a:moveTo>
                  <a:pt x="7830562" y="1710535"/>
                </a:moveTo>
                <a:cubicBezTo>
                  <a:pt x="7866276" y="1710535"/>
                  <a:pt x="7895228" y="1739485"/>
                  <a:pt x="7895228" y="1775201"/>
                </a:cubicBezTo>
                <a:cubicBezTo>
                  <a:pt x="7895228" y="1810913"/>
                  <a:pt x="7866276" y="1839865"/>
                  <a:pt x="7830562" y="1839865"/>
                </a:cubicBezTo>
                <a:cubicBezTo>
                  <a:pt x="7794848" y="1839865"/>
                  <a:pt x="7765896" y="1810913"/>
                  <a:pt x="7765896" y="1775201"/>
                </a:cubicBezTo>
                <a:cubicBezTo>
                  <a:pt x="7765896" y="1739485"/>
                  <a:pt x="7794848" y="1710535"/>
                  <a:pt x="7830562" y="1710535"/>
                </a:cubicBezTo>
                <a:close/>
                <a:moveTo>
                  <a:pt x="7677902" y="1710535"/>
                </a:moveTo>
                <a:cubicBezTo>
                  <a:pt x="7713616" y="1710535"/>
                  <a:pt x="7742568" y="1739485"/>
                  <a:pt x="7742568" y="1775201"/>
                </a:cubicBezTo>
                <a:cubicBezTo>
                  <a:pt x="7742568" y="1810913"/>
                  <a:pt x="7713616" y="1839865"/>
                  <a:pt x="7677902" y="1839865"/>
                </a:cubicBezTo>
                <a:cubicBezTo>
                  <a:pt x="7642188" y="1839865"/>
                  <a:pt x="7613236" y="1810913"/>
                  <a:pt x="7613236" y="1775201"/>
                </a:cubicBezTo>
                <a:cubicBezTo>
                  <a:pt x="7613236" y="1739485"/>
                  <a:pt x="7642188" y="1710535"/>
                  <a:pt x="7677902" y="1710535"/>
                </a:cubicBezTo>
                <a:close/>
                <a:moveTo>
                  <a:pt x="7521329" y="1710535"/>
                </a:moveTo>
                <a:cubicBezTo>
                  <a:pt x="7557043" y="1710535"/>
                  <a:pt x="7585995" y="1739485"/>
                  <a:pt x="7585995" y="1775201"/>
                </a:cubicBezTo>
                <a:cubicBezTo>
                  <a:pt x="7585995" y="1810913"/>
                  <a:pt x="7557043" y="1839865"/>
                  <a:pt x="7521329" y="1839865"/>
                </a:cubicBezTo>
                <a:cubicBezTo>
                  <a:pt x="7485615" y="1839865"/>
                  <a:pt x="7456663" y="1810913"/>
                  <a:pt x="7456663" y="1775201"/>
                </a:cubicBezTo>
                <a:cubicBezTo>
                  <a:pt x="7456663" y="1739485"/>
                  <a:pt x="7485615" y="1710535"/>
                  <a:pt x="7521329" y="1710535"/>
                </a:cubicBezTo>
                <a:close/>
                <a:moveTo>
                  <a:pt x="7368669" y="1710535"/>
                </a:moveTo>
                <a:cubicBezTo>
                  <a:pt x="7404383" y="1710535"/>
                  <a:pt x="7433335" y="1739485"/>
                  <a:pt x="7433335" y="1775201"/>
                </a:cubicBezTo>
                <a:cubicBezTo>
                  <a:pt x="7433335" y="1810913"/>
                  <a:pt x="7404383" y="1839865"/>
                  <a:pt x="7368669" y="1839865"/>
                </a:cubicBezTo>
                <a:cubicBezTo>
                  <a:pt x="7332955" y="1839865"/>
                  <a:pt x="7304003" y="1810913"/>
                  <a:pt x="7304003" y="1775201"/>
                </a:cubicBezTo>
                <a:cubicBezTo>
                  <a:pt x="7304003" y="1739485"/>
                  <a:pt x="7332955" y="1710535"/>
                  <a:pt x="7368669" y="1710535"/>
                </a:cubicBezTo>
                <a:close/>
                <a:moveTo>
                  <a:pt x="7212096" y="1710535"/>
                </a:moveTo>
                <a:cubicBezTo>
                  <a:pt x="7247810" y="1710535"/>
                  <a:pt x="7276762" y="1739485"/>
                  <a:pt x="7276762" y="1775201"/>
                </a:cubicBezTo>
                <a:cubicBezTo>
                  <a:pt x="7276762" y="1810913"/>
                  <a:pt x="7247810" y="1839865"/>
                  <a:pt x="7212096" y="1839865"/>
                </a:cubicBezTo>
                <a:cubicBezTo>
                  <a:pt x="7176382" y="1839865"/>
                  <a:pt x="7147430" y="1810913"/>
                  <a:pt x="7147430" y="1775201"/>
                </a:cubicBezTo>
                <a:cubicBezTo>
                  <a:pt x="7147430" y="1739485"/>
                  <a:pt x="7176382" y="1710535"/>
                  <a:pt x="7212096" y="1710535"/>
                </a:cubicBezTo>
                <a:close/>
                <a:moveTo>
                  <a:pt x="7055523" y="1710535"/>
                </a:moveTo>
                <a:cubicBezTo>
                  <a:pt x="7091237" y="1710535"/>
                  <a:pt x="7120189" y="1739485"/>
                  <a:pt x="7120189" y="1775201"/>
                </a:cubicBezTo>
                <a:cubicBezTo>
                  <a:pt x="7120189" y="1810913"/>
                  <a:pt x="7091237" y="1839865"/>
                  <a:pt x="7055523" y="1839865"/>
                </a:cubicBezTo>
                <a:cubicBezTo>
                  <a:pt x="7019809" y="1839865"/>
                  <a:pt x="6990857" y="1810913"/>
                  <a:pt x="6990857" y="1775201"/>
                </a:cubicBezTo>
                <a:cubicBezTo>
                  <a:pt x="6990857" y="1739485"/>
                  <a:pt x="7019809" y="1710535"/>
                  <a:pt x="7055523" y="1710535"/>
                </a:cubicBezTo>
                <a:close/>
                <a:moveTo>
                  <a:pt x="6895037" y="1710535"/>
                </a:moveTo>
                <a:cubicBezTo>
                  <a:pt x="6930751" y="1710535"/>
                  <a:pt x="6959703" y="1739485"/>
                  <a:pt x="6959703" y="1775201"/>
                </a:cubicBezTo>
                <a:cubicBezTo>
                  <a:pt x="6959703" y="1810913"/>
                  <a:pt x="6930751" y="1839865"/>
                  <a:pt x="6895037" y="1839865"/>
                </a:cubicBezTo>
                <a:cubicBezTo>
                  <a:pt x="6859323" y="1839865"/>
                  <a:pt x="6830371" y="1810913"/>
                  <a:pt x="6830371" y="1775201"/>
                </a:cubicBezTo>
                <a:cubicBezTo>
                  <a:pt x="6830371" y="1739485"/>
                  <a:pt x="6859323" y="1710535"/>
                  <a:pt x="6895037" y="1710535"/>
                </a:cubicBezTo>
                <a:close/>
                <a:moveTo>
                  <a:pt x="6742375" y="1710535"/>
                </a:moveTo>
                <a:cubicBezTo>
                  <a:pt x="6778089" y="1710535"/>
                  <a:pt x="6807041" y="1739485"/>
                  <a:pt x="6807041" y="1775201"/>
                </a:cubicBezTo>
                <a:cubicBezTo>
                  <a:pt x="6807041" y="1810913"/>
                  <a:pt x="6778089" y="1839865"/>
                  <a:pt x="6742375" y="1839865"/>
                </a:cubicBezTo>
                <a:cubicBezTo>
                  <a:pt x="6706661" y="1839865"/>
                  <a:pt x="6677709" y="1810913"/>
                  <a:pt x="6677709" y="1775201"/>
                </a:cubicBezTo>
                <a:cubicBezTo>
                  <a:pt x="6677709" y="1739485"/>
                  <a:pt x="6706661" y="1710535"/>
                  <a:pt x="6742375" y="1710535"/>
                </a:cubicBezTo>
                <a:close/>
                <a:moveTo>
                  <a:pt x="6585802" y="1710535"/>
                </a:moveTo>
                <a:cubicBezTo>
                  <a:pt x="6621516" y="1710535"/>
                  <a:pt x="6650468" y="1739485"/>
                  <a:pt x="6650468" y="1775201"/>
                </a:cubicBezTo>
                <a:cubicBezTo>
                  <a:pt x="6650468" y="1810913"/>
                  <a:pt x="6621516" y="1839865"/>
                  <a:pt x="6585802" y="1839865"/>
                </a:cubicBezTo>
                <a:cubicBezTo>
                  <a:pt x="6550088" y="1839865"/>
                  <a:pt x="6521136" y="1810913"/>
                  <a:pt x="6521136" y="1775201"/>
                </a:cubicBezTo>
                <a:cubicBezTo>
                  <a:pt x="6521136" y="1739485"/>
                  <a:pt x="6550088" y="1710535"/>
                  <a:pt x="6585802" y="1710535"/>
                </a:cubicBezTo>
                <a:close/>
                <a:moveTo>
                  <a:pt x="6429229" y="1710535"/>
                </a:moveTo>
                <a:cubicBezTo>
                  <a:pt x="6464943" y="1710535"/>
                  <a:pt x="6493895" y="1739485"/>
                  <a:pt x="6493895" y="1775201"/>
                </a:cubicBezTo>
                <a:cubicBezTo>
                  <a:pt x="6493895" y="1810913"/>
                  <a:pt x="6464943" y="1839865"/>
                  <a:pt x="6429229" y="1839865"/>
                </a:cubicBezTo>
                <a:cubicBezTo>
                  <a:pt x="6393515" y="1839865"/>
                  <a:pt x="6364563" y="1810913"/>
                  <a:pt x="6364563" y="1775201"/>
                </a:cubicBezTo>
                <a:cubicBezTo>
                  <a:pt x="6364563" y="1739485"/>
                  <a:pt x="6393515" y="1710535"/>
                  <a:pt x="6429229" y="1710535"/>
                </a:cubicBezTo>
                <a:close/>
                <a:moveTo>
                  <a:pt x="6276571" y="1710535"/>
                </a:moveTo>
                <a:cubicBezTo>
                  <a:pt x="6312285" y="1710535"/>
                  <a:pt x="6341237" y="1739485"/>
                  <a:pt x="6341237" y="1775201"/>
                </a:cubicBezTo>
                <a:cubicBezTo>
                  <a:pt x="6341237" y="1810913"/>
                  <a:pt x="6312285" y="1839865"/>
                  <a:pt x="6276571" y="1839865"/>
                </a:cubicBezTo>
                <a:cubicBezTo>
                  <a:pt x="6240857" y="1839865"/>
                  <a:pt x="6211905" y="1810913"/>
                  <a:pt x="6211905" y="1775201"/>
                </a:cubicBezTo>
                <a:cubicBezTo>
                  <a:pt x="6211905" y="1739485"/>
                  <a:pt x="6240857" y="1710535"/>
                  <a:pt x="6276571" y="1710535"/>
                </a:cubicBezTo>
                <a:close/>
                <a:moveTo>
                  <a:pt x="6119999" y="1710535"/>
                </a:moveTo>
                <a:cubicBezTo>
                  <a:pt x="6155713" y="1710535"/>
                  <a:pt x="6184665" y="1739485"/>
                  <a:pt x="6184665" y="1775201"/>
                </a:cubicBezTo>
                <a:cubicBezTo>
                  <a:pt x="6184665" y="1810913"/>
                  <a:pt x="6155713" y="1839865"/>
                  <a:pt x="6119999" y="1839865"/>
                </a:cubicBezTo>
                <a:cubicBezTo>
                  <a:pt x="6084285" y="1839865"/>
                  <a:pt x="6055333" y="1810913"/>
                  <a:pt x="6055333" y="1775201"/>
                </a:cubicBezTo>
                <a:cubicBezTo>
                  <a:pt x="6055333" y="1739485"/>
                  <a:pt x="6084285" y="1710535"/>
                  <a:pt x="6119999" y="1710535"/>
                </a:cubicBezTo>
                <a:close/>
                <a:moveTo>
                  <a:pt x="5967338" y="1710535"/>
                </a:moveTo>
                <a:cubicBezTo>
                  <a:pt x="6003052" y="1710535"/>
                  <a:pt x="6032004" y="1739485"/>
                  <a:pt x="6032004" y="1775201"/>
                </a:cubicBezTo>
                <a:cubicBezTo>
                  <a:pt x="6032004" y="1810913"/>
                  <a:pt x="6003052" y="1839865"/>
                  <a:pt x="5967338" y="1839865"/>
                </a:cubicBezTo>
                <a:cubicBezTo>
                  <a:pt x="5931624" y="1839865"/>
                  <a:pt x="5902672" y="1810913"/>
                  <a:pt x="5902672" y="1775201"/>
                </a:cubicBezTo>
                <a:cubicBezTo>
                  <a:pt x="5902672" y="1739485"/>
                  <a:pt x="5931624" y="1710535"/>
                  <a:pt x="5967338" y="1710535"/>
                </a:cubicBezTo>
                <a:close/>
                <a:moveTo>
                  <a:pt x="5810800" y="1710535"/>
                </a:moveTo>
                <a:cubicBezTo>
                  <a:pt x="5846479" y="1710535"/>
                  <a:pt x="5875431" y="1739485"/>
                  <a:pt x="5875431" y="1775201"/>
                </a:cubicBezTo>
                <a:cubicBezTo>
                  <a:pt x="5875431" y="1810913"/>
                  <a:pt x="5846479" y="1839865"/>
                  <a:pt x="5810800" y="1839865"/>
                </a:cubicBezTo>
                <a:cubicBezTo>
                  <a:pt x="5775077" y="1839865"/>
                  <a:pt x="5746117" y="1810913"/>
                  <a:pt x="5746117" y="1775201"/>
                </a:cubicBezTo>
                <a:cubicBezTo>
                  <a:pt x="5746117" y="1739485"/>
                  <a:pt x="5775077" y="1710535"/>
                  <a:pt x="5810800" y="1710535"/>
                </a:cubicBezTo>
                <a:close/>
                <a:moveTo>
                  <a:pt x="5658108" y="1710535"/>
                </a:moveTo>
                <a:cubicBezTo>
                  <a:pt x="5693823" y="1710535"/>
                  <a:pt x="5722783" y="1739485"/>
                  <a:pt x="5722783" y="1775201"/>
                </a:cubicBezTo>
                <a:cubicBezTo>
                  <a:pt x="5722783" y="1810913"/>
                  <a:pt x="5693823" y="1839865"/>
                  <a:pt x="5658108" y="1839865"/>
                </a:cubicBezTo>
                <a:cubicBezTo>
                  <a:pt x="5622397" y="1839865"/>
                  <a:pt x="5593441" y="1810913"/>
                  <a:pt x="5593441" y="1775201"/>
                </a:cubicBezTo>
                <a:cubicBezTo>
                  <a:pt x="5593441" y="1739485"/>
                  <a:pt x="5622397" y="1710535"/>
                  <a:pt x="5658108" y="1710535"/>
                </a:cubicBezTo>
                <a:close/>
                <a:moveTo>
                  <a:pt x="5501543" y="1710535"/>
                </a:moveTo>
                <a:cubicBezTo>
                  <a:pt x="5537254" y="1710535"/>
                  <a:pt x="5566205" y="1739485"/>
                  <a:pt x="5566205" y="1775201"/>
                </a:cubicBezTo>
                <a:cubicBezTo>
                  <a:pt x="5566205" y="1810913"/>
                  <a:pt x="5537254" y="1839865"/>
                  <a:pt x="5501543" y="1839865"/>
                </a:cubicBezTo>
                <a:cubicBezTo>
                  <a:pt x="5465830" y="1839865"/>
                  <a:pt x="5436886" y="1810913"/>
                  <a:pt x="5436886" y="1775201"/>
                </a:cubicBezTo>
                <a:cubicBezTo>
                  <a:pt x="5436886" y="1739485"/>
                  <a:pt x="5465830" y="1710535"/>
                  <a:pt x="5501543" y="1710535"/>
                </a:cubicBezTo>
                <a:close/>
                <a:moveTo>
                  <a:pt x="5348888" y="1710535"/>
                </a:moveTo>
                <a:cubicBezTo>
                  <a:pt x="5384604" y="1710535"/>
                  <a:pt x="5413554" y="1739485"/>
                  <a:pt x="5413554" y="1775201"/>
                </a:cubicBezTo>
                <a:cubicBezTo>
                  <a:pt x="5413554" y="1810913"/>
                  <a:pt x="5384604" y="1839865"/>
                  <a:pt x="5348888" y="1839865"/>
                </a:cubicBezTo>
                <a:cubicBezTo>
                  <a:pt x="5313189" y="1839865"/>
                  <a:pt x="5284230" y="1810913"/>
                  <a:pt x="5284230" y="1775201"/>
                </a:cubicBezTo>
                <a:cubicBezTo>
                  <a:pt x="5284230" y="1739485"/>
                  <a:pt x="5313189" y="1710535"/>
                  <a:pt x="5348888" y="1710535"/>
                </a:cubicBezTo>
                <a:close/>
                <a:moveTo>
                  <a:pt x="5192321" y="1710535"/>
                </a:moveTo>
                <a:cubicBezTo>
                  <a:pt x="5228040" y="1710535"/>
                  <a:pt x="5256982" y="1739485"/>
                  <a:pt x="5256982" y="1775201"/>
                </a:cubicBezTo>
                <a:cubicBezTo>
                  <a:pt x="5256982" y="1810913"/>
                  <a:pt x="5228040" y="1839865"/>
                  <a:pt x="5192321" y="1839865"/>
                </a:cubicBezTo>
                <a:cubicBezTo>
                  <a:pt x="5156613" y="1839865"/>
                  <a:pt x="5127656" y="1810913"/>
                  <a:pt x="5127656" y="1775201"/>
                </a:cubicBezTo>
                <a:cubicBezTo>
                  <a:pt x="5127656" y="1739485"/>
                  <a:pt x="5156613" y="1710535"/>
                  <a:pt x="5192321" y="1710535"/>
                </a:cubicBezTo>
                <a:close/>
                <a:moveTo>
                  <a:pt x="3630603" y="1710535"/>
                </a:moveTo>
                <a:cubicBezTo>
                  <a:pt x="3666311" y="1710535"/>
                  <a:pt x="3695268" y="1739485"/>
                  <a:pt x="3695268" y="1775201"/>
                </a:cubicBezTo>
                <a:cubicBezTo>
                  <a:pt x="3695268" y="1810913"/>
                  <a:pt x="3666311" y="1839865"/>
                  <a:pt x="3630603" y="1839865"/>
                </a:cubicBezTo>
                <a:cubicBezTo>
                  <a:pt x="3594880" y="1839865"/>
                  <a:pt x="3565924" y="1810913"/>
                  <a:pt x="3565924" y="1775201"/>
                </a:cubicBezTo>
                <a:cubicBezTo>
                  <a:pt x="3565924" y="1739485"/>
                  <a:pt x="3594880" y="1710535"/>
                  <a:pt x="3630603" y="1710535"/>
                </a:cubicBezTo>
                <a:close/>
                <a:moveTo>
                  <a:pt x="3481848" y="1710535"/>
                </a:moveTo>
                <a:cubicBezTo>
                  <a:pt x="3517561" y="1710535"/>
                  <a:pt x="3546518" y="1739485"/>
                  <a:pt x="3546518" y="1775201"/>
                </a:cubicBezTo>
                <a:cubicBezTo>
                  <a:pt x="3546518" y="1810913"/>
                  <a:pt x="3517561" y="1839865"/>
                  <a:pt x="3481848" y="1839865"/>
                </a:cubicBezTo>
                <a:cubicBezTo>
                  <a:pt x="3446141" y="1839865"/>
                  <a:pt x="3417193" y="1810913"/>
                  <a:pt x="3417193" y="1775201"/>
                </a:cubicBezTo>
                <a:cubicBezTo>
                  <a:pt x="3417193" y="1739485"/>
                  <a:pt x="3446141" y="1710535"/>
                  <a:pt x="3481848" y="1710535"/>
                </a:cubicBezTo>
                <a:close/>
                <a:moveTo>
                  <a:pt x="3321383" y="1710535"/>
                </a:moveTo>
                <a:cubicBezTo>
                  <a:pt x="3357095" y="1710535"/>
                  <a:pt x="3386026" y="1739485"/>
                  <a:pt x="3386026" y="1775201"/>
                </a:cubicBezTo>
                <a:cubicBezTo>
                  <a:pt x="3386026" y="1810913"/>
                  <a:pt x="3357095" y="1839865"/>
                  <a:pt x="3321383" y="1839865"/>
                </a:cubicBezTo>
                <a:cubicBezTo>
                  <a:pt x="3285663" y="1839865"/>
                  <a:pt x="3256721" y="1810913"/>
                  <a:pt x="3256721" y="1775201"/>
                </a:cubicBezTo>
                <a:cubicBezTo>
                  <a:pt x="3256721" y="1739485"/>
                  <a:pt x="3285663" y="1710535"/>
                  <a:pt x="3321383" y="1710535"/>
                </a:cubicBezTo>
                <a:close/>
                <a:moveTo>
                  <a:pt x="3172630" y="1710535"/>
                </a:moveTo>
                <a:cubicBezTo>
                  <a:pt x="3208353" y="1710535"/>
                  <a:pt x="3237304" y="1739485"/>
                  <a:pt x="3237304" y="1775201"/>
                </a:cubicBezTo>
                <a:cubicBezTo>
                  <a:pt x="3237304" y="1810913"/>
                  <a:pt x="3208353" y="1839865"/>
                  <a:pt x="3172630" y="1839865"/>
                </a:cubicBezTo>
                <a:cubicBezTo>
                  <a:pt x="3136907" y="1839865"/>
                  <a:pt x="3107947" y="1810913"/>
                  <a:pt x="3107947" y="1775201"/>
                </a:cubicBezTo>
                <a:cubicBezTo>
                  <a:pt x="3107947" y="1739485"/>
                  <a:pt x="3136907" y="1710535"/>
                  <a:pt x="3172630" y="1710535"/>
                </a:cubicBezTo>
                <a:close/>
                <a:moveTo>
                  <a:pt x="3012113" y="1710535"/>
                </a:moveTo>
                <a:cubicBezTo>
                  <a:pt x="3047824" y="1710535"/>
                  <a:pt x="3076783" y="1739485"/>
                  <a:pt x="3076783" y="1775201"/>
                </a:cubicBezTo>
                <a:cubicBezTo>
                  <a:pt x="3076783" y="1810913"/>
                  <a:pt x="3047824" y="1839865"/>
                  <a:pt x="3012113" y="1839865"/>
                </a:cubicBezTo>
                <a:cubicBezTo>
                  <a:pt x="2976404" y="1839865"/>
                  <a:pt x="2947457" y="1810913"/>
                  <a:pt x="2947457" y="1775201"/>
                </a:cubicBezTo>
                <a:cubicBezTo>
                  <a:pt x="2947457" y="1739485"/>
                  <a:pt x="2976404" y="1710535"/>
                  <a:pt x="3012113" y="1710535"/>
                </a:cubicBezTo>
                <a:close/>
                <a:moveTo>
                  <a:pt x="2855561" y="1710535"/>
                </a:moveTo>
                <a:cubicBezTo>
                  <a:pt x="2891270" y="1710535"/>
                  <a:pt x="2920218" y="1739485"/>
                  <a:pt x="2920218" y="1775201"/>
                </a:cubicBezTo>
                <a:cubicBezTo>
                  <a:pt x="2920218" y="1810913"/>
                  <a:pt x="2891270" y="1839865"/>
                  <a:pt x="2855561" y="1839865"/>
                </a:cubicBezTo>
                <a:cubicBezTo>
                  <a:pt x="2819852" y="1839865"/>
                  <a:pt x="2790904" y="1810913"/>
                  <a:pt x="2790904" y="1775201"/>
                </a:cubicBezTo>
                <a:cubicBezTo>
                  <a:pt x="2790904" y="1739485"/>
                  <a:pt x="2819852" y="1710535"/>
                  <a:pt x="2855561" y="1710535"/>
                </a:cubicBezTo>
                <a:close/>
                <a:moveTo>
                  <a:pt x="2699010" y="1710535"/>
                </a:moveTo>
                <a:cubicBezTo>
                  <a:pt x="2734719" y="1710535"/>
                  <a:pt x="2763667" y="1739485"/>
                  <a:pt x="2763667" y="1775201"/>
                </a:cubicBezTo>
                <a:cubicBezTo>
                  <a:pt x="2763667" y="1810913"/>
                  <a:pt x="2734719" y="1839865"/>
                  <a:pt x="2699010" y="1839865"/>
                </a:cubicBezTo>
                <a:cubicBezTo>
                  <a:pt x="2663301" y="1839865"/>
                  <a:pt x="2634353" y="1810913"/>
                  <a:pt x="2634353" y="1775201"/>
                </a:cubicBezTo>
                <a:cubicBezTo>
                  <a:pt x="2634353" y="1739485"/>
                  <a:pt x="2663301" y="1710535"/>
                  <a:pt x="2699010" y="1710535"/>
                </a:cubicBezTo>
                <a:close/>
                <a:moveTo>
                  <a:pt x="2546372" y="1710535"/>
                </a:moveTo>
                <a:cubicBezTo>
                  <a:pt x="2582081" y="1710535"/>
                  <a:pt x="2611030" y="1739485"/>
                  <a:pt x="2611030" y="1775201"/>
                </a:cubicBezTo>
                <a:cubicBezTo>
                  <a:pt x="2611030" y="1810913"/>
                  <a:pt x="2582081" y="1839865"/>
                  <a:pt x="2546372" y="1839865"/>
                </a:cubicBezTo>
                <a:cubicBezTo>
                  <a:pt x="2510649" y="1839865"/>
                  <a:pt x="2481712" y="1810913"/>
                  <a:pt x="2481712" y="1775201"/>
                </a:cubicBezTo>
                <a:cubicBezTo>
                  <a:pt x="2481712" y="1739485"/>
                  <a:pt x="2510649" y="1710535"/>
                  <a:pt x="2546372" y="1710535"/>
                </a:cubicBezTo>
                <a:close/>
                <a:moveTo>
                  <a:pt x="2389782" y="1710535"/>
                </a:moveTo>
                <a:cubicBezTo>
                  <a:pt x="2425527" y="1710535"/>
                  <a:pt x="2454476" y="1739485"/>
                  <a:pt x="2454476" y="1775201"/>
                </a:cubicBezTo>
                <a:cubicBezTo>
                  <a:pt x="2454476" y="1810913"/>
                  <a:pt x="2425527" y="1839865"/>
                  <a:pt x="2389782" y="1839865"/>
                </a:cubicBezTo>
                <a:cubicBezTo>
                  <a:pt x="2354097" y="1839865"/>
                  <a:pt x="2325139" y="1810913"/>
                  <a:pt x="2325139" y="1775201"/>
                </a:cubicBezTo>
                <a:cubicBezTo>
                  <a:pt x="2325139" y="1739485"/>
                  <a:pt x="2354097" y="1710535"/>
                  <a:pt x="2389782" y="1710535"/>
                </a:cubicBezTo>
                <a:close/>
                <a:moveTo>
                  <a:pt x="2237121" y="1710535"/>
                </a:moveTo>
                <a:cubicBezTo>
                  <a:pt x="2272845" y="1710535"/>
                  <a:pt x="2301804" y="1739485"/>
                  <a:pt x="2301804" y="1775201"/>
                </a:cubicBezTo>
                <a:cubicBezTo>
                  <a:pt x="2301804" y="1810913"/>
                  <a:pt x="2272845" y="1839865"/>
                  <a:pt x="2237121" y="1839865"/>
                </a:cubicBezTo>
                <a:cubicBezTo>
                  <a:pt x="2201397" y="1839865"/>
                  <a:pt x="2172438" y="1810913"/>
                  <a:pt x="2172438" y="1775201"/>
                </a:cubicBezTo>
                <a:cubicBezTo>
                  <a:pt x="2172438" y="1739485"/>
                  <a:pt x="2201397" y="1710535"/>
                  <a:pt x="2237121" y="1710535"/>
                </a:cubicBezTo>
                <a:close/>
                <a:moveTo>
                  <a:pt x="2084441" y="1710535"/>
                </a:moveTo>
                <a:cubicBezTo>
                  <a:pt x="2120153" y="1710535"/>
                  <a:pt x="2149104" y="1739485"/>
                  <a:pt x="2149104" y="1775201"/>
                </a:cubicBezTo>
                <a:cubicBezTo>
                  <a:pt x="2149104" y="1810913"/>
                  <a:pt x="2120153" y="1839865"/>
                  <a:pt x="2084441" y="1839865"/>
                </a:cubicBezTo>
                <a:cubicBezTo>
                  <a:pt x="2048713" y="1839865"/>
                  <a:pt x="2019794" y="1810913"/>
                  <a:pt x="2019794" y="1775201"/>
                </a:cubicBezTo>
                <a:cubicBezTo>
                  <a:pt x="2019794" y="1739485"/>
                  <a:pt x="2048713" y="1710535"/>
                  <a:pt x="2084441" y="1710535"/>
                </a:cubicBezTo>
                <a:close/>
                <a:moveTo>
                  <a:pt x="1927857" y="1710535"/>
                </a:moveTo>
                <a:cubicBezTo>
                  <a:pt x="1963566" y="1710535"/>
                  <a:pt x="1992543" y="1739485"/>
                  <a:pt x="1992543" y="1775201"/>
                </a:cubicBezTo>
                <a:cubicBezTo>
                  <a:pt x="1992543" y="1810913"/>
                  <a:pt x="1963566" y="1839865"/>
                  <a:pt x="1927857" y="1839865"/>
                </a:cubicBezTo>
                <a:cubicBezTo>
                  <a:pt x="1892173" y="1839865"/>
                  <a:pt x="1863219" y="1810913"/>
                  <a:pt x="1863219" y="1775201"/>
                </a:cubicBezTo>
                <a:cubicBezTo>
                  <a:pt x="1863219" y="1739485"/>
                  <a:pt x="1892173" y="1710535"/>
                  <a:pt x="1927857" y="1710535"/>
                </a:cubicBezTo>
                <a:close/>
                <a:moveTo>
                  <a:pt x="1775206" y="1710535"/>
                </a:moveTo>
                <a:cubicBezTo>
                  <a:pt x="1810911" y="1710535"/>
                  <a:pt x="1839889" y="1739485"/>
                  <a:pt x="1839889" y="1775201"/>
                </a:cubicBezTo>
                <a:cubicBezTo>
                  <a:pt x="1839889" y="1810913"/>
                  <a:pt x="1810911" y="1839865"/>
                  <a:pt x="1775206" y="1839865"/>
                </a:cubicBezTo>
                <a:cubicBezTo>
                  <a:pt x="1739487" y="1839865"/>
                  <a:pt x="1710535" y="1810913"/>
                  <a:pt x="1710535" y="1775201"/>
                </a:cubicBezTo>
                <a:cubicBezTo>
                  <a:pt x="1710535" y="1739485"/>
                  <a:pt x="1739487" y="1710535"/>
                  <a:pt x="1775206" y="1710535"/>
                </a:cubicBezTo>
                <a:close/>
                <a:moveTo>
                  <a:pt x="1618624" y="1710535"/>
                </a:moveTo>
                <a:cubicBezTo>
                  <a:pt x="1654343" y="1710535"/>
                  <a:pt x="1683293" y="1739485"/>
                  <a:pt x="1683293" y="1775201"/>
                </a:cubicBezTo>
                <a:cubicBezTo>
                  <a:pt x="1683293" y="1810913"/>
                  <a:pt x="1654343" y="1839865"/>
                  <a:pt x="1618624" y="1839865"/>
                </a:cubicBezTo>
                <a:cubicBezTo>
                  <a:pt x="1582913" y="1839865"/>
                  <a:pt x="1553961" y="1810913"/>
                  <a:pt x="1553961" y="1775201"/>
                </a:cubicBezTo>
                <a:cubicBezTo>
                  <a:pt x="1553961" y="1739485"/>
                  <a:pt x="1582913" y="1710535"/>
                  <a:pt x="1618624" y="1710535"/>
                </a:cubicBezTo>
                <a:close/>
                <a:moveTo>
                  <a:pt x="1465967" y="1710535"/>
                </a:moveTo>
                <a:cubicBezTo>
                  <a:pt x="1501681" y="1710535"/>
                  <a:pt x="1530634" y="1739485"/>
                  <a:pt x="1530634" y="1775201"/>
                </a:cubicBezTo>
                <a:cubicBezTo>
                  <a:pt x="1530634" y="1810913"/>
                  <a:pt x="1501681" y="1839865"/>
                  <a:pt x="1465967" y="1839865"/>
                </a:cubicBezTo>
                <a:cubicBezTo>
                  <a:pt x="1430254" y="1839865"/>
                  <a:pt x="1401304" y="1810913"/>
                  <a:pt x="1401304" y="1775201"/>
                </a:cubicBezTo>
                <a:cubicBezTo>
                  <a:pt x="1401304" y="1739485"/>
                  <a:pt x="1430254" y="1710535"/>
                  <a:pt x="1465967" y="1710535"/>
                </a:cubicBezTo>
                <a:close/>
                <a:moveTo>
                  <a:pt x="1309394" y="1710535"/>
                </a:moveTo>
                <a:cubicBezTo>
                  <a:pt x="1345108" y="1710535"/>
                  <a:pt x="1374060" y="1739485"/>
                  <a:pt x="1374060" y="1775201"/>
                </a:cubicBezTo>
                <a:cubicBezTo>
                  <a:pt x="1374060" y="1810913"/>
                  <a:pt x="1345108" y="1839865"/>
                  <a:pt x="1309394" y="1839865"/>
                </a:cubicBezTo>
                <a:cubicBezTo>
                  <a:pt x="1273680" y="1839865"/>
                  <a:pt x="1244728" y="1810913"/>
                  <a:pt x="1244728" y="1775201"/>
                </a:cubicBezTo>
                <a:cubicBezTo>
                  <a:pt x="1244728" y="1739485"/>
                  <a:pt x="1273680" y="1710535"/>
                  <a:pt x="1309394" y="1710535"/>
                </a:cubicBezTo>
                <a:close/>
                <a:moveTo>
                  <a:pt x="1148909" y="1710535"/>
                </a:moveTo>
                <a:cubicBezTo>
                  <a:pt x="1184623" y="1710535"/>
                  <a:pt x="1213575" y="1739485"/>
                  <a:pt x="1213575" y="1775201"/>
                </a:cubicBezTo>
                <a:cubicBezTo>
                  <a:pt x="1213575" y="1810913"/>
                  <a:pt x="1184623" y="1839865"/>
                  <a:pt x="1148909" y="1839865"/>
                </a:cubicBezTo>
                <a:cubicBezTo>
                  <a:pt x="1113196" y="1839865"/>
                  <a:pt x="1084244" y="1810913"/>
                  <a:pt x="1084244" y="1775201"/>
                </a:cubicBezTo>
                <a:cubicBezTo>
                  <a:pt x="1084244" y="1739485"/>
                  <a:pt x="1113196" y="1710535"/>
                  <a:pt x="1148909" y="1710535"/>
                </a:cubicBezTo>
                <a:close/>
                <a:moveTo>
                  <a:pt x="8914829" y="1565709"/>
                </a:moveTo>
                <a:cubicBezTo>
                  <a:pt x="8950543" y="1565709"/>
                  <a:pt x="8979495" y="1594659"/>
                  <a:pt x="8979495" y="1630374"/>
                </a:cubicBezTo>
                <a:cubicBezTo>
                  <a:pt x="8979495" y="1666088"/>
                  <a:pt x="8950543" y="1695039"/>
                  <a:pt x="8914829" y="1695039"/>
                </a:cubicBezTo>
                <a:cubicBezTo>
                  <a:pt x="8879115" y="1695039"/>
                  <a:pt x="8850163" y="1666088"/>
                  <a:pt x="8850163" y="1630374"/>
                </a:cubicBezTo>
                <a:cubicBezTo>
                  <a:pt x="8850163" y="1594659"/>
                  <a:pt x="8879115" y="1565709"/>
                  <a:pt x="8914829" y="1565709"/>
                </a:cubicBezTo>
                <a:close/>
                <a:moveTo>
                  <a:pt x="8766086" y="1565709"/>
                </a:moveTo>
                <a:cubicBezTo>
                  <a:pt x="8801800" y="1565709"/>
                  <a:pt x="8830752" y="1594659"/>
                  <a:pt x="8830752" y="1630374"/>
                </a:cubicBezTo>
                <a:cubicBezTo>
                  <a:pt x="8830752" y="1666088"/>
                  <a:pt x="8801800" y="1695039"/>
                  <a:pt x="8766086" y="1695039"/>
                </a:cubicBezTo>
                <a:cubicBezTo>
                  <a:pt x="8730372" y="1695039"/>
                  <a:pt x="8701420" y="1666088"/>
                  <a:pt x="8701420" y="1630374"/>
                </a:cubicBezTo>
                <a:cubicBezTo>
                  <a:pt x="8701420" y="1594659"/>
                  <a:pt x="8730372" y="1565709"/>
                  <a:pt x="8766086" y="1565709"/>
                </a:cubicBezTo>
                <a:close/>
                <a:moveTo>
                  <a:pt x="8601683" y="1565709"/>
                </a:moveTo>
                <a:cubicBezTo>
                  <a:pt x="8637397" y="1565709"/>
                  <a:pt x="8666349" y="1594659"/>
                  <a:pt x="8666349" y="1630374"/>
                </a:cubicBezTo>
                <a:cubicBezTo>
                  <a:pt x="8666349" y="1666088"/>
                  <a:pt x="8637397" y="1695039"/>
                  <a:pt x="8601683" y="1695039"/>
                </a:cubicBezTo>
                <a:cubicBezTo>
                  <a:pt x="8565969" y="1695039"/>
                  <a:pt x="8537017" y="1666088"/>
                  <a:pt x="8537017" y="1630374"/>
                </a:cubicBezTo>
                <a:cubicBezTo>
                  <a:pt x="8537017" y="1594659"/>
                  <a:pt x="8565969" y="1565709"/>
                  <a:pt x="8601683" y="1565709"/>
                </a:cubicBezTo>
                <a:close/>
                <a:moveTo>
                  <a:pt x="8449025" y="1565709"/>
                </a:moveTo>
                <a:cubicBezTo>
                  <a:pt x="8484739" y="1565709"/>
                  <a:pt x="8513691" y="1594659"/>
                  <a:pt x="8513691" y="1630374"/>
                </a:cubicBezTo>
                <a:cubicBezTo>
                  <a:pt x="8513691" y="1666088"/>
                  <a:pt x="8484739" y="1695039"/>
                  <a:pt x="8449025" y="1695039"/>
                </a:cubicBezTo>
                <a:cubicBezTo>
                  <a:pt x="8413311" y="1695039"/>
                  <a:pt x="8384359" y="1666088"/>
                  <a:pt x="8384359" y="1630374"/>
                </a:cubicBezTo>
                <a:cubicBezTo>
                  <a:pt x="8384359" y="1594659"/>
                  <a:pt x="8413311" y="1565709"/>
                  <a:pt x="8449025" y="1565709"/>
                </a:cubicBezTo>
                <a:close/>
                <a:moveTo>
                  <a:pt x="8296367" y="1565709"/>
                </a:moveTo>
                <a:cubicBezTo>
                  <a:pt x="8332081" y="1565709"/>
                  <a:pt x="8361033" y="1594659"/>
                  <a:pt x="8361033" y="1630374"/>
                </a:cubicBezTo>
                <a:cubicBezTo>
                  <a:pt x="8361033" y="1666088"/>
                  <a:pt x="8332081" y="1695039"/>
                  <a:pt x="8296367" y="1695039"/>
                </a:cubicBezTo>
                <a:cubicBezTo>
                  <a:pt x="8260653" y="1695039"/>
                  <a:pt x="8231701" y="1666088"/>
                  <a:pt x="8231701" y="1630374"/>
                </a:cubicBezTo>
                <a:cubicBezTo>
                  <a:pt x="8231701" y="1594659"/>
                  <a:pt x="8260653" y="1565709"/>
                  <a:pt x="8296367" y="1565709"/>
                </a:cubicBezTo>
                <a:close/>
                <a:moveTo>
                  <a:pt x="8139792" y="1565709"/>
                </a:moveTo>
                <a:cubicBezTo>
                  <a:pt x="8175506" y="1565709"/>
                  <a:pt x="8204458" y="1594659"/>
                  <a:pt x="8204458" y="1630374"/>
                </a:cubicBezTo>
                <a:cubicBezTo>
                  <a:pt x="8204458" y="1666088"/>
                  <a:pt x="8175506" y="1695039"/>
                  <a:pt x="8139792" y="1695039"/>
                </a:cubicBezTo>
                <a:cubicBezTo>
                  <a:pt x="8104078" y="1695039"/>
                  <a:pt x="8075126" y="1666088"/>
                  <a:pt x="8075126" y="1630374"/>
                </a:cubicBezTo>
                <a:cubicBezTo>
                  <a:pt x="8075126" y="1594659"/>
                  <a:pt x="8104078" y="1565709"/>
                  <a:pt x="8139792" y="1565709"/>
                </a:cubicBezTo>
                <a:close/>
                <a:moveTo>
                  <a:pt x="7987133" y="1565709"/>
                </a:moveTo>
                <a:cubicBezTo>
                  <a:pt x="8022847" y="1565709"/>
                  <a:pt x="8051799" y="1594659"/>
                  <a:pt x="8051799" y="1630374"/>
                </a:cubicBezTo>
                <a:cubicBezTo>
                  <a:pt x="8051799" y="1666088"/>
                  <a:pt x="8022847" y="1695039"/>
                  <a:pt x="7987133" y="1695039"/>
                </a:cubicBezTo>
                <a:cubicBezTo>
                  <a:pt x="7951419" y="1695039"/>
                  <a:pt x="7922467" y="1666088"/>
                  <a:pt x="7922467" y="1630374"/>
                </a:cubicBezTo>
                <a:cubicBezTo>
                  <a:pt x="7922467" y="1594659"/>
                  <a:pt x="7951419" y="1565709"/>
                  <a:pt x="7987133" y="1565709"/>
                </a:cubicBezTo>
                <a:close/>
                <a:moveTo>
                  <a:pt x="7830562" y="1565709"/>
                </a:moveTo>
                <a:cubicBezTo>
                  <a:pt x="7866276" y="1565709"/>
                  <a:pt x="7895228" y="1594659"/>
                  <a:pt x="7895228" y="1630374"/>
                </a:cubicBezTo>
                <a:cubicBezTo>
                  <a:pt x="7895228" y="1666088"/>
                  <a:pt x="7866276" y="1695039"/>
                  <a:pt x="7830562" y="1695039"/>
                </a:cubicBezTo>
                <a:cubicBezTo>
                  <a:pt x="7794848" y="1695039"/>
                  <a:pt x="7765896" y="1666088"/>
                  <a:pt x="7765896" y="1630374"/>
                </a:cubicBezTo>
                <a:cubicBezTo>
                  <a:pt x="7765896" y="1594659"/>
                  <a:pt x="7794848" y="1565709"/>
                  <a:pt x="7830562" y="1565709"/>
                </a:cubicBezTo>
                <a:close/>
                <a:moveTo>
                  <a:pt x="7677902" y="1565709"/>
                </a:moveTo>
                <a:cubicBezTo>
                  <a:pt x="7713616" y="1565709"/>
                  <a:pt x="7742568" y="1594659"/>
                  <a:pt x="7742568" y="1630374"/>
                </a:cubicBezTo>
                <a:cubicBezTo>
                  <a:pt x="7742568" y="1666088"/>
                  <a:pt x="7713616" y="1695039"/>
                  <a:pt x="7677902" y="1695039"/>
                </a:cubicBezTo>
                <a:cubicBezTo>
                  <a:pt x="7642188" y="1695039"/>
                  <a:pt x="7613236" y="1666088"/>
                  <a:pt x="7613236" y="1630374"/>
                </a:cubicBezTo>
                <a:cubicBezTo>
                  <a:pt x="7613236" y="1594659"/>
                  <a:pt x="7642188" y="1565709"/>
                  <a:pt x="7677902" y="1565709"/>
                </a:cubicBezTo>
                <a:close/>
                <a:moveTo>
                  <a:pt x="7521329" y="1565709"/>
                </a:moveTo>
                <a:cubicBezTo>
                  <a:pt x="7557043" y="1565709"/>
                  <a:pt x="7585995" y="1594659"/>
                  <a:pt x="7585995" y="1630374"/>
                </a:cubicBezTo>
                <a:cubicBezTo>
                  <a:pt x="7585995" y="1666088"/>
                  <a:pt x="7557043" y="1695039"/>
                  <a:pt x="7521329" y="1695039"/>
                </a:cubicBezTo>
                <a:cubicBezTo>
                  <a:pt x="7485615" y="1695039"/>
                  <a:pt x="7456663" y="1666088"/>
                  <a:pt x="7456663" y="1630374"/>
                </a:cubicBezTo>
                <a:cubicBezTo>
                  <a:pt x="7456663" y="1594659"/>
                  <a:pt x="7485615" y="1565709"/>
                  <a:pt x="7521329" y="1565709"/>
                </a:cubicBezTo>
                <a:close/>
                <a:moveTo>
                  <a:pt x="7368669" y="1565709"/>
                </a:moveTo>
                <a:cubicBezTo>
                  <a:pt x="7404383" y="1565709"/>
                  <a:pt x="7433335" y="1594659"/>
                  <a:pt x="7433335" y="1630374"/>
                </a:cubicBezTo>
                <a:cubicBezTo>
                  <a:pt x="7433335" y="1666088"/>
                  <a:pt x="7404383" y="1695039"/>
                  <a:pt x="7368669" y="1695039"/>
                </a:cubicBezTo>
                <a:cubicBezTo>
                  <a:pt x="7332955" y="1695039"/>
                  <a:pt x="7304003" y="1666088"/>
                  <a:pt x="7304003" y="1630374"/>
                </a:cubicBezTo>
                <a:cubicBezTo>
                  <a:pt x="7304003" y="1594659"/>
                  <a:pt x="7332955" y="1565709"/>
                  <a:pt x="7368669" y="1565709"/>
                </a:cubicBezTo>
                <a:close/>
                <a:moveTo>
                  <a:pt x="7212096" y="1565709"/>
                </a:moveTo>
                <a:cubicBezTo>
                  <a:pt x="7247810" y="1565709"/>
                  <a:pt x="7276762" y="1594659"/>
                  <a:pt x="7276762" y="1630374"/>
                </a:cubicBezTo>
                <a:cubicBezTo>
                  <a:pt x="7276762" y="1666088"/>
                  <a:pt x="7247810" y="1695039"/>
                  <a:pt x="7212096" y="1695039"/>
                </a:cubicBezTo>
                <a:cubicBezTo>
                  <a:pt x="7176382" y="1695039"/>
                  <a:pt x="7147430" y="1666088"/>
                  <a:pt x="7147430" y="1630374"/>
                </a:cubicBezTo>
                <a:cubicBezTo>
                  <a:pt x="7147430" y="1594659"/>
                  <a:pt x="7176382" y="1565709"/>
                  <a:pt x="7212096" y="1565709"/>
                </a:cubicBezTo>
                <a:close/>
                <a:moveTo>
                  <a:pt x="7055523" y="1565709"/>
                </a:moveTo>
                <a:cubicBezTo>
                  <a:pt x="7091237" y="1565709"/>
                  <a:pt x="7120189" y="1594659"/>
                  <a:pt x="7120189" y="1630374"/>
                </a:cubicBezTo>
                <a:cubicBezTo>
                  <a:pt x="7120189" y="1666088"/>
                  <a:pt x="7091237" y="1695039"/>
                  <a:pt x="7055523" y="1695039"/>
                </a:cubicBezTo>
                <a:cubicBezTo>
                  <a:pt x="7019809" y="1695039"/>
                  <a:pt x="6990857" y="1666088"/>
                  <a:pt x="6990857" y="1630374"/>
                </a:cubicBezTo>
                <a:cubicBezTo>
                  <a:pt x="6990857" y="1594659"/>
                  <a:pt x="7019809" y="1565709"/>
                  <a:pt x="7055523" y="1565709"/>
                </a:cubicBezTo>
                <a:close/>
                <a:moveTo>
                  <a:pt x="6895037" y="1565709"/>
                </a:moveTo>
                <a:cubicBezTo>
                  <a:pt x="6930751" y="1565709"/>
                  <a:pt x="6959703" y="1594659"/>
                  <a:pt x="6959703" y="1630374"/>
                </a:cubicBezTo>
                <a:cubicBezTo>
                  <a:pt x="6959703" y="1666088"/>
                  <a:pt x="6930751" y="1695039"/>
                  <a:pt x="6895037" y="1695039"/>
                </a:cubicBezTo>
                <a:cubicBezTo>
                  <a:pt x="6859323" y="1695039"/>
                  <a:pt x="6830371" y="1666088"/>
                  <a:pt x="6830371" y="1630374"/>
                </a:cubicBezTo>
                <a:cubicBezTo>
                  <a:pt x="6830371" y="1594659"/>
                  <a:pt x="6859323" y="1565709"/>
                  <a:pt x="6895037" y="1565709"/>
                </a:cubicBezTo>
                <a:close/>
                <a:moveTo>
                  <a:pt x="6742375" y="1565709"/>
                </a:moveTo>
                <a:cubicBezTo>
                  <a:pt x="6778089" y="1565709"/>
                  <a:pt x="6807041" y="1594659"/>
                  <a:pt x="6807041" y="1630374"/>
                </a:cubicBezTo>
                <a:cubicBezTo>
                  <a:pt x="6807041" y="1666088"/>
                  <a:pt x="6778089" y="1695039"/>
                  <a:pt x="6742375" y="1695039"/>
                </a:cubicBezTo>
                <a:cubicBezTo>
                  <a:pt x="6706661" y="1695039"/>
                  <a:pt x="6677709" y="1666088"/>
                  <a:pt x="6677709" y="1630374"/>
                </a:cubicBezTo>
                <a:cubicBezTo>
                  <a:pt x="6677709" y="1594659"/>
                  <a:pt x="6706661" y="1565709"/>
                  <a:pt x="6742375" y="1565709"/>
                </a:cubicBezTo>
                <a:close/>
                <a:moveTo>
                  <a:pt x="6585802" y="1565709"/>
                </a:moveTo>
                <a:cubicBezTo>
                  <a:pt x="6621516" y="1565709"/>
                  <a:pt x="6650468" y="1594659"/>
                  <a:pt x="6650468" y="1630374"/>
                </a:cubicBezTo>
                <a:cubicBezTo>
                  <a:pt x="6650468" y="1666088"/>
                  <a:pt x="6621516" y="1695039"/>
                  <a:pt x="6585802" y="1695039"/>
                </a:cubicBezTo>
                <a:cubicBezTo>
                  <a:pt x="6550088" y="1695039"/>
                  <a:pt x="6521136" y="1666088"/>
                  <a:pt x="6521136" y="1630374"/>
                </a:cubicBezTo>
                <a:cubicBezTo>
                  <a:pt x="6521136" y="1594659"/>
                  <a:pt x="6550088" y="1565709"/>
                  <a:pt x="6585802" y="1565709"/>
                </a:cubicBezTo>
                <a:close/>
                <a:moveTo>
                  <a:pt x="6429229" y="1565709"/>
                </a:moveTo>
                <a:cubicBezTo>
                  <a:pt x="6464943" y="1565709"/>
                  <a:pt x="6493895" y="1594659"/>
                  <a:pt x="6493895" y="1630374"/>
                </a:cubicBezTo>
                <a:cubicBezTo>
                  <a:pt x="6493895" y="1666088"/>
                  <a:pt x="6464943" y="1695039"/>
                  <a:pt x="6429229" y="1695039"/>
                </a:cubicBezTo>
                <a:cubicBezTo>
                  <a:pt x="6393515" y="1695039"/>
                  <a:pt x="6364563" y="1666088"/>
                  <a:pt x="6364563" y="1630374"/>
                </a:cubicBezTo>
                <a:cubicBezTo>
                  <a:pt x="6364563" y="1594659"/>
                  <a:pt x="6393515" y="1565709"/>
                  <a:pt x="6429229" y="1565709"/>
                </a:cubicBezTo>
                <a:close/>
                <a:moveTo>
                  <a:pt x="6276571" y="1565709"/>
                </a:moveTo>
                <a:cubicBezTo>
                  <a:pt x="6312285" y="1565709"/>
                  <a:pt x="6341237" y="1594659"/>
                  <a:pt x="6341237" y="1630374"/>
                </a:cubicBezTo>
                <a:cubicBezTo>
                  <a:pt x="6341237" y="1666088"/>
                  <a:pt x="6312285" y="1695039"/>
                  <a:pt x="6276571" y="1695039"/>
                </a:cubicBezTo>
                <a:cubicBezTo>
                  <a:pt x="6240857" y="1695039"/>
                  <a:pt x="6211905" y="1666088"/>
                  <a:pt x="6211905" y="1630374"/>
                </a:cubicBezTo>
                <a:cubicBezTo>
                  <a:pt x="6211905" y="1594659"/>
                  <a:pt x="6240857" y="1565709"/>
                  <a:pt x="6276571" y="1565709"/>
                </a:cubicBezTo>
                <a:close/>
                <a:moveTo>
                  <a:pt x="5810802" y="1565709"/>
                </a:moveTo>
                <a:cubicBezTo>
                  <a:pt x="5846479" y="1565709"/>
                  <a:pt x="5875431" y="1594659"/>
                  <a:pt x="5875431" y="1630374"/>
                </a:cubicBezTo>
                <a:cubicBezTo>
                  <a:pt x="5875431" y="1666088"/>
                  <a:pt x="5846479" y="1695039"/>
                  <a:pt x="5810802" y="1695039"/>
                </a:cubicBezTo>
                <a:cubicBezTo>
                  <a:pt x="5775077" y="1695039"/>
                  <a:pt x="5746117" y="1666088"/>
                  <a:pt x="5746117" y="1630374"/>
                </a:cubicBezTo>
                <a:cubicBezTo>
                  <a:pt x="5746117" y="1594659"/>
                  <a:pt x="5775077" y="1565709"/>
                  <a:pt x="5810802" y="1565709"/>
                </a:cubicBezTo>
                <a:close/>
                <a:moveTo>
                  <a:pt x="5348888" y="1565709"/>
                </a:moveTo>
                <a:cubicBezTo>
                  <a:pt x="5384604" y="1565709"/>
                  <a:pt x="5413556" y="1594659"/>
                  <a:pt x="5413556" y="1630374"/>
                </a:cubicBezTo>
                <a:cubicBezTo>
                  <a:pt x="5413556" y="1666088"/>
                  <a:pt x="5384604" y="1695039"/>
                  <a:pt x="5348888" y="1695039"/>
                </a:cubicBezTo>
                <a:cubicBezTo>
                  <a:pt x="5313192" y="1695039"/>
                  <a:pt x="5284232" y="1666088"/>
                  <a:pt x="5284232" y="1630374"/>
                </a:cubicBezTo>
                <a:cubicBezTo>
                  <a:pt x="5284232" y="1594659"/>
                  <a:pt x="5313192" y="1565709"/>
                  <a:pt x="5348888" y="1565709"/>
                </a:cubicBezTo>
                <a:close/>
                <a:moveTo>
                  <a:pt x="3481855" y="1565709"/>
                </a:moveTo>
                <a:cubicBezTo>
                  <a:pt x="3517568" y="1565709"/>
                  <a:pt x="3546525" y="1594659"/>
                  <a:pt x="3546525" y="1630374"/>
                </a:cubicBezTo>
                <a:cubicBezTo>
                  <a:pt x="3546525" y="1666088"/>
                  <a:pt x="3517568" y="1695039"/>
                  <a:pt x="3481855" y="1695039"/>
                </a:cubicBezTo>
                <a:cubicBezTo>
                  <a:pt x="3446149" y="1695039"/>
                  <a:pt x="3417201" y="1666088"/>
                  <a:pt x="3417201" y="1630374"/>
                </a:cubicBezTo>
                <a:cubicBezTo>
                  <a:pt x="3417201" y="1594659"/>
                  <a:pt x="3446149" y="1565709"/>
                  <a:pt x="3481855" y="1565709"/>
                </a:cubicBezTo>
                <a:close/>
                <a:moveTo>
                  <a:pt x="3321390" y="1565709"/>
                </a:moveTo>
                <a:cubicBezTo>
                  <a:pt x="3357101" y="1565709"/>
                  <a:pt x="3386032" y="1594659"/>
                  <a:pt x="3386032" y="1630374"/>
                </a:cubicBezTo>
                <a:cubicBezTo>
                  <a:pt x="3386032" y="1666088"/>
                  <a:pt x="3357101" y="1695039"/>
                  <a:pt x="3321390" y="1695039"/>
                </a:cubicBezTo>
                <a:cubicBezTo>
                  <a:pt x="3285669" y="1695039"/>
                  <a:pt x="3256727" y="1666088"/>
                  <a:pt x="3256727" y="1630374"/>
                </a:cubicBezTo>
                <a:cubicBezTo>
                  <a:pt x="3256727" y="1594659"/>
                  <a:pt x="3285669" y="1565709"/>
                  <a:pt x="3321390" y="1565709"/>
                </a:cubicBezTo>
                <a:close/>
                <a:moveTo>
                  <a:pt x="3172637" y="1565709"/>
                </a:moveTo>
                <a:cubicBezTo>
                  <a:pt x="3208362" y="1565709"/>
                  <a:pt x="3237310" y="1594659"/>
                  <a:pt x="3237310" y="1630374"/>
                </a:cubicBezTo>
                <a:cubicBezTo>
                  <a:pt x="3237310" y="1666088"/>
                  <a:pt x="3208362" y="1695039"/>
                  <a:pt x="3172637" y="1695039"/>
                </a:cubicBezTo>
                <a:cubicBezTo>
                  <a:pt x="3136914" y="1695039"/>
                  <a:pt x="3107954" y="1666088"/>
                  <a:pt x="3107954" y="1630374"/>
                </a:cubicBezTo>
                <a:cubicBezTo>
                  <a:pt x="3107954" y="1594659"/>
                  <a:pt x="3136914" y="1565709"/>
                  <a:pt x="3172637" y="1565709"/>
                </a:cubicBezTo>
                <a:close/>
                <a:moveTo>
                  <a:pt x="3012119" y="1565709"/>
                </a:moveTo>
                <a:cubicBezTo>
                  <a:pt x="3047829" y="1565709"/>
                  <a:pt x="3076788" y="1594659"/>
                  <a:pt x="3076788" y="1630374"/>
                </a:cubicBezTo>
                <a:cubicBezTo>
                  <a:pt x="3076788" y="1666088"/>
                  <a:pt x="3047829" y="1695039"/>
                  <a:pt x="3012119" y="1695039"/>
                </a:cubicBezTo>
                <a:cubicBezTo>
                  <a:pt x="2976410" y="1695039"/>
                  <a:pt x="2947463" y="1666088"/>
                  <a:pt x="2947463" y="1630374"/>
                </a:cubicBezTo>
                <a:cubicBezTo>
                  <a:pt x="2947463" y="1594659"/>
                  <a:pt x="2976410" y="1565709"/>
                  <a:pt x="3012119" y="1565709"/>
                </a:cubicBezTo>
                <a:close/>
                <a:moveTo>
                  <a:pt x="2546380" y="1565709"/>
                </a:moveTo>
                <a:cubicBezTo>
                  <a:pt x="2582088" y="1565709"/>
                  <a:pt x="2611038" y="1594659"/>
                  <a:pt x="2611038" y="1630374"/>
                </a:cubicBezTo>
                <a:cubicBezTo>
                  <a:pt x="2611038" y="1666088"/>
                  <a:pt x="2582088" y="1695039"/>
                  <a:pt x="2546380" y="1695039"/>
                </a:cubicBezTo>
                <a:cubicBezTo>
                  <a:pt x="2510655" y="1695039"/>
                  <a:pt x="2481723" y="1666088"/>
                  <a:pt x="2481723" y="1630374"/>
                </a:cubicBezTo>
                <a:cubicBezTo>
                  <a:pt x="2481723" y="1594659"/>
                  <a:pt x="2510655" y="1565709"/>
                  <a:pt x="2546380" y="1565709"/>
                </a:cubicBezTo>
                <a:close/>
                <a:moveTo>
                  <a:pt x="2389803" y="1565709"/>
                </a:moveTo>
                <a:cubicBezTo>
                  <a:pt x="2425537" y="1565709"/>
                  <a:pt x="2454486" y="1594659"/>
                  <a:pt x="2454486" y="1630374"/>
                </a:cubicBezTo>
                <a:cubicBezTo>
                  <a:pt x="2454486" y="1666088"/>
                  <a:pt x="2425537" y="1695039"/>
                  <a:pt x="2389803" y="1695039"/>
                </a:cubicBezTo>
                <a:cubicBezTo>
                  <a:pt x="2354107" y="1695039"/>
                  <a:pt x="2325148" y="1666088"/>
                  <a:pt x="2325148" y="1630374"/>
                </a:cubicBezTo>
                <a:cubicBezTo>
                  <a:pt x="2325148" y="1594659"/>
                  <a:pt x="2354107" y="1565709"/>
                  <a:pt x="2389803" y="1565709"/>
                </a:cubicBezTo>
                <a:close/>
                <a:moveTo>
                  <a:pt x="2237130" y="1565709"/>
                </a:moveTo>
                <a:cubicBezTo>
                  <a:pt x="2272854" y="1565709"/>
                  <a:pt x="2301814" y="1594659"/>
                  <a:pt x="2301814" y="1630374"/>
                </a:cubicBezTo>
                <a:cubicBezTo>
                  <a:pt x="2301814" y="1666088"/>
                  <a:pt x="2272854" y="1695039"/>
                  <a:pt x="2237130" y="1695039"/>
                </a:cubicBezTo>
                <a:cubicBezTo>
                  <a:pt x="2201406" y="1695039"/>
                  <a:pt x="2172445" y="1666088"/>
                  <a:pt x="2172445" y="1630374"/>
                </a:cubicBezTo>
                <a:cubicBezTo>
                  <a:pt x="2172445" y="1594659"/>
                  <a:pt x="2201406" y="1565709"/>
                  <a:pt x="2237130" y="1565709"/>
                </a:cubicBezTo>
                <a:close/>
                <a:moveTo>
                  <a:pt x="2084449" y="1565709"/>
                </a:moveTo>
                <a:cubicBezTo>
                  <a:pt x="2120162" y="1565709"/>
                  <a:pt x="2149111" y="1594659"/>
                  <a:pt x="2149111" y="1630374"/>
                </a:cubicBezTo>
                <a:cubicBezTo>
                  <a:pt x="2149111" y="1666088"/>
                  <a:pt x="2120162" y="1695039"/>
                  <a:pt x="2084449" y="1695039"/>
                </a:cubicBezTo>
                <a:cubicBezTo>
                  <a:pt x="2048717" y="1695039"/>
                  <a:pt x="2019802" y="1666088"/>
                  <a:pt x="2019802" y="1630374"/>
                </a:cubicBezTo>
                <a:cubicBezTo>
                  <a:pt x="2019802" y="1594659"/>
                  <a:pt x="2048717" y="1565709"/>
                  <a:pt x="2084449" y="1565709"/>
                </a:cubicBezTo>
                <a:close/>
                <a:moveTo>
                  <a:pt x="1927857" y="1565709"/>
                </a:moveTo>
                <a:cubicBezTo>
                  <a:pt x="1963586" y="1565709"/>
                  <a:pt x="1992550" y="1594659"/>
                  <a:pt x="1992550" y="1630374"/>
                </a:cubicBezTo>
                <a:cubicBezTo>
                  <a:pt x="1992550" y="1666088"/>
                  <a:pt x="1963586" y="1695039"/>
                  <a:pt x="1927857" y="1695039"/>
                </a:cubicBezTo>
                <a:cubicBezTo>
                  <a:pt x="1892182" y="1695039"/>
                  <a:pt x="1863227" y="1666088"/>
                  <a:pt x="1863227" y="1630374"/>
                </a:cubicBezTo>
                <a:cubicBezTo>
                  <a:pt x="1863227" y="1594659"/>
                  <a:pt x="1892182" y="1565709"/>
                  <a:pt x="1927857" y="1565709"/>
                </a:cubicBezTo>
                <a:close/>
                <a:moveTo>
                  <a:pt x="1775214" y="1565709"/>
                </a:moveTo>
                <a:cubicBezTo>
                  <a:pt x="1810917" y="1565709"/>
                  <a:pt x="1839897" y="1594659"/>
                  <a:pt x="1839897" y="1630374"/>
                </a:cubicBezTo>
                <a:cubicBezTo>
                  <a:pt x="1839897" y="1666088"/>
                  <a:pt x="1810917" y="1695039"/>
                  <a:pt x="1775214" y="1695039"/>
                </a:cubicBezTo>
                <a:cubicBezTo>
                  <a:pt x="1739494" y="1695039"/>
                  <a:pt x="1710542" y="1666088"/>
                  <a:pt x="1710542" y="1630374"/>
                </a:cubicBezTo>
                <a:cubicBezTo>
                  <a:pt x="1710542" y="1594659"/>
                  <a:pt x="1739494" y="1565709"/>
                  <a:pt x="1775214" y="1565709"/>
                </a:cubicBezTo>
                <a:close/>
                <a:moveTo>
                  <a:pt x="1618630" y="1565709"/>
                </a:moveTo>
                <a:cubicBezTo>
                  <a:pt x="1654350" y="1565709"/>
                  <a:pt x="1683301" y="1594659"/>
                  <a:pt x="1683301" y="1630374"/>
                </a:cubicBezTo>
                <a:cubicBezTo>
                  <a:pt x="1683301" y="1666088"/>
                  <a:pt x="1654350" y="1695039"/>
                  <a:pt x="1618630" y="1695039"/>
                </a:cubicBezTo>
                <a:cubicBezTo>
                  <a:pt x="1582919" y="1695039"/>
                  <a:pt x="1553968" y="1666088"/>
                  <a:pt x="1553968" y="1630374"/>
                </a:cubicBezTo>
                <a:cubicBezTo>
                  <a:pt x="1553968" y="1594659"/>
                  <a:pt x="1582919" y="1565709"/>
                  <a:pt x="1618630" y="1565709"/>
                </a:cubicBezTo>
                <a:close/>
                <a:moveTo>
                  <a:pt x="1465974" y="1565709"/>
                </a:moveTo>
                <a:cubicBezTo>
                  <a:pt x="1501687" y="1565709"/>
                  <a:pt x="1530639" y="1594659"/>
                  <a:pt x="1530639" y="1630374"/>
                </a:cubicBezTo>
                <a:cubicBezTo>
                  <a:pt x="1530639" y="1666088"/>
                  <a:pt x="1501687" y="1695039"/>
                  <a:pt x="1465974" y="1695039"/>
                </a:cubicBezTo>
                <a:cubicBezTo>
                  <a:pt x="1430260" y="1695039"/>
                  <a:pt x="1401310" y="1666088"/>
                  <a:pt x="1401310" y="1630374"/>
                </a:cubicBezTo>
                <a:cubicBezTo>
                  <a:pt x="1401310" y="1594659"/>
                  <a:pt x="1430260" y="1565709"/>
                  <a:pt x="1465974" y="1565709"/>
                </a:cubicBezTo>
                <a:close/>
                <a:moveTo>
                  <a:pt x="1309401" y="1565709"/>
                </a:moveTo>
                <a:cubicBezTo>
                  <a:pt x="1345114" y="1565709"/>
                  <a:pt x="1374066" y="1594659"/>
                  <a:pt x="1374066" y="1630374"/>
                </a:cubicBezTo>
                <a:cubicBezTo>
                  <a:pt x="1374066" y="1666088"/>
                  <a:pt x="1345114" y="1695039"/>
                  <a:pt x="1309401" y="1695039"/>
                </a:cubicBezTo>
                <a:cubicBezTo>
                  <a:pt x="1273687" y="1695039"/>
                  <a:pt x="1244735" y="1666088"/>
                  <a:pt x="1244735" y="1630374"/>
                </a:cubicBezTo>
                <a:cubicBezTo>
                  <a:pt x="1244735" y="1594659"/>
                  <a:pt x="1273687" y="1565709"/>
                  <a:pt x="1309401" y="1565709"/>
                </a:cubicBezTo>
                <a:close/>
                <a:moveTo>
                  <a:pt x="1148916" y="1565709"/>
                </a:moveTo>
                <a:cubicBezTo>
                  <a:pt x="1184630" y="1565709"/>
                  <a:pt x="1213581" y="1594659"/>
                  <a:pt x="1213581" y="1630374"/>
                </a:cubicBezTo>
                <a:cubicBezTo>
                  <a:pt x="1213581" y="1666088"/>
                  <a:pt x="1184630" y="1695039"/>
                  <a:pt x="1148916" y="1695039"/>
                </a:cubicBezTo>
                <a:cubicBezTo>
                  <a:pt x="1113202" y="1695039"/>
                  <a:pt x="1084251" y="1666088"/>
                  <a:pt x="1084251" y="1630374"/>
                </a:cubicBezTo>
                <a:cubicBezTo>
                  <a:pt x="1084251" y="1594659"/>
                  <a:pt x="1113202" y="1565709"/>
                  <a:pt x="1148916" y="1565709"/>
                </a:cubicBezTo>
                <a:close/>
                <a:moveTo>
                  <a:pt x="10778052" y="1565707"/>
                </a:moveTo>
                <a:cubicBezTo>
                  <a:pt x="10813766" y="1565707"/>
                  <a:pt x="10842718" y="1594659"/>
                  <a:pt x="10842718" y="1630373"/>
                </a:cubicBezTo>
                <a:cubicBezTo>
                  <a:pt x="10842718" y="1666087"/>
                  <a:pt x="10813766" y="1695039"/>
                  <a:pt x="10778052" y="1695039"/>
                </a:cubicBezTo>
                <a:cubicBezTo>
                  <a:pt x="10742338" y="1695039"/>
                  <a:pt x="10713386" y="1666087"/>
                  <a:pt x="10713386" y="1630373"/>
                </a:cubicBezTo>
                <a:cubicBezTo>
                  <a:pt x="10713386" y="1594659"/>
                  <a:pt x="10742338" y="1565707"/>
                  <a:pt x="10778052" y="1565707"/>
                </a:cubicBezTo>
                <a:close/>
                <a:moveTo>
                  <a:pt x="10625394" y="1565707"/>
                </a:moveTo>
                <a:cubicBezTo>
                  <a:pt x="10661108" y="1565707"/>
                  <a:pt x="10690060" y="1594659"/>
                  <a:pt x="10690060" y="1630373"/>
                </a:cubicBezTo>
                <a:cubicBezTo>
                  <a:pt x="10690060" y="1666087"/>
                  <a:pt x="10661108" y="1695039"/>
                  <a:pt x="10625394" y="1695039"/>
                </a:cubicBezTo>
                <a:cubicBezTo>
                  <a:pt x="10589680" y="1695039"/>
                  <a:pt x="10560728" y="1666087"/>
                  <a:pt x="10560728" y="1630373"/>
                </a:cubicBezTo>
                <a:cubicBezTo>
                  <a:pt x="10560728" y="1594659"/>
                  <a:pt x="10589680" y="1565707"/>
                  <a:pt x="10625394" y="1565707"/>
                </a:cubicBezTo>
                <a:close/>
                <a:moveTo>
                  <a:pt x="9850356" y="1565707"/>
                </a:moveTo>
                <a:cubicBezTo>
                  <a:pt x="9886070" y="1565707"/>
                  <a:pt x="9915022" y="1594659"/>
                  <a:pt x="9915022" y="1630373"/>
                </a:cubicBezTo>
                <a:cubicBezTo>
                  <a:pt x="9915022" y="1666087"/>
                  <a:pt x="9886070" y="1695039"/>
                  <a:pt x="9850356" y="1695039"/>
                </a:cubicBezTo>
                <a:cubicBezTo>
                  <a:pt x="9814642" y="1695039"/>
                  <a:pt x="9785690" y="1666087"/>
                  <a:pt x="9785690" y="1630373"/>
                </a:cubicBezTo>
                <a:cubicBezTo>
                  <a:pt x="9785690" y="1594659"/>
                  <a:pt x="9814642" y="1565707"/>
                  <a:pt x="9850356" y="1565707"/>
                </a:cubicBezTo>
                <a:close/>
                <a:moveTo>
                  <a:pt x="9693782" y="1565707"/>
                </a:moveTo>
                <a:cubicBezTo>
                  <a:pt x="9729496" y="1565707"/>
                  <a:pt x="9758448" y="1594659"/>
                  <a:pt x="9758448" y="1630373"/>
                </a:cubicBezTo>
                <a:cubicBezTo>
                  <a:pt x="9758448" y="1666087"/>
                  <a:pt x="9729496" y="1695039"/>
                  <a:pt x="9693782" y="1695039"/>
                </a:cubicBezTo>
                <a:cubicBezTo>
                  <a:pt x="9658068" y="1695039"/>
                  <a:pt x="9629116" y="1666087"/>
                  <a:pt x="9629116" y="1630373"/>
                </a:cubicBezTo>
                <a:cubicBezTo>
                  <a:pt x="9629116" y="1594659"/>
                  <a:pt x="9658068" y="1565707"/>
                  <a:pt x="9693782" y="1565707"/>
                </a:cubicBezTo>
                <a:close/>
                <a:moveTo>
                  <a:pt x="9541123" y="1565707"/>
                </a:moveTo>
                <a:cubicBezTo>
                  <a:pt x="9576837" y="1565707"/>
                  <a:pt x="9605789" y="1594659"/>
                  <a:pt x="9605789" y="1630373"/>
                </a:cubicBezTo>
                <a:cubicBezTo>
                  <a:pt x="9605789" y="1666087"/>
                  <a:pt x="9576837" y="1695039"/>
                  <a:pt x="9541123" y="1695039"/>
                </a:cubicBezTo>
                <a:cubicBezTo>
                  <a:pt x="9505409" y="1695039"/>
                  <a:pt x="9476457" y="1666087"/>
                  <a:pt x="9476457" y="1630373"/>
                </a:cubicBezTo>
                <a:cubicBezTo>
                  <a:pt x="9476457" y="1594659"/>
                  <a:pt x="9505409" y="1565707"/>
                  <a:pt x="9541123" y="1565707"/>
                </a:cubicBezTo>
                <a:close/>
                <a:moveTo>
                  <a:pt x="9384550" y="1565707"/>
                </a:moveTo>
                <a:cubicBezTo>
                  <a:pt x="9420264" y="1565707"/>
                  <a:pt x="9449216" y="1594659"/>
                  <a:pt x="9449216" y="1630373"/>
                </a:cubicBezTo>
                <a:cubicBezTo>
                  <a:pt x="9449216" y="1666087"/>
                  <a:pt x="9420264" y="1695039"/>
                  <a:pt x="9384550" y="1695039"/>
                </a:cubicBezTo>
                <a:cubicBezTo>
                  <a:pt x="9348836" y="1695039"/>
                  <a:pt x="9319884" y="1666087"/>
                  <a:pt x="9319884" y="1630373"/>
                </a:cubicBezTo>
                <a:cubicBezTo>
                  <a:pt x="9319884" y="1594659"/>
                  <a:pt x="9348836" y="1565707"/>
                  <a:pt x="9384550" y="1565707"/>
                </a:cubicBezTo>
                <a:close/>
                <a:moveTo>
                  <a:pt x="9227977" y="1565707"/>
                </a:moveTo>
                <a:cubicBezTo>
                  <a:pt x="9263691" y="1565707"/>
                  <a:pt x="9292643" y="1594659"/>
                  <a:pt x="9292643" y="1630373"/>
                </a:cubicBezTo>
                <a:cubicBezTo>
                  <a:pt x="9292643" y="1666087"/>
                  <a:pt x="9263691" y="1695039"/>
                  <a:pt x="9227977" y="1695039"/>
                </a:cubicBezTo>
                <a:cubicBezTo>
                  <a:pt x="9192263" y="1695039"/>
                  <a:pt x="9163311" y="1666087"/>
                  <a:pt x="9163311" y="1630373"/>
                </a:cubicBezTo>
                <a:cubicBezTo>
                  <a:pt x="9163311" y="1594659"/>
                  <a:pt x="9192263" y="1565707"/>
                  <a:pt x="9227977" y="1565707"/>
                </a:cubicBezTo>
                <a:close/>
                <a:moveTo>
                  <a:pt x="9075317" y="1565707"/>
                </a:moveTo>
                <a:cubicBezTo>
                  <a:pt x="9111031" y="1565707"/>
                  <a:pt x="9139983" y="1594659"/>
                  <a:pt x="9139983" y="1630373"/>
                </a:cubicBezTo>
                <a:cubicBezTo>
                  <a:pt x="9139983" y="1666087"/>
                  <a:pt x="9111031" y="1695039"/>
                  <a:pt x="9075317" y="1695039"/>
                </a:cubicBezTo>
                <a:cubicBezTo>
                  <a:pt x="9039603" y="1695039"/>
                  <a:pt x="9010651" y="1666087"/>
                  <a:pt x="9010651" y="1630373"/>
                </a:cubicBezTo>
                <a:cubicBezTo>
                  <a:pt x="9010651" y="1594659"/>
                  <a:pt x="9039603" y="1565707"/>
                  <a:pt x="9075317" y="1565707"/>
                </a:cubicBezTo>
                <a:close/>
                <a:moveTo>
                  <a:pt x="217310" y="1565707"/>
                </a:moveTo>
                <a:cubicBezTo>
                  <a:pt x="253023" y="1565707"/>
                  <a:pt x="281975" y="1594659"/>
                  <a:pt x="281975" y="1630373"/>
                </a:cubicBezTo>
                <a:cubicBezTo>
                  <a:pt x="281975" y="1666087"/>
                  <a:pt x="253023" y="1695039"/>
                  <a:pt x="217310" y="1695039"/>
                </a:cubicBezTo>
                <a:cubicBezTo>
                  <a:pt x="181596" y="1695039"/>
                  <a:pt x="152644" y="1666087"/>
                  <a:pt x="152644" y="1630373"/>
                </a:cubicBezTo>
                <a:cubicBezTo>
                  <a:pt x="152644" y="1594659"/>
                  <a:pt x="181596" y="1565707"/>
                  <a:pt x="217310" y="1565707"/>
                </a:cubicBezTo>
                <a:close/>
                <a:moveTo>
                  <a:pt x="10778052" y="1428710"/>
                </a:moveTo>
                <a:cubicBezTo>
                  <a:pt x="10813766" y="1428710"/>
                  <a:pt x="10842718" y="1457662"/>
                  <a:pt x="10842718" y="1493374"/>
                </a:cubicBezTo>
                <a:cubicBezTo>
                  <a:pt x="10842718" y="1529088"/>
                  <a:pt x="10813766" y="1558040"/>
                  <a:pt x="10778052" y="1558040"/>
                </a:cubicBezTo>
                <a:cubicBezTo>
                  <a:pt x="10742338" y="1558040"/>
                  <a:pt x="10713386" y="1529088"/>
                  <a:pt x="10713386" y="1493374"/>
                </a:cubicBezTo>
                <a:cubicBezTo>
                  <a:pt x="10713386" y="1457662"/>
                  <a:pt x="10742338" y="1428710"/>
                  <a:pt x="10778052" y="1428710"/>
                </a:cubicBezTo>
                <a:close/>
                <a:moveTo>
                  <a:pt x="10625394" y="1428710"/>
                </a:moveTo>
                <a:cubicBezTo>
                  <a:pt x="10661108" y="1428710"/>
                  <a:pt x="10690060" y="1457662"/>
                  <a:pt x="10690060" y="1493374"/>
                </a:cubicBezTo>
                <a:cubicBezTo>
                  <a:pt x="10690060" y="1529088"/>
                  <a:pt x="10661108" y="1558040"/>
                  <a:pt x="10625394" y="1558040"/>
                </a:cubicBezTo>
                <a:cubicBezTo>
                  <a:pt x="10589680" y="1558040"/>
                  <a:pt x="10560728" y="1529088"/>
                  <a:pt x="10560728" y="1493374"/>
                </a:cubicBezTo>
                <a:cubicBezTo>
                  <a:pt x="10560728" y="1457662"/>
                  <a:pt x="10589680" y="1428710"/>
                  <a:pt x="10625394" y="1428710"/>
                </a:cubicBezTo>
                <a:close/>
                <a:moveTo>
                  <a:pt x="10003016" y="1428710"/>
                </a:moveTo>
                <a:cubicBezTo>
                  <a:pt x="10038730" y="1428710"/>
                  <a:pt x="10067682" y="1457662"/>
                  <a:pt x="10067682" y="1493374"/>
                </a:cubicBezTo>
                <a:cubicBezTo>
                  <a:pt x="10067682" y="1529088"/>
                  <a:pt x="10038730" y="1558040"/>
                  <a:pt x="10003016" y="1558040"/>
                </a:cubicBezTo>
                <a:cubicBezTo>
                  <a:pt x="9967302" y="1558040"/>
                  <a:pt x="9938350" y="1529088"/>
                  <a:pt x="9938350" y="1493374"/>
                </a:cubicBezTo>
                <a:cubicBezTo>
                  <a:pt x="9938350" y="1457662"/>
                  <a:pt x="9967302" y="1428710"/>
                  <a:pt x="10003016" y="1428710"/>
                </a:cubicBezTo>
                <a:close/>
                <a:moveTo>
                  <a:pt x="9850356" y="1428710"/>
                </a:moveTo>
                <a:cubicBezTo>
                  <a:pt x="9886070" y="1428710"/>
                  <a:pt x="9915022" y="1457662"/>
                  <a:pt x="9915022" y="1493374"/>
                </a:cubicBezTo>
                <a:cubicBezTo>
                  <a:pt x="9915022" y="1529088"/>
                  <a:pt x="9886070" y="1558040"/>
                  <a:pt x="9850356" y="1558040"/>
                </a:cubicBezTo>
                <a:cubicBezTo>
                  <a:pt x="9814642" y="1558040"/>
                  <a:pt x="9785690" y="1529088"/>
                  <a:pt x="9785690" y="1493374"/>
                </a:cubicBezTo>
                <a:cubicBezTo>
                  <a:pt x="9785690" y="1457662"/>
                  <a:pt x="9814642" y="1428710"/>
                  <a:pt x="9850356" y="1428710"/>
                </a:cubicBezTo>
                <a:close/>
                <a:moveTo>
                  <a:pt x="9693782" y="1428710"/>
                </a:moveTo>
                <a:cubicBezTo>
                  <a:pt x="9729496" y="1428710"/>
                  <a:pt x="9758448" y="1457662"/>
                  <a:pt x="9758448" y="1493374"/>
                </a:cubicBezTo>
                <a:cubicBezTo>
                  <a:pt x="9758448" y="1529088"/>
                  <a:pt x="9729496" y="1558040"/>
                  <a:pt x="9693782" y="1558040"/>
                </a:cubicBezTo>
                <a:cubicBezTo>
                  <a:pt x="9658068" y="1558040"/>
                  <a:pt x="9629116" y="1529088"/>
                  <a:pt x="9629116" y="1493374"/>
                </a:cubicBezTo>
                <a:cubicBezTo>
                  <a:pt x="9629116" y="1457662"/>
                  <a:pt x="9658068" y="1428710"/>
                  <a:pt x="9693782" y="1428710"/>
                </a:cubicBezTo>
                <a:close/>
                <a:moveTo>
                  <a:pt x="9541123" y="1428710"/>
                </a:moveTo>
                <a:cubicBezTo>
                  <a:pt x="9576837" y="1428710"/>
                  <a:pt x="9605789" y="1457662"/>
                  <a:pt x="9605789" y="1493374"/>
                </a:cubicBezTo>
                <a:cubicBezTo>
                  <a:pt x="9605789" y="1529088"/>
                  <a:pt x="9576837" y="1558040"/>
                  <a:pt x="9541123" y="1558040"/>
                </a:cubicBezTo>
                <a:cubicBezTo>
                  <a:pt x="9505409" y="1558040"/>
                  <a:pt x="9476457" y="1529088"/>
                  <a:pt x="9476457" y="1493374"/>
                </a:cubicBezTo>
                <a:cubicBezTo>
                  <a:pt x="9476457" y="1457662"/>
                  <a:pt x="9505409" y="1428710"/>
                  <a:pt x="9541123" y="1428710"/>
                </a:cubicBezTo>
                <a:close/>
                <a:moveTo>
                  <a:pt x="9384550" y="1428710"/>
                </a:moveTo>
                <a:cubicBezTo>
                  <a:pt x="9420264" y="1428710"/>
                  <a:pt x="9449216" y="1457662"/>
                  <a:pt x="9449216" y="1493374"/>
                </a:cubicBezTo>
                <a:cubicBezTo>
                  <a:pt x="9449216" y="1529088"/>
                  <a:pt x="9420264" y="1558040"/>
                  <a:pt x="9384550" y="1558040"/>
                </a:cubicBezTo>
                <a:cubicBezTo>
                  <a:pt x="9348836" y="1558040"/>
                  <a:pt x="9319884" y="1529088"/>
                  <a:pt x="9319884" y="1493374"/>
                </a:cubicBezTo>
                <a:cubicBezTo>
                  <a:pt x="9319884" y="1457662"/>
                  <a:pt x="9348836" y="1428710"/>
                  <a:pt x="9384550" y="1428710"/>
                </a:cubicBezTo>
                <a:close/>
                <a:moveTo>
                  <a:pt x="9227977" y="1428710"/>
                </a:moveTo>
                <a:cubicBezTo>
                  <a:pt x="9263691" y="1428710"/>
                  <a:pt x="9292643" y="1457662"/>
                  <a:pt x="9292643" y="1493374"/>
                </a:cubicBezTo>
                <a:cubicBezTo>
                  <a:pt x="9292643" y="1529088"/>
                  <a:pt x="9263691" y="1558040"/>
                  <a:pt x="9227977" y="1558040"/>
                </a:cubicBezTo>
                <a:cubicBezTo>
                  <a:pt x="9192263" y="1558040"/>
                  <a:pt x="9163311" y="1529088"/>
                  <a:pt x="9163311" y="1493374"/>
                </a:cubicBezTo>
                <a:cubicBezTo>
                  <a:pt x="9163311" y="1457662"/>
                  <a:pt x="9192263" y="1428710"/>
                  <a:pt x="9227977" y="1428710"/>
                </a:cubicBezTo>
                <a:close/>
                <a:moveTo>
                  <a:pt x="9075317" y="1428710"/>
                </a:moveTo>
                <a:cubicBezTo>
                  <a:pt x="9111031" y="1428710"/>
                  <a:pt x="9139983" y="1457662"/>
                  <a:pt x="9139983" y="1493374"/>
                </a:cubicBezTo>
                <a:cubicBezTo>
                  <a:pt x="9139983" y="1529088"/>
                  <a:pt x="9111031" y="1558040"/>
                  <a:pt x="9075317" y="1558040"/>
                </a:cubicBezTo>
                <a:cubicBezTo>
                  <a:pt x="9039603" y="1558040"/>
                  <a:pt x="9010651" y="1529088"/>
                  <a:pt x="9010651" y="1493374"/>
                </a:cubicBezTo>
                <a:cubicBezTo>
                  <a:pt x="9010651" y="1457662"/>
                  <a:pt x="9039603" y="1428710"/>
                  <a:pt x="9075317" y="1428710"/>
                </a:cubicBezTo>
                <a:close/>
                <a:moveTo>
                  <a:pt x="8914829" y="1428710"/>
                </a:moveTo>
                <a:cubicBezTo>
                  <a:pt x="8950543" y="1428710"/>
                  <a:pt x="8979495" y="1457662"/>
                  <a:pt x="8979495" y="1493374"/>
                </a:cubicBezTo>
                <a:cubicBezTo>
                  <a:pt x="8979495" y="1529088"/>
                  <a:pt x="8950543" y="1558040"/>
                  <a:pt x="8914829" y="1558040"/>
                </a:cubicBezTo>
                <a:cubicBezTo>
                  <a:pt x="8879115" y="1558040"/>
                  <a:pt x="8850163" y="1529088"/>
                  <a:pt x="8850163" y="1493374"/>
                </a:cubicBezTo>
                <a:cubicBezTo>
                  <a:pt x="8850163" y="1457662"/>
                  <a:pt x="8879115" y="1428710"/>
                  <a:pt x="8914829" y="1428710"/>
                </a:cubicBezTo>
                <a:close/>
                <a:moveTo>
                  <a:pt x="8766086" y="1428710"/>
                </a:moveTo>
                <a:cubicBezTo>
                  <a:pt x="8801800" y="1428710"/>
                  <a:pt x="8830752" y="1457662"/>
                  <a:pt x="8830752" y="1493374"/>
                </a:cubicBezTo>
                <a:cubicBezTo>
                  <a:pt x="8830752" y="1529088"/>
                  <a:pt x="8801800" y="1558040"/>
                  <a:pt x="8766086" y="1558040"/>
                </a:cubicBezTo>
                <a:cubicBezTo>
                  <a:pt x="8730372" y="1558040"/>
                  <a:pt x="8701420" y="1529088"/>
                  <a:pt x="8701420" y="1493374"/>
                </a:cubicBezTo>
                <a:cubicBezTo>
                  <a:pt x="8701420" y="1457662"/>
                  <a:pt x="8730372" y="1428710"/>
                  <a:pt x="8766086" y="1428710"/>
                </a:cubicBezTo>
                <a:close/>
                <a:moveTo>
                  <a:pt x="8601683" y="1428710"/>
                </a:moveTo>
                <a:cubicBezTo>
                  <a:pt x="8637397" y="1428710"/>
                  <a:pt x="8666349" y="1457662"/>
                  <a:pt x="8666349" y="1493374"/>
                </a:cubicBezTo>
                <a:cubicBezTo>
                  <a:pt x="8666349" y="1529088"/>
                  <a:pt x="8637397" y="1558040"/>
                  <a:pt x="8601683" y="1558040"/>
                </a:cubicBezTo>
                <a:cubicBezTo>
                  <a:pt x="8565969" y="1558040"/>
                  <a:pt x="8537017" y="1529088"/>
                  <a:pt x="8537017" y="1493374"/>
                </a:cubicBezTo>
                <a:cubicBezTo>
                  <a:pt x="8537017" y="1457662"/>
                  <a:pt x="8565969" y="1428710"/>
                  <a:pt x="8601683" y="1428710"/>
                </a:cubicBezTo>
                <a:close/>
                <a:moveTo>
                  <a:pt x="8449025" y="1428710"/>
                </a:moveTo>
                <a:cubicBezTo>
                  <a:pt x="8484739" y="1428710"/>
                  <a:pt x="8513691" y="1457662"/>
                  <a:pt x="8513691" y="1493374"/>
                </a:cubicBezTo>
                <a:cubicBezTo>
                  <a:pt x="8513691" y="1529088"/>
                  <a:pt x="8484739" y="1558040"/>
                  <a:pt x="8449025" y="1558040"/>
                </a:cubicBezTo>
                <a:cubicBezTo>
                  <a:pt x="8413311" y="1558040"/>
                  <a:pt x="8384359" y="1529088"/>
                  <a:pt x="8384359" y="1493374"/>
                </a:cubicBezTo>
                <a:cubicBezTo>
                  <a:pt x="8384359" y="1457662"/>
                  <a:pt x="8413311" y="1428710"/>
                  <a:pt x="8449025" y="1428710"/>
                </a:cubicBezTo>
                <a:close/>
                <a:moveTo>
                  <a:pt x="8296367" y="1428710"/>
                </a:moveTo>
                <a:cubicBezTo>
                  <a:pt x="8332081" y="1428710"/>
                  <a:pt x="8361033" y="1457662"/>
                  <a:pt x="8361033" y="1493374"/>
                </a:cubicBezTo>
                <a:cubicBezTo>
                  <a:pt x="8361033" y="1529088"/>
                  <a:pt x="8332081" y="1558040"/>
                  <a:pt x="8296367" y="1558040"/>
                </a:cubicBezTo>
                <a:cubicBezTo>
                  <a:pt x="8260653" y="1558040"/>
                  <a:pt x="8231701" y="1529088"/>
                  <a:pt x="8231701" y="1493374"/>
                </a:cubicBezTo>
                <a:cubicBezTo>
                  <a:pt x="8231701" y="1457662"/>
                  <a:pt x="8260653" y="1428710"/>
                  <a:pt x="8296367" y="1428710"/>
                </a:cubicBezTo>
                <a:close/>
                <a:moveTo>
                  <a:pt x="8139792" y="1428710"/>
                </a:moveTo>
                <a:cubicBezTo>
                  <a:pt x="8175506" y="1428710"/>
                  <a:pt x="8204458" y="1457662"/>
                  <a:pt x="8204458" y="1493374"/>
                </a:cubicBezTo>
                <a:cubicBezTo>
                  <a:pt x="8204458" y="1529088"/>
                  <a:pt x="8175506" y="1558040"/>
                  <a:pt x="8139792" y="1558040"/>
                </a:cubicBezTo>
                <a:cubicBezTo>
                  <a:pt x="8104078" y="1558040"/>
                  <a:pt x="8075126" y="1529088"/>
                  <a:pt x="8075126" y="1493374"/>
                </a:cubicBezTo>
                <a:cubicBezTo>
                  <a:pt x="8075126" y="1457662"/>
                  <a:pt x="8104078" y="1428710"/>
                  <a:pt x="8139792" y="1428710"/>
                </a:cubicBezTo>
                <a:close/>
                <a:moveTo>
                  <a:pt x="7987133" y="1428710"/>
                </a:moveTo>
                <a:cubicBezTo>
                  <a:pt x="8022847" y="1428710"/>
                  <a:pt x="8051799" y="1457662"/>
                  <a:pt x="8051799" y="1493374"/>
                </a:cubicBezTo>
                <a:cubicBezTo>
                  <a:pt x="8051799" y="1529088"/>
                  <a:pt x="8022847" y="1558040"/>
                  <a:pt x="7987133" y="1558040"/>
                </a:cubicBezTo>
                <a:cubicBezTo>
                  <a:pt x="7951419" y="1558040"/>
                  <a:pt x="7922467" y="1529088"/>
                  <a:pt x="7922467" y="1493374"/>
                </a:cubicBezTo>
                <a:cubicBezTo>
                  <a:pt x="7922467" y="1457662"/>
                  <a:pt x="7951419" y="1428710"/>
                  <a:pt x="7987133" y="1428710"/>
                </a:cubicBezTo>
                <a:close/>
                <a:moveTo>
                  <a:pt x="7830562" y="1428710"/>
                </a:moveTo>
                <a:cubicBezTo>
                  <a:pt x="7866276" y="1428710"/>
                  <a:pt x="7895228" y="1457662"/>
                  <a:pt x="7895228" y="1493374"/>
                </a:cubicBezTo>
                <a:cubicBezTo>
                  <a:pt x="7895228" y="1529088"/>
                  <a:pt x="7866276" y="1558040"/>
                  <a:pt x="7830562" y="1558040"/>
                </a:cubicBezTo>
                <a:cubicBezTo>
                  <a:pt x="7794848" y="1558040"/>
                  <a:pt x="7765896" y="1529088"/>
                  <a:pt x="7765896" y="1493374"/>
                </a:cubicBezTo>
                <a:cubicBezTo>
                  <a:pt x="7765896" y="1457662"/>
                  <a:pt x="7794848" y="1428710"/>
                  <a:pt x="7830562" y="1428710"/>
                </a:cubicBezTo>
                <a:close/>
                <a:moveTo>
                  <a:pt x="7677902" y="1428710"/>
                </a:moveTo>
                <a:cubicBezTo>
                  <a:pt x="7713616" y="1428710"/>
                  <a:pt x="7742568" y="1457662"/>
                  <a:pt x="7742568" y="1493374"/>
                </a:cubicBezTo>
                <a:cubicBezTo>
                  <a:pt x="7742568" y="1529088"/>
                  <a:pt x="7713616" y="1558040"/>
                  <a:pt x="7677902" y="1558040"/>
                </a:cubicBezTo>
                <a:cubicBezTo>
                  <a:pt x="7642188" y="1558040"/>
                  <a:pt x="7613236" y="1529088"/>
                  <a:pt x="7613236" y="1493374"/>
                </a:cubicBezTo>
                <a:cubicBezTo>
                  <a:pt x="7613236" y="1457662"/>
                  <a:pt x="7642188" y="1428710"/>
                  <a:pt x="7677902" y="1428710"/>
                </a:cubicBezTo>
                <a:close/>
                <a:moveTo>
                  <a:pt x="7521329" y="1428710"/>
                </a:moveTo>
                <a:cubicBezTo>
                  <a:pt x="7557043" y="1428710"/>
                  <a:pt x="7585995" y="1457662"/>
                  <a:pt x="7585995" y="1493374"/>
                </a:cubicBezTo>
                <a:cubicBezTo>
                  <a:pt x="7585995" y="1529088"/>
                  <a:pt x="7557043" y="1558040"/>
                  <a:pt x="7521329" y="1558040"/>
                </a:cubicBezTo>
                <a:cubicBezTo>
                  <a:pt x="7485615" y="1558040"/>
                  <a:pt x="7456663" y="1529088"/>
                  <a:pt x="7456663" y="1493374"/>
                </a:cubicBezTo>
                <a:cubicBezTo>
                  <a:pt x="7456663" y="1457662"/>
                  <a:pt x="7485615" y="1428710"/>
                  <a:pt x="7521329" y="1428710"/>
                </a:cubicBezTo>
                <a:close/>
                <a:moveTo>
                  <a:pt x="7368669" y="1428710"/>
                </a:moveTo>
                <a:cubicBezTo>
                  <a:pt x="7404383" y="1428710"/>
                  <a:pt x="7433335" y="1457662"/>
                  <a:pt x="7433335" y="1493374"/>
                </a:cubicBezTo>
                <a:cubicBezTo>
                  <a:pt x="7433335" y="1529088"/>
                  <a:pt x="7404383" y="1558040"/>
                  <a:pt x="7368669" y="1558040"/>
                </a:cubicBezTo>
                <a:cubicBezTo>
                  <a:pt x="7332955" y="1558040"/>
                  <a:pt x="7304003" y="1529088"/>
                  <a:pt x="7304003" y="1493374"/>
                </a:cubicBezTo>
                <a:cubicBezTo>
                  <a:pt x="7304003" y="1457662"/>
                  <a:pt x="7332955" y="1428710"/>
                  <a:pt x="7368669" y="1428710"/>
                </a:cubicBezTo>
                <a:close/>
                <a:moveTo>
                  <a:pt x="7212096" y="1428710"/>
                </a:moveTo>
                <a:cubicBezTo>
                  <a:pt x="7247810" y="1428710"/>
                  <a:pt x="7276762" y="1457662"/>
                  <a:pt x="7276762" y="1493374"/>
                </a:cubicBezTo>
                <a:cubicBezTo>
                  <a:pt x="7276762" y="1529088"/>
                  <a:pt x="7247810" y="1558040"/>
                  <a:pt x="7212096" y="1558040"/>
                </a:cubicBezTo>
                <a:cubicBezTo>
                  <a:pt x="7176382" y="1558040"/>
                  <a:pt x="7147430" y="1529088"/>
                  <a:pt x="7147430" y="1493374"/>
                </a:cubicBezTo>
                <a:cubicBezTo>
                  <a:pt x="7147430" y="1457662"/>
                  <a:pt x="7176382" y="1428710"/>
                  <a:pt x="7212096" y="1428710"/>
                </a:cubicBezTo>
                <a:close/>
                <a:moveTo>
                  <a:pt x="7055523" y="1428710"/>
                </a:moveTo>
                <a:cubicBezTo>
                  <a:pt x="7091237" y="1428710"/>
                  <a:pt x="7120189" y="1457662"/>
                  <a:pt x="7120189" y="1493374"/>
                </a:cubicBezTo>
                <a:cubicBezTo>
                  <a:pt x="7120189" y="1529088"/>
                  <a:pt x="7091237" y="1558040"/>
                  <a:pt x="7055523" y="1558040"/>
                </a:cubicBezTo>
                <a:cubicBezTo>
                  <a:pt x="7019809" y="1558040"/>
                  <a:pt x="6990857" y="1529088"/>
                  <a:pt x="6990857" y="1493374"/>
                </a:cubicBezTo>
                <a:cubicBezTo>
                  <a:pt x="6990857" y="1457662"/>
                  <a:pt x="7019809" y="1428710"/>
                  <a:pt x="7055523" y="1428710"/>
                </a:cubicBezTo>
                <a:close/>
                <a:moveTo>
                  <a:pt x="6895037" y="1428710"/>
                </a:moveTo>
                <a:cubicBezTo>
                  <a:pt x="6930751" y="1428710"/>
                  <a:pt x="6959703" y="1457662"/>
                  <a:pt x="6959703" y="1493374"/>
                </a:cubicBezTo>
                <a:cubicBezTo>
                  <a:pt x="6959703" y="1529088"/>
                  <a:pt x="6930751" y="1558040"/>
                  <a:pt x="6895037" y="1558040"/>
                </a:cubicBezTo>
                <a:cubicBezTo>
                  <a:pt x="6859323" y="1558040"/>
                  <a:pt x="6830371" y="1529088"/>
                  <a:pt x="6830371" y="1493374"/>
                </a:cubicBezTo>
                <a:cubicBezTo>
                  <a:pt x="6830371" y="1457662"/>
                  <a:pt x="6859323" y="1428710"/>
                  <a:pt x="6895037" y="1428710"/>
                </a:cubicBezTo>
                <a:close/>
                <a:moveTo>
                  <a:pt x="6742375" y="1428710"/>
                </a:moveTo>
                <a:cubicBezTo>
                  <a:pt x="6778089" y="1428710"/>
                  <a:pt x="6807041" y="1457662"/>
                  <a:pt x="6807041" y="1493374"/>
                </a:cubicBezTo>
                <a:cubicBezTo>
                  <a:pt x="6807041" y="1529088"/>
                  <a:pt x="6778089" y="1558040"/>
                  <a:pt x="6742375" y="1558040"/>
                </a:cubicBezTo>
                <a:cubicBezTo>
                  <a:pt x="6706661" y="1558040"/>
                  <a:pt x="6677709" y="1529088"/>
                  <a:pt x="6677709" y="1493374"/>
                </a:cubicBezTo>
                <a:cubicBezTo>
                  <a:pt x="6677709" y="1457662"/>
                  <a:pt x="6706661" y="1428710"/>
                  <a:pt x="6742375" y="1428710"/>
                </a:cubicBezTo>
                <a:close/>
                <a:moveTo>
                  <a:pt x="6585802" y="1428710"/>
                </a:moveTo>
                <a:cubicBezTo>
                  <a:pt x="6621516" y="1428710"/>
                  <a:pt x="6650468" y="1457662"/>
                  <a:pt x="6650468" y="1493374"/>
                </a:cubicBezTo>
                <a:cubicBezTo>
                  <a:pt x="6650468" y="1529088"/>
                  <a:pt x="6621516" y="1558040"/>
                  <a:pt x="6585802" y="1558040"/>
                </a:cubicBezTo>
                <a:cubicBezTo>
                  <a:pt x="6550088" y="1558040"/>
                  <a:pt x="6521136" y="1529088"/>
                  <a:pt x="6521136" y="1493374"/>
                </a:cubicBezTo>
                <a:cubicBezTo>
                  <a:pt x="6521136" y="1457662"/>
                  <a:pt x="6550088" y="1428710"/>
                  <a:pt x="6585802" y="1428710"/>
                </a:cubicBezTo>
                <a:close/>
                <a:moveTo>
                  <a:pt x="6429229" y="1428710"/>
                </a:moveTo>
                <a:cubicBezTo>
                  <a:pt x="6464943" y="1428710"/>
                  <a:pt x="6493895" y="1457662"/>
                  <a:pt x="6493895" y="1493374"/>
                </a:cubicBezTo>
                <a:cubicBezTo>
                  <a:pt x="6493895" y="1529088"/>
                  <a:pt x="6464943" y="1558040"/>
                  <a:pt x="6429229" y="1558040"/>
                </a:cubicBezTo>
                <a:cubicBezTo>
                  <a:pt x="6393515" y="1558040"/>
                  <a:pt x="6364563" y="1529088"/>
                  <a:pt x="6364563" y="1493374"/>
                </a:cubicBezTo>
                <a:cubicBezTo>
                  <a:pt x="6364563" y="1457662"/>
                  <a:pt x="6393515" y="1428710"/>
                  <a:pt x="6429229" y="1428710"/>
                </a:cubicBezTo>
                <a:close/>
                <a:moveTo>
                  <a:pt x="6276571" y="1428710"/>
                </a:moveTo>
                <a:cubicBezTo>
                  <a:pt x="6312285" y="1428710"/>
                  <a:pt x="6341237" y="1457662"/>
                  <a:pt x="6341237" y="1493374"/>
                </a:cubicBezTo>
                <a:cubicBezTo>
                  <a:pt x="6341237" y="1529088"/>
                  <a:pt x="6312285" y="1558040"/>
                  <a:pt x="6276571" y="1558040"/>
                </a:cubicBezTo>
                <a:cubicBezTo>
                  <a:pt x="6240857" y="1558040"/>
                  <a:pt x="6211905" y="1529088"/>
                  <a:pt x="6211905" y="1493374"/>
                </a:cubicBezTo>
                <a:cubicBezTo>
                  <a:pt x="6211905" y="1457662"/>
                  <a:pt x="6240857" y="1428710"/>
                  <a:pt x="6276571" y="1428710"/>
                </a:cubicBezTo>
                <a:close/>
                <a:moveTo>
                  <a:pt x="5967338" y="1428710"/>
                </a:moveTo>
                <a:cubicBezTo>
                  <a:pt x="6003052" y="1428710"/>
                  <a:pt x="6032004" y="1457662"/>
                  <a:pt x="6032004" y="1493374"/>
                </a:cubicBezTo>
                <a:cubicBezTo>
                  <a:pt x="6032004" y="1529088"/>
                  <a:pt x="6003052" y="1558040"/>
                  <a:pt x="5967338" y="1558040"/>
                </a:cubicBezTo>
                <a:cubicBezTo>
                  <a:pt x="5931624" y="1558040"/>
                  <a:pt x="5902672" y="1529088"/>
                  <a:pt x="5902672" y="1493374"/>
                </a:cubicBezTo>
                <a:cubicBezTo>
                  <a:pt x="5902672" y="1457662"/>
                  <a:pt x="5931624" y="1428710"/>
                  <a:pt x="5967338" y="1428710"/>
                </a:cubicBezTo>
                <a:close/>
                <a:moveTo>
                  <a:pt x="5810805" y="1428710"/>
                </a:moveTo>
                <a:cubicBezTo>
                  <a:pt x="5846479" y="1428710"/>
                  <a:pt x="5875431" y="1457662"/>
                  <a:pt x="5875431" y="1493374"/>
                </a:cubicBezTo>
                <a:cubicBezTo>
                  <a:pt x="5875431" y="1529088"/>
                  <a:pt x="5846479" y="1558040"/>
                  <a:pt x="5810805" y="1558040"/>
                </a:cubicBezTo>
                <a:cubicBezTo>
                  <a:pt x="5775079" y="1558040"/>
                  <a:pt x="5746119" y="1529088"/>
                  <a:pt x="5746119" y="1493374"/>
                </a:cubicBezTo>
                <a:cubicBezTo>
                  <a:pt x="5746119" y="1457662"/>
                  <a:pt x="5775079" y="1428710"/>
                  <a:pt x="5810805" y="1428710"/>
                </a:cubicBezTo>
                <a:close/>
                <a:moveTo>
                  <a:pt x="5658108" y="1428710"/>
                </a:moveTo>
                <a:cubicBezTo>
                  <a:pt x="5693823" y="1428710"/>
                  <a:pt x="5722785" y="1457662"/>
                  <a:pt x="5722785" y="1493374"/>
                </a:cubicBezTo>
                <a:cubicBezTo>
                  <a:pt x="5722785" y="1529088"/>
                  <a:pt x="5693823" y="1558040"/>
                  <a:pt x="5658108" y="1558040"/>
                </a:cubicBezTo>
                <a:cubicBezTo>
                  <a:pt x="5622397" y="1558040"/>
                  <a:pt x="5593443" y="1529088"/>
                  <a:pt x="5593443" y="1493374"/>
                </a:cubicBezTo>
                <a:cubicBezTo>
                  <a:pt x="5593443" y="1457662"/>
                  <a:pt x="5622397" y="1428710"/>
                  <a:pt x="5658108" y="1428710"/>
                </a:cubicBezTo>
                <a:close/>
                <a:moveTo>
                  <a:pt x="526542" y="1428710"/>
                </a:moveTo>
                <a:cubicBezTo>
                  <a:pt x="562256" y="1428710"/>
                  <a:pt x="591208" y="1457662"/>
                  <a:pt x="591208" y="1493374"/>
                </a:cubicBezTo>
                <a:cubicBezTo>
                  <a:pt x="591208" y="1529088"/>
                  <a:pt x="562256" y="1558040"/>
                  <a:pt x="526542" y="1558040"/>
                </a:cubicBezTo>
                <a:cubicBezTo>
                  <a:pt x="490829" y="1558040"/>
                  <a:pt x="461877" y="1529088"/>
                  <a:pt x="461877" y="1493374"/>
                </a:cubicBezTo>
                <a:cubicBezTo>
                  <a:pt x="461877" y="1457662"/>
                  <a:pt x="490829" y="1428710"/>
                  <a:pt x="526542" y="1428710"/>
                </a:cubicBezTo>
                <a:close/>
                <a:moveTo>
                  <a:pt x="373886" y="1428710"/>
                </a:moveTo>
                <a:cubicBezTo>
                  <a:pt x="409600" y="1428710"/>
                  <a:pt x="438551" y="1457662"/>
                  <a:pt x="438551" y="1493374"/>
                </a:cubicBezTo>
                <a:cubicBezTo>
                  <a:pt x="438551" y="1529088"/>
                  <a:pt x="409600" y="1558040"/>
                  <a:pt x="373886" y="1558040"/>
                </a:cubicBezTo>
                <a:cubicBezTo>
                  <a:pt x="338173" y="1558040"/>
                  <a:pt x="309221" y="1529088"/>
                  <a:pt x="309221" y="1493374"/>
                </a:cubicBezTo>
                <a:cubicBezTo>
                  <a:pt x="309221" y="1457662"/>
                  <a:pt x="338173" y="1428710"/>
                  <a:pt x="373886" y="1428710"/>
                </a:cubicBezTo>
                <a:close/>
                <a:moveTo>
                  <a:pt x="217317" y="1428710"/>
                </a:moveTo>
                <a:cubicBezTo>
                  <a:pt x="253031" y="1428710"/>
                  <a:pt x="281982" y="1457662"/>
                  <a:pt x="281982" y="1493374"/>
                </a:cubicBezTo>
                <a:cubicBezTo>
                  <a:pt x="281982" y="1529088"/>
                  <a:pt x="253031" y="1558040"/>
                  <a:pt x="217317" y="1558040"/>
                </a:cubicBezTo>
                <a:cubicBezTo>
                  <a:pt x="181604" y="1558040"/>
                  <a:pt x="152652" y="1529088"/>
                  <a:pt x="152652" y="1493374"/>
                </a:cubicBezTo>
                <a:cubicBezTo>
                  <a:pt x="152652" y="1457662"/>
                  <a:pt x="181604" y="1428710"/>
                  <a:pt x="217317" y="1428710"/>
                </a:cubicBezTo>
                <a:close/>
                <a:moveTo>
                  <a:pt x="5348888" y="1428708"/>
                </a:moveTo>
                <a:cubicBezTo>
                  <a:pt x="5384604" y="1428708"/>
                  <a:pt x="5413557" y="1457660"/>
                  <a:pt x="5413557" y="1493374"/>
                </a:cubicBezTo>
                <a:cubicBezTo>
                  <a:pt x="5413557" y="1529086"/>
                  <a:pt x="5384604" y="1558038"/>
                  <a:pt x="5348888" y="1558038"/>
                </a:cubicBezTo>
                <a:cubicBezTo>
                  <a:pt x="5313192" y="1558038"/>
                  <a:pt x="5284237" y="1529086"/>
                  <a:pt x="5284237" y="1493374"/>
                </a:cubicBezTo>
                <a:cubicBezTo>
                  <a:pt x="5284237" y="1457660"/>
                  <a:pt x="5313192" y="1428708"/>
                  <a:pt x="5348888" y="1428708"/>
                </a:cubicBezTo>
                <a:close/>
                <a:moveTo>
                  <a:pt x="3321398" y="1428708"/>
                </a:moveTo>
                <a:cubicBezTo>
                  <a:pt x="3357109" y="1428708"/>
                  <a:pt x="3386040" y="1457660"/>
                  <a:pt x="3386040" y="1493374"/>
                </a:cubicBezTo>
                <a:cubicBezTo>
                  <a:pt x="3386040" y="1529086"/>
                  <a:pt x="3357109" y="1558038"/>
                  <a:pt x="3321398" y="1558038"/>
                </a:cubicBezTo>
                <a:cubicBezTo>
                  <a:pt x="3285674" y="1558038"/>
                  <a:pt x="3256733" y="1529086"/>
                  <a:pt x="3256733" y="1493374"/>
                </a:cubicBezTo>
                <a:cubicBezTo>
                  <a:pt x="3256733" y="1457660"/>
                  <a:pt x="3285674" y="1428708"/>
                  <a:pt x="3321398" y="1428708"/>
                </a:cubicBezTo>
                <a:close/>
                <a:moveTo>
                  <a:pt x="3172644" y="1428708"/>
                </a:moveTo>
                <a:cubicBezTo>
                  <a:pt x="3208369" y="1428708"/>
                  <a:pt x="3237318" y="1457660"/>
                  <a:pt x="3237318" y="1493374"/>
                </a:cubicBezTo>
                <a:cubicBezTo>
                  <a:pt x="3237318" y="1529086"/>
                  <a:pt x="3208369" y="1558038"/>
                  <a:pt x="3172644" y="1558038"/>
                </a:cubicBezTo>
                <a:cubicBezTo>
                  <a:pt x="3136920" y="1558038"/>
                  <a:pt x="3107959" y="1529086"/>
                  <a:pt x="3107959" y="1493374"/>
                </a:cubicBezTo>
                <a:cubicBezTo>
                  <a:pt x="3107959" y="1457660"/>
                  <a:pt x="3136920" y="1428708"/>
                  <a:pt x="3172644" y="1428708"/>
                </a:cubicBezTo>
                <a:close/>
                <a:moveTo>
                  <a:pt x="3012125" y="1428708"/>
                </a:moveTo>
                <a:cubicBezTo>
                  <a:pt x="3047833" y="1428708"/>
                  <a:pt x="3076794" y="1457660"/>
                  <a:pt x="3076794" y="1493374"/>
                </a:cubicBezTo>
                <a:cubicBezTo>
                  <a:pt x="3076794" y="1529086"/>
                  <a:pt x="3047833" y="1558038"/>
                  <a:pt x="3012125" y="1558038"/>
                </a:cubicBezTo>
                <a:cubicBezTo>
                  <a:pt x="2976416" y="1558038"/>
                  <a:pt x="2947469" y="1529086"/>
                  <a:pt x="2947469" y="1493374"/>
                </a:cubicBezTo>
                <a:cubicBezTo>
                  <a:pt x="2947469" y="1457660"/>
                  <a:pt x="2976416" y="1428708"/>
                  <a:pt x="3012125" y="1428708"/>
                </a:cubicBezTo>
                <a:close/>
                <a:moveTo>
                  <a:pt x="2389803" y="1428708"/>
                </a:moveTo>
                <a:cubicBezTo>
                  <a:pt x="2425546" y="1428708"/>
                  <a:pt x="2454493" y="1457660"/>
                  <a:pt x="2454493" y="1493374"/>
                </a:cubicBezTo>
                <a:cubicBezTo>
                  <a:pt x="2454493" y="1529086"/>
                  <a:pt x="2425546" y="1558038"/>
                  <a:pt x="2389803" y="1558038"/>
                </a:cubicBezTo>
                <a:cubicBezTo>
                  <a:pt x="2354117" y="1558038"/>
                  <a:pt x="2325157" y="1529086"/>
                  <a:pt x="2325157" y="1493374"/>
                </a:cubicBezTo>
                <a:cubicBezTo>
                  <a:pt x="2325157" y="1457660"/>
                  <a:pt x="2354117" y="1428708"/>
                  <a:pt x="2389803" y="1428708"/>
                </a:cubicBezTo>
                <a:close/>
                <a:moveTo>
                  <a:pt x="2237136" y="1428708"/>
                </a:moveTo>
                <a:cubicBezTo>
                  <a:pt x="2272861" y="1428708"/>
                  <a:pt x="2301822" y="1457660"/>
                  <a:pt x="2301822" y="1493374"/>
                </a:cubicBezTo>
                <a:cubicBezTo>
                  <a:pt x="2301822" y="1529086"/>
                  <a:pt x="2272861" y="1558038"/>
                  <a:pt x="2237136" y="1558038"/>
                </a:cubicBezTo>
                <a:cubicBezTo>
                  <a:pt x="2201412" y="1558038"/>
                  <a:pt x="2172451" y="1529086"/>
                  <a:pt x="2172451" y="1493374"/>
                </a:cubicBezTo>
                <a:cubicBezTo>
                  <a:pt x="2172451" y="1457660"/>
                  <a:pt x="2201412" y="1428708"/>
                  <a:pt x="2237136" y="1428708"/>
                </a:cubicBezTo>
                <a:close/>
                <a:moveTo>
                  <a:pt x="2084457" y="1428708"/>
                </a:moveTo>
                <a:cubicBezTo>
                  <a:pt x="2120169" y="1428708"/>
                  <a:pt x="2149118" y="1457660"/>
                  <a:pt x="2149118" y="1493374"/>
                </a:cubicBezTo>
                <a:cubicBezTo>
                  <a:pt x="2149118" y="1529086"/>
                  <a:pt x="2120169" y="1558038"/>
                  <a:pt x="2084457" y="1558038"/>
                </a:cubicBezTo>
                <a:cubicBezTo>
                  <a:pt x="2048724" y="1558038"/>
                  <a:pt x="2019816" y="1529086"/>
                  <a:pt x="2019816" y="1493374"/>
                </a:cubicBezTo>
                <a:cubicBezTo>
                  <a:pt x="2019816" y="1457660"/>
                  <a:pt x="2048724" y="1428708"/>
                  <a:pt x="2084457" y="1428708"/>
                </a:cubicBezTo>
                <a:close/>
                <a:moveTo>
                  <a:pt x="1927872" y="1428708"/>
                </a:moveTo>
                <a:cubicBezTo>
                  <a:pt x="1963586" y="1428708"/>
                  <a:pt x="1992557" y="1457660"/>
                  <a:pt x="1992557" y="1493374"/>
                </a:cubicBezTo>
                <a:cubicBezTo>
                  <a:pt x="1992557" y="1529086"/>
                  <a:pt x="1963586" y="1558038"/>
                  <a:pt x="1927872" y="1558038"/>
                </a:cubicBezTo>
                <a:cubicBezTo>
                  <a:pt x="1892188" y="1558038"/>
                  <a:pt x="1863233" y="1529086"/>
                  <a:pt x="1863233" y="1493374"/>
                </a:cubicBezTo>
                <a:cubicBezTo>
                  <a:pt x="1863233" y="1457660"/>
                  <a:pt x="1892188" y="1428708"/>
                  <a:pt x="1927872" y="1428708"/>
                </a:cubicBezTo>
                <a:close/>
                <a:moveTo>
                  <a:pt x="1775219" y="1428708"/>
                </a:moveTo>
                <a:cubicBezTo>
                  <a:pt x="1810923" y="1428708"/>
                  <a:pt x="1839905" y="1457660"/>
                  <a:pt x="1839905" y="1493374"/>
                </a:cubicBezTo>
                <a:cubicBezTo>
                  <a:pt x="1839905" y="1529086"/>
                  <a:pt x="1810923" y="1558038"/>
                  <a:pt x="1775219" y="1558038"/>
                </a:cubicBezTo>
                <a:cubicBezTo>
                  <a:pt x="1739498" y="1558038"/>
                  <a:pt x="1710549" y="1529086"/>
                  <a:pt x="1710549" y="1493374"/>
                </a:cubicBezTo>
                <a:cubicBezTo>
                  <a:pt x="1710549" y="1457660"/>
                  <a:pt x="1739498" y="1428708"/>
                  <a:pt x="1775219" y="1428708"/>
                </a:cubicBezTo>
                <a:close/>
                <a:moveTo>
                  <a:pt x="1618636" y="1428708"/>
                </a:moveTo>
                <a:cubicBezTo>
                  <a:pt x="1654355" y="1428708"/>
                  <a:pt x="1683307" y="1457660"/>
                  <a:pt x="1683307" y="1493374"/>
                </a:cubicBezTo>
                <a:cubicBezTo>
                  <a:pt x="1683307" y="1529086"/>
                  <a:pt x="1654355" y="1558038"/>
                  <a:pt x="1618636" y="1558038"/>
                </a:cubicBezTo>
                <a:cubicBezTo>
                  <a:pt x="1582925" y="1558038"/>
                  <a:pt x="1553973" y="1529086"/>
                  <a:pt x="1553973" y="1493374"/>
                </a:cubicBezTo>
                <a:cubicBezTo>
                  <a:pt x="1553973" y="1457660"/>
                  <a:pt x="1582925" y="1428708"/>
                  <a:pt x="1618636" y="1428708"/>
                </a:cubicBezTo>
                <a:close/>
                <a:moveTo>
                  <a:pt x="1465980" y="1428708"/>
                </a:moveTo>
                <a:cubicBezTo>
                  <a:pt x="1501694" y="1428708"/>
                  <a:pt x="1530647" y="1457660"/>
                  <a:pt x="1530647" y="1493374"/>
                </a:cubicBezTo>
                <a:cubicBezTo>
                  <a:pt x="1530647" y="1529086"/>
                  <a:pt x="1501694" y="1558038"/>
                  <a:pt x="1465980" y="1558038"/>
                </a:cubicBezTo>
                <a:cubicBezTo>
                  <a:pt x="1430267" y="1558038"/>
                  <a:pt x="1401318" y="1529086"/>
                  <a:pt x="1401318" y="1493374"/>
                </a:cubicBezTo>
                <a:cubicBezTo>
                  <a:pt x="1401318" y="1457660"/>
                  <a:pt x="1430267" y="1428708"/>
                  <a:pt x="1465980" y="1428708"/>
                </a:cubicBezTo>
                <a:close/>
                <a:moveTo>
                  <a:pt x="1309407" y="1428708"/>
                </a:moveTo>
                <a:cubicBezTo>
                  <a:pt x="1345121" y="1428708"/>
                  <a:pt x="1374073" y="1457660"/>
                  <a:pt x="1374073" y="1493374"/>
                </a:cubicBezTo>
                <a:cubicBezTo>
                  <a:pt x="1374073" y="1529086"/>
                  <a:pt x="1345121" y="1558038"/>
                  <a:pt x="1309407" y="1558038"/>
                </a:cubicBezTo>
                <a:cubicBezTo>
                  <a:pt x="1273694" y="1558038"/>
                  <a:pt x="1244742" y="1529086"/>
                  <a:pt x="1244742" y="1493374"/>
                </a:cubicBezTo>
                <a:cubicBezTo>
                  <a:pt x="1244742" y="1457660"/>
                  <a:pt x="1273694" y="1428708"/>
                  <a:pt x="1309407" y="1428708"/>
                </a:cubicBezTo>
                <a:close/>
                <a:moveTo>
                  <a:pt x="1148923" y="1428708"/>
                </a:moveTo>
                <a:cubicBezTo>
                  <a:pt x="1184637" y="1428708"/>
                  <a:pt x="1213588" y="1457660"/>
                  <a:pt x="1213588" y="1493374"/>
                </a:cubicBezTo>
                <a:cubicBezTo>
                  <a:pt x="1213588" y="1529086"/>
                  <a:pt x="1184637" y="1558038"/>
                  <a:pt x="1148923" y="1558038"/>
                </a:cubicBezTo>
                <a:cubicBezTo>
                  <a:pt x="1113209" y="1558038"/>
                  <a:pt x="1084258" y="1529086"/>
                  <a:pt x="1084258" y="1493374"/>
                </a:cubicBezTo>
                <a:cubicBezTo>
                  <a:pt x="1084258" y="1457660"/>
                  <a:pt x="1113209" y="1428708"/>
                  <a:pt x="1148923" y="1428708"/>
                </a:cubicBezTo>
                <a:close/>
                <a:moveTo>
                  <a:pt x="11095111" y="1287791"/>
                </a:moveTo>
                <a:cubicBezTo>
                  <a:pt x="11130825" y="1287791"/>
                  <a:pt x="11159777" y="1316743"/>
                  <a:pt x="11159777" y="1352456"/>
                </a:cubicBezTo>
                <a:cubicBezTo>
                  <a:pt x="11159777" y="1388171"/>
                  <a:pt x="11130825" y="1417123"/>
                  <a:pt x="11095111" y="1417123"/>
                </a:cubicBezTo>
                <a:cubicBezTo>
                  <a:pt x="11059397" y="1417123"/>
                  <a:pt x="11030445" y="1388171"/>
                  <a:pt x="11030445" y="1352456"/>
                </a:cubicBezTo>
                <a:cubicBezTo>
                  <a:pt x="11030445" y="1316743"/>
                  <a:pt x="11059397" y="1287791"/>
                  <a:pt x="11095111" y="1287791"/>
                </a:cubicBezTo>
                <a:close/>
                <a:moveTo>
                  <a:pt x="10938538" y="1287791"/>
                </a:moveTo>
                <a:cubicBezTo>
                  <a:pt x="10974252" y="1287791"/>
                  <a:pt x="11003204" y="1316743"/>
                  <a:pt x="11003204" y="1352456"/>
                </a:cubicBezTo>
                <a:cubicBezTo>
                  <a:pt x="11003204" y="1388171"/>
                  <a:pt x="10974252" y="1417123"/>
                  <a:pt x="10938538" y="1417123"/>
                </a:cubicBezTo>
                <a:cubicBezTo>
                  <a:pt x="10902824" y="1417123"/>
                  <a:pt x="10873872" y="1388171"/>
                  <a:pt x="10873872" y="1352456"/>
                </a:cubicBezTo>
                <a:cubicBezTo>
                  <a:pt x="10873872" y="1316743"/>
                  <a:pt x="10902824" y="1287791"/>
                  <a:pt x="10938538" y="1287791"/>
                </a:cubicBezTo>
                <a:close/>
                <a:moveTo>
                  <a:pt x="10778051" y="1287791"/>
                </a:moveTo>
                <a:cubicBezTo>
                  <a:pt x="10813765" y="1287791"/>
                  <a:pt x="10842717" y="1316743"/>
                  <a:pt x="10842717" y="1352456"/>
                </a:cubicBezTo>
                <a:cubicBezTo>
                  <a:pt x="10842717" y="1388171"/>
                  <a:pt x="10813765" y="1417123"/>
                  <a:pt x="10778051" y="1417123"/>
                </a:cubicBezTo>
                <a:cubicBezTo>
                  <a:pt x="10742337" y="1417123"/>
                  <a:pt x="10713385" y="1388171"/>
                  <a:pt x="10713385" y="1352456"/>
                </a:cubicBezTo>
                <a:cubicBezTo>
                  <a:pt x="10713385" y="1316743"/>
                  <a:pt x="10742337" y="1287791"/>
                  <a:pt x="10778051" y="1287791"/>
                </a:cubicBezTo>
                <a:close/>
                <a:moveTo>
                  <a:pt x="10625391" y="1287791"/>
                </a:moveTo>
                <a:cubicBezTo>
                  <a:pt x="10661105" y="1287791"/>
                  <a:pt x="10690057" y="1316743"/>
                  <a:pt x="10690057" y="1352456"/>
                </a:cubicBezTo>
                <a:cubicBezTo>
                  <a:pt x="10690057" y="1388171"/>
                  <a:pt x="10661105" y="1417123"/>
                  <a:pt x="10625391" y="1417123"/>
                </a:cubicBezTo>
                <a:cubicBezTo>
                  <a:pt x="10589677" y="1417123"/>
                  <a:pt x="10560725" y="1388171"/>
                  <a:pt x="10560725" y="1352456"/>
                </a:cubicBezTo>
                <a:cubicBezTo>
                  <a:pt x="10560725" y="1316743"/>
                  <a:pt x="10589677" y="1287791"/>
                  <a:pt x="10625391" y="1287791"/>
                </a:cubicBezTo>
                <a:close/>
                <a:moveTo>
                  <a:pt x="10468818" y="1287791"/>
                </a:moveTo>
                <a:cubicBezTo>
                  <a:pt x="10504532" y="1287791"/>
                  <a:pt x="10533484" y="1316743"/>
                  <a:pt x="10533484" y="1352456"/>
                </a:cubicBezTo>
                <a:cubicBezTo>
                  <a:pt x="10533484" y="1388171"/>
                  <a:pt x="10504532" y="1417123"/>
                  <a:pt x="10468818" y="1417123"/>
                </a:cubicBezTo>
                <a:cubicBezTo>
                  <a:pt x="10433104" y="1417123"/>
                  <a:pt x="10404152" y="1388171"/>
                  <a:pt x="10404152" y="1352456"/>
                </a:cubicBezTo>
                <a:cubicBezTo>
                  <a:pt x="10404152" y="1316743"/>
                  <a:pt x="10433104" y="1287791"/>
                  <a:pt x="10468818" y="1287791"/>
                </a:cubicBezTo>
                <a:close/>
                <a:moveTo>
                  <a:pt x="10312244" y="1287791"/>
                </a:moveTo>
                <a:cubicBezTo>
                  <a:pt x="10347958" y="1287791"/>
                  <a:pt x="10376910" y="1316743"/>
                  <a:pt x="10376910" y="1352456"/>
                </a:cubicBezTo>
                <a:cubicBezTo>
                  <a:pt x="10376910" y="1388171"/>
                  <a:pt x="10347958" y="1417123"/>
                  <a:pt x="10312244" y="1417123"/>
                </a:cubicBezTo>
                <a:cubicBezTo>
                  <a:pt x="10276530" y="1417123"/>
                  <a:pt x="10247578" y="1388171"/>
                  <a:pt x="10247578" y="1352456"/>
                </a:cubicBezTo>
                <a:cubicBezTo>
                  <a:pt x="10247578" y="1316743"/>
                  <a:pt x="10276530" y="1287791"/>
                  <a:pt x="10312244" y="1287791"/>
                </a:cubicBezTo>
                <a:close/>
                <a:moveTo>
                  <a:pt x="10159586" y="1287791"/>
                </a:moveTo>
                <a:cubicBezTo>
                  <a:pt x="10195300" y="1287791"/>
                  <a:pt x="10224252" y="1316743"/>
                  <a:pt x="10224252" y="1352456"/>
                </a:cubicBezTo>
                <a:cubicBezTo>
                  <a:pt x="10224252" y="1388171"/>
                  <a:pt x="10195300" y="1417123"/>
                  <a:pt x="10159586" y="1417123"/>
                </a:cubicBezTo>
                <a:cubicBezTo>
                  <a:pt x="10123872" y="1417123"/>
                  <a:pt x="10094920" y="1388171"/>
                  <a:pt x="10094920" y="1352456"/>
                </a:cubicBezTo>
                <a:cubicBezTo>
                  <a:pt x="10094920" y="1316743"/>
                  <a:pt x="10123872" y="1287791"/>
                  <a:pt x="10159586" y="1287791"/>
                </a:cubicBezTo>
                <a:close/>
                <a:moveTo>
                  <a:pt x="10003015" y="1287791"/>
                </a:moveTo>
                <a:cubicBezTo>
                  <a:pt x="10038729" y="1287791"/>
                  <a:pt x="10067681" y="1316743"/>
                  <a:pt x="10067681" y="1352456"/>
                </a:cubicBezTo>
                <a:cubicBezTo>
                  <a:pt x="10067681" y="1388171"/>
                  <a:pt x="10038729" y="1417123"/>
                  <a:pt x="10003015" y="1417123"/>
                </a:cubicBezTo>
                <a:cubicBezTo>
                  <a:pt x="9967301" y="1417123"/>
                  <a:pt x="9938349" y="1388171"/>
                  <a:pt x="9938349" y="1352456"/>
                </a:cubicBezTo>
                <a:cubicBezTo>
                  <a:pt x="9938349" y="1316743"/>
                  <a:pt x="9967301" y="1287791"/>
                  <a:pt x="10003015" y="1287791"/>
                </a:cubicBezTo>
                <a:close/>
                <a:moveTo>
                  <a:pt x="9850355" y="1287791"/>
                </a:moveTo>
                <a:cubicBezTo>
                  <a:pt x="9886069" y="1287791"/>
                  <a:pt x="9915021" y="1316743"/>
                  <a:pt x="9915021" y="1352456"/>
                </a:cubicBezTo>
                <a:cubicBezTo>
                  <a:pt x="9915021" y="1388171"/>
                  <a:pt x="9886069" y="1417123"/>
                  <a:pt x="9850355" y="1417123"/>
                </a:cubicBezTo>
                <a:cubicBezTo>
                  <a:pt x="9814641" y="1417123"/>
                  <a:pt x="9785689" y="1388171"/>
                  <a:pt x="9785689" y="1352456"/>
                </a:cubicBezTo>
                <a:cubicBezTo>
                  <a:pt x="9785689" y="1316743"/>
                  <a:pt x="9814641" y="1287791"/>
                  <a:pt x="9850355" y="1287791"/>
                </a:cubicBezTo>
                <a:close/>
                <a:moveTo>
                  <a:pt x="9693780" y="1287791"/>
                </a:moveTo>
                <a:cubicBezTo>
                  <a:pt x="9729494" y="1287791"/>
                  <a:pt x="9758446" y="1316743"/>
                  <a:pt x="9758446" y="1352456"/>
                </a:cubicBezTo>
                <a:cubicBezTo>
                  <a:pt x="9758446" y="1388171"/>
                  <a:pt x="9729494" y="1417123"/>
                  <a:pt x="9693780" y="1417123"/>
                </a:cubicBezTo>
                <a:cubicBezTo>
                  <a:pt x="9658066" y="1417123"/>
                  <a:pt x="9629114" y="1388171"/>
                  <a:pt x="9629114" y="1352456"/>
                </a:cubicBezTo>
                <a:cubicBezTo>
                  <a:pt x="9629114" y="1316743"/>
                  <a:pt x="9658066" y="1287791"/>
                  <a:pt x="9693780" y="1287791"/>
                </a:cubicBezTo>
                <a:close/>
                <a:moveTo>
                  <a:pt x="9541122" y="1287791"/>
                </a:moveTo>
                <a:cubicBezTo>
                  <a:pt x="9576836" y="1287791"/>
                  <a:pt x="9605788" y="1316743"/>
                  <a:pt x="9605788" y="1352456"/>
                </a:cubicBezTo>
                <a:cubicBezTo>
                  <a:pt x="9605788" y="1388171"/>
                  <a:pt x="9576836" y="1417123"/>
                  <a:pt x="9541122" y="1417123"/>
                </a:cubicBezTo>
                <a:cubicBezTo>
                  <a:pt x="9505408" y="1417123"/>
                  <a:pt x="9476456" y="1388171"/>
                  <a:pt x="9476456" y="1352456"/>
                </a:cubicBezTo>
                <a:cubicBezTo>
                  <a:pt x="9476456" y="1316743"/>
                  <a:pt x="9505408" y="1287791"/>
                  <a:pt x="9541122" y="1287791"/>
                </a:cubicBezTo>
                <a:close/>
                <a:moveTo>
                  <a:pt x="9384549" y="1287791"/>
                </a:moveTo>
                <a:cubicBezTo>
                  <a:pt x="9420263" y="1287791"/>
                  <a:pt x="9449215" y="1316743"/>
                  <a:pt x="9449215" y="1352456"/>
                </a:cubicBezTo>
                <a:cubicBezTo>
                  <a:pt x="9449215" y="1388171"/>
                  <a:pt x="9420263" y="1417123"/>
                  <a:pt x="9384549" y="1417123"/>
                </a:cubicBezTo>
                <a:cubicBezTo>
                  <a:pt x="9348835" y="1417123"/>
                  <a:pt x="9319883" y="1388171"/>
                  <a:pt x="9319883" y="1352456"/>
                </a:cubicBezTo>
                <a:cubicBezTo>
                  <a:pt x="9319883" y="1316743"/>
                  <a:pt x="9348835" y="1287791"/>
                  <a:pt x="9384549" y="1287791"/>
                </a:cubicBezTo>
                <a:close/>
                <a:moveTo>
                  <a:pt x="9227976" y="1287791"/>
                </a:moveTo>
                <a:cubicBezTo>
                  <a:pt x="9263690" y="1287791"/>
                  <a:pt x="9292642" y="1316743"/>
                  <a:pt x="9292642" y="1352456"/>
                </a:cubicBezTo>
                <a:cubicBezTo>
                  <a:pt x="9292642" y="1388171"/>
                  <a:pt x="9263690" y="1417123"/>
                  <a:pt x="9227976" y="1417123"/>
                </a:cubicBezTo>
                <a:cubicBezTo>
                  <a:pt x="9192262" y="1417123"/>
                  <a:pt x="9163310" y="1388171"/>
                  <a:pt x="9163310" y="1352456"/>
                </a:cubicBezTo>
                <a:cubicBezTo>
                  <a:pt x="9163310" y="1316743"/>
                  <a:pt x="9192262" y="1287791"/>
                  <a:pt x="9227976" y="1287791"/>
                </a:cubicBezTo>
                <a:close/>
                <a:moveTo>
                  <a:pt x="9075316" y="1287791"/>
                </a:moveTo>
                <a:cubicBezTo>
                  <a:pt x="9111030" y="1287791"/>
                  <a:pt x="9139982" y="1316743"/>
                  <a:pt x="9139982" y="1352456"/>
                </a:cubicBezTo>
                <a:cubicBezTo>
                  <a:pt x="9139982" y="1388171"/>
                  <a:pt x="9111030" y="1417123"/>
                  <a:pt x="9075316" y="1417123"/>
                </a:cubicBezTo>
                <a:cubicBezTo>
                  <a:pt x="9039602" y="1417123"/>
                  <a:pt x="9010650" y="1388171"/>
                  <a:pt x="9010650" y="1352456"/>
                </a:cubicBezTo>
                <a:cubicBezTo>
                  <a:pt x="9010650" y="1316743"/>
                  <a:pt x="9039602" y="1287791"/>
                  <a:pt x="9075316" y="1287791"/>
                </a:cubicBezTo>
                <a:close/>
                <a:moveTo>
                  <a:pt x="8914828" y="1287791"/>
                </a:moveTo>
                <a:cubicBezTo>
                  <a:pt x="8950542" y="1287791"/>
                  <a:pt x="8979494" y="1316743"/>
                  <a:pt x="8979494" y="1352456"/>
                </a:cubicBezTo>
                <a:cubicBezTo>
                  <a:pt x="8979494" y="1388171"/>
                  <a:pt x="8950542" y="1417123"/>
                  <a:pt x="8914828" y="1417123"/>
                </a:cubicBezTo>
                <a:cubicBezTo>
                  <a:pt x="8879114" y="1417123"/>
                  <a:pt x="8850162" y="1388171"/>
                  <a:pt x="8850162" y="1352456"/>
                </a:cubicBezTo>
                <a:cubicBezTo>
                  <a:pt x="8850162" y="1316743"/>
                  <a:pt x="8879114" y="1287791"/>
                  <a:pt x="8914828" y="1287791"/>
                </a:cubicBezTo>
                <a:close/>
                <a:moveTo>
                  <a:pt x="8766084" y="1287791"/>
                </a:moveTo>
                <a:cubicBezTo>
                  <a:pt x="8801798" y="1287791"/>
                  <a:pt x="8830750" y="1316743"/>
                  <a:pt x="8830750" y="1352456"/>
                </a:cubicBezTo>
                <a:cubicBezTo>
                  <a:pt x="8830750" y="1388171"/>
                  <a:pt x="8801798" y="1417123"/>
                  <a:pt x="8766084" y="1417123"/>
                </a:cubicBezTo>
                <a:cubicBezTo>
                  <a:pt x="8730370" y="1417123"/>
                  <a:pt x="8701418" y="1388171"/>
                  <a:pt x="8701418" y="1352456"/>
                </a:cubicBezTo>
                <a:cubicBezTo>
                  <a:pt x="8701418" y="1316743"/>
                  <a:pt x="8730370" y="1287791"/>
                  <a:pt x="8766084" y="1287791"/>
                </a:cubicBezTo>
                <a:close/>
                <a:moveTo>
                  <a:pt x="8601682" y="1287791"/>
                </a:moveTo>
                <a:cubicBezTo>
                  <a:pt x="8637396" y="1287791"/>
                  <a:pt x="8666348" y="1316743"/>
                  <a:pt x="8666348" y="1352456"/>
                </a:cubicBezTo>
                <a:cubicBezTo>
                  <a:pt x="8666348" y="1388171"/>
                  <a:pt x="8637396" y="1417123"/>
                  <a:pt x="8601682" y="1417123"/>
                </a:cubicBezTo>
                <a:cubicBezTo>
                  <a:pt x="8565968" y="1417123"/>
                  <a:pt x="8537016" y="1388171"/>
                  <a:pt x="8537016" y="1352456"/>
                </a:cubicBezTo>
                <a:cubicBezTo>
                  <a:pt x="8537016" y="1316743"/>
                  <a:pt x="8565968" y="1287791"/>
                  <a:pt x="8601682" y="1287791"/>
                </a:cubicBezTo>
                <a:close/>
                <a:moveTo>
                  <a:pt x="8449023" y="1287791"/>
                </a:moveTo>
                <a:cubicBezTo>
                  <a:pt x="8484737" y="1287791"/>
                  <a:pt x="8513689" y="1316743"/>
                  <a:pt x="8513689" y="1352456"/>
                </a:cubicBezTo>
                <a:cubicBezTo>
                  <a:pt x="8513689" y="1388171"/>
                  <a:pt x="8484737" y="1417123"/>
                  <a:pt x="8449023" y="1417123"/>
                </a:cubicBezTo>
                <a:cubicBezTo>
                  <a:pt x="8413309" y="1417123"/>
                  <a:pt x="8384357" y="1388171"/>
                  <a:pt x="8384357" y="1352456"/>
                </a:cubicBezTo>
                <a:cubicBezTo>
                  <a:pt x="8384357" y="1316743"/>
                  <a:pt x="8413309" y="1287791"/>
                  <a:pt x="8449023" y="1287791"/>
                </a:cubicBezTo>
                <a:close/>
                <a:moveTo>
                  <a:pt x="8296365" y="1287791"/>
                </a:moveTo>
                <a:cubicBezTo>
                  <a:pt x="8332079" y="1287791"/>
                  <a:pt x="8361031" y="1316743"/>
                  <a:pt x="8361031" y="1352456"/>
                </a:cubicBezTo>
                <a:cubicBezTo>
                  <a:pt x="8361031" y="1388171"/>
                  <a:pt x="8332079" y="1417123"/>
                  <a:pt x="8296365" y="1417123"/>
                </a:cubicBezTo>
                <a:cubicBezTo>
                  <a:pt x="8260651" y="1417123"/>
                  <a:pt x="8231699" y="1388171"/>
                  <a:pt x="8231699" y="1352456"/>
                </a:cubicBezTo>
                <a:cubicBezTo>
                  <a:pt x="8231699" y="1316743"/>
                  <a:pt x="8260651" y="1287791"/>
                  <a:pt x="8296365" y="1287791"/>
                </a:cubicBezTo>
                <a:close/>
                <a:moveTo>
                  <a:pt x="8139790" y="1287791"/>
                </a:moveTo>
                <a:cubicBezTo>
                  <a:pt x="8175504" y="1287791"/>
                  <a:pt x="8204456" y="1316743"/>
                  <a:pt x="8204456" y="1352456"/>
                </a:cubicBezTo>
                <a:cubicBezTo>
                  <a:pt x="8204456" y="1388171"/>
                  <a:pt x="8175504" y="1417123"/>
                  <a:pt x="8139790" y="1417123"/>
                </a:cubicBezTo>
                <a:cubicBezTo>
                  <a:pt x="8104076" y="1417123"/>
                  <a:pt x="8075124" y="1388171"/>
                  <a:pt x="8075124" y="1352456"/>
                </a:cubicBezTo>
                <a:cubicBezTo>
                  <a:pt x="8075124" y="1316743"/>
                  <a:pt x="8104076" y="1287791"/>
                  <a:pt x="8139790" y="1287791"/>
                </a:cubicBezTo>
                <a:close/>
                <a:moveTo>
                  <a:pt x="7987132" y="1287791"/>
                </a:moveTo>
                <a:cubicBezTo>
                  <a:pt x="8022846" y="1287791"/>
                  <a:pt x="8051798" y="1316743"/>
                  <a:pt x="8051798" y="1352456"/>
                </a:cubicBezTo>
                <a:cubicBezTo>
                  <a:pt x="8051798" y="1388171"/>
                  <a:pt x="8022846" y="1417123"/>
                  <a:pt x="7987132" y="1417123"/>
                </a:cubicBezTo>
                <a:cubicBezTo>
                  <a:pt x="7951418" y="1417123"/>
                  <a:pt x="7922466" y="1388171"/>
                  <a:pt x="7922466" y="1352456"/>
                </a:cubicBezTo>
                <a:cubicBezTo>
                  <a:pt x="7922466" y="1316743"/>
                  <a:pt x="7951418" y="1287791"/>
                  <a:pt x="7987132" y="1287791"/>
                </a:cubicBezTo>
                <a:close/>
                <a:moveTo>
                  <a:pt x="7830560" y="1287791"/>
                </a:moveTo>
                <a:cubicBezTo>
                  <a:pt x="7866274" y="1287791"/>
                  <a:pt x="7895226" y="1316743"/>
                  <a:pt x="7895226" y="1352456"/>
                </a:cubicBezTo>
                <a:cubicBezTo>
                  <a:pt x="7895226" y="1388171"/>
                  <a:pt x="7866274" y="1417123"/>
                  <a:pt x="7830560" y="1417123"/>
                </a:cubicBezTo>
                <a:cubicBezTo>
                  <a:pt x="7794846" y="1417123"/>
                  <a:pt x="7765894" y="1388171"/>
                  <a:pt x="7765894" y="1352456"/>
                </a:cubicBezTo>
                <a:cubicBezTo>
                  <a:pt x="7765894" y="1316743"/>
                  <a:pt x="7794846" y="1287791"/>
                  <a:pt x="7830560" y="1287791"/>
                </a:cubicBezTo>
                <a:close/>
                <a:moveTo>
                  <a:pt x="7677900" y="1287791"/>
                </a:moveTo>
                <a:cubicBezTo>
                  <a:pt x="7713614" y="1287791"/>
                  <a:pt x="7742566" y="1316743"/>
                  <a:pt x="7742566" y="1352456"/>
                </a:cubicBezTo>
                <a:cubicBezTo>
                  <a:pt x="7742566" y="1388171"/>
                  <a:pt x="7713614" y="1417123"/>
                  <a:pt x="7677900" y="1417123"/>
                </a:cubicBezTo>
                <a:cubicBezTo>
                  <a:pt x="7642186" y="1417123"/>
                  <a:pt x="7613234" y="1388171"/>
                  <a:pt x="7613234" y="1352456"/>
                </a:cubicBezTo>
                <a:cubicBezTo>
                  <a:pt x="7613234" y="1316743"/>
                  <a:pt x="7642186" y="1287791"/>
                  <a:pt x="7677900" y="1287791"/>
                </a:cubicBezTo>
                <a:close/>
                <a:moveTo>
                  <a:pt x="7521327" y="1287791"/>
                </a:moveTo>
                <a:cubicBezTo>
                  <a:pt x="7557041" y="1287791"/>
                  <a:pt x="7585993" y="1316743"/>
                  <a:pt x="7585993" y="1352456"/>
                </a:cubicBezTo>
                <a:cubicBezTo>
                  <a:pt x="7585993" y="1388171"/>
                  <a:pt x="7557041" y="1417123"/>
                  <a:pt x="7521327" y="1417123"/>
                </a:cubicBezTo>
                <a:cubicBezTo>
                  <a:pt x="7485613" y="1417123"/>
                  <a:pt x="7456661" y="1388171"/>
                  <a:pt x="7456661" y="1352456"/>
                </a:cubicBezTo>
                <a:cubicBezTo>
                  <a:pt x="7456661" y="1316743"/>
                  <a:pt x="7485613" y="1287791"/>
                  <a:pt x="7521327" y="1287791"/>
                </a:cubicBezTo>
                <a:close/>
                <a:moveTo>
                  <a:pt x="7368667" y="1287791"/>
                </a:moveTo>
                <a:cubicBezTo>
                  <a:pt x="7404381" y="1287791"/>
                  <a:pt x="7433333" y="1316743"/>
                  <a:pt x="7433333" y="1352456"/>
                </a:cubicBezTo>
                <a:cubicBezTo>
                  <a:pt x="7433333" y="1388171"/>
                  <a:pt x="7404381" y="1417123"/>
                  <a:pt x="7368667" y="1417123"/>
                </a:cubicBezTo>
                <a:cubicBezTo>
                  <a:pt x="7332953" y="1417123"/>
                  <a:pt x="7304001" y="1388171"/>
                  <a:pt x="7304001" y="1352456"/>
                </a:cubicBezTo>
                <a:cubicBezTo>
                  <a:pt x="7304001" y="1316743"/>
                  <a:pt x="7332953" y="1287791"/>
                  <a:pt x="7368667" y="1287791"/>
                </a:cubicBezTo>
                <a:close/>
                <a:moveTo>
                  <a:pt x="7212094" y="1287791"/>
                </a:moveTo>
                <a:cubicBezTo>
                  <a:pt x="7247808" y="1287791"/>
                  <a:pt x="7276760" y="1316743"/>
                  <a:pt x="7276760" y="1352456"/>
                </a:cubicBezTo>
                <a:cubicBezTo>
                  <a:pt x="7276760" y="1388171"/>
                  <a:pt x="7247808" y="1417123"/>
                  <a:pt x="7212094" y="1417123"/>
                </a:cubicBezTo>
                <a:cubicBezTo>
                  <a:pt x="7176380" y="1417123"/>
                  <a:pt x="7147428" y="1388171"/>
                  <a:pt x="7147428" y="1352456"/>
                </a:cubicBezTo>
                <a:cubicBezTo>
                  <a:pt x="7147428" y="1316743"/>
                  <a:pt x="7176380" y="1287791"/>
                  <a:pt x="7212094" y="1287791"/>
                </a:cubicBezTo>
                <a:close/>
                <a:moveTo>
                  <a:pt x="7055521" y="1287791"/>
                </a:moveTo>
                <a:cubicBezTo>
                  <a:pt x="7091235" y="1287791"/>
                  <a:pt x="7120187" y="1316743"/>
                  <a:pt x="7120187" y="1352456"/>
                </a:cubicBezTo>
                <a:cubicBezTo>
                  <a:pt x="7120187" y="1388171"/>
                  <a:pt x="7091235" y="1417123"/>
                  <a:pt x="7055521" y="1417123"/>
                </a:cubicBezTo>
                <a:cubicBezTo>
                  <a:pt x="7019807" y="1417123"/>
                  <a:pt x="6990855" y="1388171"/>
                  <a:pt x="6990855" y="1352456"/>
                </a:cubicBezTo>
                <a:cubicBezTo>
                  <a:pt x="6990855" y="1316743"/>
                  <a:pt x="7019807" y="1287791"/>
                  <a:pt x="7055521" y="1287791"/>
                </a:cubicBezTo>
                <a:close/>
                <a:moveTo>
                  <a:pt x="6895035" y="1287791"/>
                </a:moveTo>
                <a:cubicBezTo>
                  <a:pt x="6930749" y="1287791"/>
                  <a:pt x="6959701" y="1316743"/>
                  <a:pt x="6959701" y="1352456"/>
                </a:cubicBezTo>
                <a:cubicBezTo>
                  <a:pt x="6959701" y="1388171"/>
                  <a:pt x="6930749" y="1417123"/>
                  <a:pt x="6895035" y="1417123"/>
                </a:cubicBezTo>
                <a:cubicBezTo>
                  <a:pt x="6859321" y="1417123"/>
                  <a:pt x="6830369" y="1388171"/>
                  <a:pt x="6830369" y="1352456"/>
                </a:cubicBezTo>
                <a:cubicBezTo>
                  <a:pt x="6830369" y="1316743"/>
                  <a:pt x="6859321" y="1287791"/>
                  <a:pt x="6895035" y="1287791"/>
                </a:cubicBezTo>
                <a:close/>
                <a:moveTo>
                  <a:pt x="6742375" y="1287791"/>
                </a:moveTo>
                <a:cubicBezTo>
                  <a:pt x="6778089" y="1287791"/>
                  <a:pt x="6807041" y="1316743"/>
                  <a:pt x="6807041" y="1352456"/>
                </a:cubicBezTo>
                <a:cubicBezTo>
                  <a:pt x="6807041" y="1388171"/>
                  <a:pt x="6778089" y="1417123"/>
                  <a:pt x="6742375" y="1417123"/>
                </a:cubicBezTo>
                <a:cubicBezTo>
                  <a:pt x="6706661" y="1417123"/>
                  <a:pt x="6677709" y="1388171"/>
                  <a:pt x="6677709" y="1352456"/>
                </a:cubicBezTo>
                <a:cubicBezTo>
                  <a:pt x="6677709" y="1316743"/>
                  <a:pt x="6706661" y="1287791"/>
                  <a:pt x="6742375" y="1287791"/>
                </a:cubicBezTo>
                <a:close/>
                <a:moveTo>
                  <a:pt x="6585801" y="1287791"/>
                </a:moveTo>
                <a:cubicBezTo>
                  <a:pt x="6621515" y="1287791"/>
                  <a:pt x="6650467" y="1316743"/>
                  <a:pt x="6650467" y="1352456"/>
                </a:cubicBezTo>
                <a:cubicBezTo>
                  <a:pt x="6650467" y="1388171"/>
                  <a:pt x="6621515" y="1417123"/>
                  <a:pt x="6585801" y="1417123"/>
                </a:cubicBezTo>
                <a:cubicBezTo>
                  <a:pt x="6550087" y="1417123"/>
                  <a:pt x="6521135" y="1388171"/>
                  <a:pt x="6521135" y="1352456"/>
                </a:cubicBezTo>
                <a:cubicBezTo>
                  <a:pt x="6521135" y="1316743"/>
                  <a:pt x="6550087" y="1287791"/>
                  <a:pt x="6585801" y="1287791"/>
                </a:cubicBezTo>
                <a:close/>
                <a:moveTo>
                  <a:pt x="6429228" y="1287791"/>
                </a:moveTo>
                <a:cubicBezTo>
                  <a:pt x="6464942" y="1287791"/>
                  <a:pt x="6493894" y="1316743"/>
                  <a:pt x="6493894" y="1352456"/>
                </a:cubicBezTo>
                <a:cubicBezTo>
                  <a:pt x="6493894" y="1388171"/>
                  <a:pt x="6464942" y="1417123"/>
                  <a:pt x="6429228" y="1417123"/>
                </a:cubicBezTo>
                <a:cubicBezTo>
                  <a:pt x="6393514" y="1417123"/>
                  <a:pt x="6364562" y="1388171"/>
                  <a:pt x="6364562" y="1352456"/>
                </a:cubicBezTo>
                <a:cubicBezTo>
                  <a:pt x="6364562" y="1316743"/>
                  <a:pt x="6393514" y="1287791"/>
                  <a:pt x="6429228" y="1287791"/>
                </a:cubicBezTo>
                <a:close/>
                <a:moveTo>
                  <a:pt x="6276569" y="1287791"/>
                </a:moveTo>
                <a:cubicBezTo>
                  <a:pt x="6312283" y="1287791"/>
                  <a:pt x="6341235" y="1316743"/>
                  <a:pt x="6341235" y="1352456"/>
                </a:cubicBezTo>
                <a:cubicBezTo>
                  <a:pt x="6341235" y="1388171"/>
                  <a:pt x="6312283" y="1417123"/>
                  <a:pt x="6276569" y="1417123"/>
                </a:cubicBezTo>
                <a:cubicBezTo>
                  <a:pt x="6240855" y="1417123"/>
                  <a:pt x="6211903" y="1388171"/>
                  <a:pt x="6211903" y="1352456"/>
                </a:cubicBezTo>
                <a:cubicBezTo>
                  <a:pt x="6211903" y="1316743"/>
                  <a:pt x="6240855" y="1287791"/>
                  <a:pt x="6276569" y="1287791"/>
                </a:cubicBezTo>
                <a:close/>
                <a:moveTo>
                  <a:pt x="5967336" y="1287791"/>
                </a:moveTo>
                <a:cubicBezTo>
                  <a:pt x="6003050" y="1287791"/>
                  <a:pt x="6032002" y="1316743"/>
                  <a:pt x="6032002" y="1352456"/>
                </a:cubicBezTo>
                <a:cubicBezTo>
                  <a:pt x="6032002" y="1388171"/>
                  <a:pt x="6003050" y="1417123"/>
                  <a:pt x="5967336" y="1417123"/>
                </a:cubicBezTo>
                <a:cubicBezTo>
                  <a:pt x="5931622" y="1417123"/>
                  <a:pt x="5902670" y="1388171"/>
                  <a:pt x="5902670" y="1352456"/>
                </a:cubicBezTo>
                <a:cubicBezTo>
                  <a:pt x="5902670" y="1316743"/>
                  <a:pt x="5931622" y="1287791"/>
                  <a:pt x="5967336" y="1287791"/>
                </a:cubicBezTo>
                <a:close/>
                <a:moveTo>
                  <a:pt x="5810805" y="1287791"/>
                </a:moveTo>
                <a:cubicBezTo>
                  <a:pt x="5846477" y="1287791"/>
                  <a:pt x="5875429" y="1316743"/>
                  <a:pt x="5875429" y="1352456"/>
                </a:cubicBezTo>
                <a:cubicBezTo>
                  <a:pt x="5875429" y="1388171"/>
                  <a:pt x="5846477" y="1417123"/>
                  <a:pt x="5810805" y="1417123"/>
                </a:cubicBezTo>
                <a:cubicBezTo>
                  <a:pt x="5775079" y="1417123"/>
                  <a:pt x="5746117" y="1388171"/>
                  <a:pt x="5746117" y="1352456"/>
                </a:cubicBezTo>
                <a:cubicBezTo>
                  <a:pt x="5746117" y="1316743"/>
                  <a:pt x="5775079" y="1287791"/>
                  <a:pt x="5810805" y="1287791"/>
                </a:cubicBezTo>
                <a:close/>
                <a:moveTo>
                  <a:pt x="5658107" y="1287791"/>
                </a:moveTo>
                <a:cubicBezTo>
                  <a:pt x="5693823" y="1287791"/>
                  <a:pt x="5722783" y="1316743"/>
                  <a:pt x="5722783" y="1352456"/>
                </a:cubicBezTo>
                <a:cubicBezTo>
                  <a:pt x="5722783" y="1388171"/>
                  <a:pt x="5693823" y="1417123"/>
                  <a:pt x="5658107" y="1417123"/>
                </a:cubicBezTo>
                <a:cubicBezTo>
                  <a:pt x="5622397" y="1417123"/>
                  <a:pt x="5593441" y="1388171"/>
                  <a:pt x="5593441" y="1352456"/>
                </a:cubicBezTo>
                <a:cubicBezTo>
                  <a:pt x="5593441" y="1316743"/>
                  <a:pt x="5622397" y="1287791"/>
                  <a:pt x="5658107" y="1287791"/>
                </a:cubicBezTo>
                <a:close/>
                <a:moveTo>
                  <a:pt x="4100247" y="1287791"/>
                </a:moveTo>
                <a:cubicBezTo>
                  <a:pt x="4135947" y="1287791"/>
                  <a:pt x="4164920" y="1316743"/>
                  <a:pt x="4164920" y="1352456"/>
                </a:cubicBezTo>
                <a:cubicBezTo>
                  <a:pt x="4164920" y="1388171"/>
                  <a:pt x="4135947" y="1417123"/>
                  <a:pt x="4100247" y="1417123"/>
                </a:cubicBezTo>
                <a:cubicBezTo>
                  <a:pt x="4064521" y="1417123"/>
                  <a:pt x="4035590" y="1388171"/>
                  <a:pt x="4035590" y="1352456"/>
                </a:cubicBezTo>
                <a:cubicBezTo>
                  <a:pt x="4035590" y="1316743"/>
                  <a:pt x="4064521" y="1287791"/>
                  <a:pt x="4100247" y="1287791"/>
                </a:cubicBezTo>
                <a:close/>
                <a:moveTo>
                  <a:pt x="3012132" y="1287791"/>
                </a:moveTo>
                <a:cubicBezTo>
                  <a:pt x="3047840" y="1287791"/>
                  <a:pt x="3076802" y="1316743"/>
                  <a:pt x="3076802" y="1352456"/>
                </a:cubicBezTo>
                <a:cubicBezTo>
                  <a:pt x="3076802" y="1388171"/>
                  <a:pt x="3047840" y="1417123"/>
                  <a:pt x="3012132" y="1417123"/>
                </a:cubicBezTo>
                <a:cubicBezTo>
                  <a:pt x="2976423" y="1417123"/>
                  <a:pt x="2947475" y="1388171"/>
                  <a:pt x="2947475" y="1352456"/>
                </a:cubicBezTo>
                <a:cubicBezTo>
                  <a:pt x="2947475" y="1316743"/>
                  <a:pt x="2976423" y="1287791"/>
                  <a:pt x="3012132" y="1287791"/>
                </a:cubicBezTo>
                <a:close/>
                <a:moveTo>
                  <a:pt x="2389823" y="1287791"/>
                </a:moveTo>
                <a:cubicBezTo>
                  <a:pt x="2425559" y="1287791"/>
                  <a:pt x="2454505" y="1316743"/>
                  <a:pt x="2454505" y="1352456"/>
                </a:cubicBezTo>
                <a:cubicBezTo>
                  <a:pt x="2454505" y="1388171"/>
                  <a:pt x="2425559" y="1417123"/>
                  <a:pt x="2389823" y="1417123"/>
                </a:cubicBezTo>
                <a:cubicBezTo>
                  <a:pt x="2354127" y="1417123"/>
                  <a:pt x="2325168" y="1388171"/>
                  <a:pt x="2325168" y="1352456"/>
                </a:cubicBezTo>
                <a:cubicBezTo>
                  <a:pt x="2325168" y="1316743"/>
                  <a:pt x="2354127" y="1287791"/>
                  <a:pt x="2389823" y="1287791"/>
                </a:cubicBezTo>
                <a:close/>
                <a:moveTo>
                  <a:pt x="2237146" y="1287791"/>
                </a:moveTo>
                <a:cubicBezTo>
                  <a:pt x="2272871" y="1287791"/>
                  <a:pt x="2301833" y="1316743"/>
                  <a:pt x="2301833" y="1352456"/>
                </a:cubicBezTo>
                <a:cubicBezTo>
                  <a:pt x="2301833" y="1388171"/>
                  <a:pt x="2272871" y="1417123"/>
                  <a:pt x="2237146" y="1417123"/>
                </a:cubicBezTo>
                <a:cubicBezTo>
                  <a:pt x="2201421" y="1417123"/>
                  <a:pt x="2172460" y="1388171"/>
                  <a:pt x="2172460" y="1352456"/>
                </a:cubicBezTo>
                <a:cubicBezTo>
                  <a:pt x="2172460" y="1316743"/>
                  <a:pt x="2201421" y="1287791"/>
                  <a:pt x="2237146" y="1287791"/>
                </a:cubicBezTo>
                <a:close/>
                <a:moveTo>
                  <a:pt x="2084466" y="1287791"/>
                </a:moveTo>
                <a:cubicBezTo>
                  <a:pt x="2120178" y="1287791"/>
                  <a:pt x="2149126" y="1316743"/>
                  <a:pt x="2149126" y="1352456"/>
                </a:cubicBezTo>
                <a:cubicBezTo>
                  <a:pt x="2149126" y="1388171"/>
                  <a:pt x="2120178" y="1417123"/>
                  <a:pt x="2084466" y="1417123"/>
                </a:cubicBezTo>
                <a:cubicBezTo>
                  <a:pt x="2048735" y="1417123"/>
                  <a:pt x="2019823" y="1388171"/>
                  <a:pt x="2019823" y="1352456"/>
                </a:cubicBezTo>
                <a:cubicBezTo>
                  <a:pt x="2019823" y="1316743"/>
                  <a:pt x="2048735" y="1287791"/>
                  <a:pt x="2084466" y="1287791"/>
                </a:cubicBezTo>
                <a:close/>
                <a:moveTo>
                  <a:pt x="1927872" y="1287791"/>
                </a:moveTo>
                <a:cubicBezTo>
                  <a:pt x="1963586" y="1287791"/>
                  <a:pt x="1992567" y="1316743"/>
                  <a:pt x="1992567" y="1352456"/>
                </a:cubicBezTo>
                <a:cubicBezTo>
                  <a:pt x="1992567" y="1388171"/>
                  <a:pt x="1963586" y="1417123"/>
                  <a:pt x="1927872" y="1417123"/>
                </a:cubicBezTo>
                <a:cubicBezTo>
                  <a:pt x="1892197" y="1417123"/>
                  <a:pt x="1863242" y="1388171"/>
                  <a:pt x="1863242" y="1352456"/>
                </a:cubicBezTo>
                <a:cubicBezTo>
                  <a:pt x="1863242" y="1316743"/>
                  <a:pt x="1892197" y="1287791"/>
                  <a:pt x="1927872" y="1287791"/>
                </a:cubicBezTo>
                <a:close/>
                <a:moveTo>
                  <a:pt x="1775228" y="1287791"/>
                </a:moveTo>
                <a:cubicBezTo>
                  <a:pt x="1810931" y="1287791"/>
                  <a:pt x="1839912" y="1316743"/>
                  <a:pt x="1839912" y="1352456"/>
                </a:cubicBezTo>
                <a:cubicBezTo>
                  <a:pt x="1839912" y="1388171"/>
                  <a:pt x="1810931" y="1417123"/>
                  <a:pt x="1775228" y="1417123"/>
                </a:cubicBezTo>
                <a:cubicBezTo>
                  <a:pt x="1739504" y="1417123"/>
                  <a:pt x="1710556" y="1388171"/>
                  <a:pt x="1710556" y="1352456"/>
                </a:cubicBezTo>
                <a:cubicBezTo>
                  <a:pt x="1710556" y="1316743"/>
                  <a:pt x="1739504" y="1287791"/>
                  <a:pt x="1775228" y="1287791"/>
                </a:cubicBezTo>
                <a:close/>
                <a:moveTo>
                  <a:pt x="1618644" y="1287791"/>
                </a:moveTo>
                <a:cubicBezTo>
                  <a:pt x="1654363" y="1287791"/>
                  <a:pt x="1683314" y="1316743"/>
                  <a:pt x="1683314" y="1352456"/>
                </a:cubicBezTo>
                <a:cubicBezTo>
                  <a:pt x="1683314" y="1388171"/>
                  <a:pt x="1654363" y="1417123"/>
                  <a:pt x="1618644" y="1417123"/>
                </a:cubicBezTo>
                <a:cubicBezTo>
                  <a:pt x="1582933" y="1417123"/>
                  <a:pt x="1553981" y="1388171"/>
                  <a:pt x="1553981" y="1352456"/>
                </a:cubicBezTo>
                <a:cubicBezTo>
                  <a:pt x="1553981" y="1316743"/>
                  <a:pt x="1582933" y="1287791"/>
                  <a:pt x="1618644" y="1287791"/>
                </a:cubicBezTo>
                <a:close/>
                <a:moveTo>
                  <a:pt x="1465988" y="1287791"/>
                </a:moveTo>
                <a:cubicBezTo>
                  <a:pt x="1501702" y="1287791"/>
                  <a:pt x="1530654" y="1316743"/>
                  <a:pt x="1530654" y="1352456"/>
                </a:cubicBezTo>
                <a:cubicBezTo>
                  <a:pt x="1530654" y="1388171"/>
                  <a:pt x="1501702" y="1417123"/>
                  <a:pt x="1465988" y="1417123"/>
                </a:cubicBezTo>
                <a:cubicBezTo>
                  <a:pt x="1430275" y="1417123"/>
                  <a:pt x="1401325" y="1388171"/>
                  <a:pt x="1401325" y="1352456"/>
                </a:cubicBezTo>
                <a:cubicBezTo>
                  <a:pt x="1401325" y="1316743"/>
                  <a:pt x="1430275" y="1287791"/>
                  <a:pt x="1465988" y="1287791"/>
                </a:cubicBezTo>
                <a:close/>
                <a:moveTo>
                  <a:pt x="1309415" y="1287791"/>
                </a:moveTo>
                <a:cubicBezTo>
                  <a:pt x="1345129" y="1287791"/>
                  <a:pt x="1374081" y="1316743"/>
                  <a:pt x="1374081" y="1352456"/>
                </a:cubicBezTo>
                <a:cubicBezTo>
                  <a:pt x="1374081" y="1388171"/>
                  <a:pt x="1345129" y="1417123"/>
                  <a:pt x="1309415" y="1417123"/>
                </a:cubicBezTo>
                <a:cubicBezTo>
                  <a:pt x="1273702" y="1417123"/>
                  <a:pt x="1244749" y="1388171"/>
                  <a:pt x="1244749" y="1352456"/>
                </a:cubicBezTo>
                <a:cubicBezTo>
                  <a:pt x="1244749" y="1316743"/>
                  <a:pt x="1273702" y="1287791"/>
                  <a:pt x="1309415" y="1287791"/>
                </a:cubicBezTo>
                <a:close/>
                <a:moveTo>
                  <a:pt x="1148931" y="1287791"/>
                </a:moveTo>
                <a:cubicBezTo>
                  <a:pt x="1184644" y="1287791"/>
                  <a:pt x="1213596" y="1316743"/>
                  <a:pt x="1213596" y="1352456"/>
                </a:cubicBezTo>
                <a:cubicBezTo>
                  <a:pt x="1213596" y="1388171"/>
                  <a:pt x="1184644" y="1417123"/>
                  <a:pt x="1148931" y="1417123"/>
                </a:cubicBezTo>
                <a:cubicBezTo>
                  <a:pt x="1113217" y="1417123"/>
                  <a:pt x="1084266" y="1388171"/>
                  <a:pt x="1084266" y="1352456"/>
                </a:cubicBezTo>
                <a:cubicBezTo>
                  <a:pt x="1084266" y="1316743"/>
                  <a:pt x="1113217" y="1287791"/>
                  <a:pt x="1148931" y="1287791"/>
                </a:cubicBezTo>
                <a:close/>
                <a:moveTo>
                  <a:pt x="992358" y="1287791"/>
                </a:moveTo>
                <a:cubicBezTo>
                  <a:pt x="1028072" y="1287791"/>
                  <a:pt x="1057023" y="1316743"/>
                  <a:pt x="1057023" y="1352456"/>
                </a:cubicBezTo>
                <a:cubicBezTo>
                  <a:pt x="1057023" y="1388171"/>
                  <a:pt x="1028072" y="1417123"/>
                  <a:pt x="992358" y="1417123"/>
                </a:cubicBezTo>
                <a:cubicBezTo>
                  <a:pt x="956644" y="1417123"/>
                  <a:pt x="927693" y="1388171"/>
                  <a:pt x="927693" y="1352456"/>
                </a:cubicBezTo>
                <a:cubicBezTo>
                  <a:pt x="927693" y="1316743"/>
                  <a:pt x="956644" y="1287791"/>
                  <a:pt x="992358" y="1287791"/>
                </a:cubicBezTo>
                <a:close/>
                <a:moveTo>
                  <a:pt x="839701" y="1287791"/>
                </a:moveTo>
                <a:cubicBezTo>
                  <a:pt x="875415" y="1287791"/>
                  <a:pt x="904366" y="1316743"/>
                  <a:pt x="904366" y="1352456"/>
                </a:cubicBezTo>
                <a:cubicBezTo>
                  <a:pt x="904366" y="1388171"/>
                  <a:pt x="875415" y="1417123"/>
                  <a:pt x="839701" y="1417123"/>
                </a:cubicBezTo>
                <a:cubicBezTo>
                  <a:pt x="803988" y="1417123"/>
                  <a:pt x="775036" y="1388171"/>
                  <a:pt x="775036" y="1352456"/>
                </a:cubicBezTo>
                <a:cubicBezTo>
                  <a:pt x="775036" y="1316743"/>
                  <a:pt x="803988" y="1287791"/>
                  <a:pt x="839701" y="1287791"/>
                </a:cubicBezTo>
                <a:close/>
                <a:moveTo>
                  <a:pt x="683129" y="1287791"/>
                </a:moveTo>
                <a:cubicBezTo>
                  <a:pt x="718843" y="1287791"/>
                  <a:pt x="747795" y="1316743"/>
                  <a:pt x="747795" y="1352456"/>
                </a:cubicBezTo>
                <a:cubicBezTo>
                  <a:pt x="747795" y="1388171"/>
                  <a:pt x="718843" y="1417123"/>
                  <a:pt x="683129" y="1417123"/>
                </a:cubicBezTo>
                <a:cubicBezTo>
                  <a:pt x="647416" y="1417123"/>
                  <a:pt x="618464" y="1388171"/>
                  <a:pt x="618464" y="1352456"/>
                </a:cubicBezTo>
                <a:cubicBezTo>
                  <a:pt x="618464" y="1316743"/>
                  <a:pt x="647416" y="1287791"/>
                  <a:pt x="683129" y="1287791"/>
                </a:cubicBezTo>
                <a:close/>
                <a:moveTo>
                  <a:pt x="526550" y="1287791"/>
                </a:moveTo>
                <a:cubicBezTo>
                  <a:pt x="562263" y="1287791"/>
                  <a:pt x="591215" y="1316743"/>
                  <a:pt x="591215" y="1352456"/>
                </a:cubicBezTo>
                <a:cubicBezTo>
                  <a:pt x="591215" y="1388171"/>
                  <a:pt x="562263" y="1417123"/>
                  <a:pt x="526550" y="1417123"/>
                </a:cubicBezTo>
                <a:cubicBezTo>
                  <a:pt x="490836" y="1417123"/>
                  <a:pt x="461884" y="1388171"/>
                  <a:pt x="461884" y="1352456"/>
                </a:cubicBezTo>
                <a:cubicBezTo>
                  <a:pt x="461884" y="1316743"/>
                  <a:pt x="490836" y="1287791"/>
                  <a:pt x="526550" y="1287791"/>
                </a:cubicBezTo>
                <a:close/>
                <a:moveTo>
                  <a:pt x="373894" y="1287791"/>
                </a:moveTo>
                <a:cubicBezTo>
                  <a:pt x="409607" y="1287791"/>
                  <a:pt x="438559" y="1316743"/>
                  <a:pt x="438559" y="1352456"/>
                </a:cubicBezTo>
                <a:cubicBezTo>
                  <a:pt x="438559" y="1388171"/>
                  <a:pt x="409607" y="1417123"/>
                  <a:pt x="373894" y="1417123"/>
                </a:cubicBezTo>
                <a:cubicBezTo>
                  <a:pt x="338180" y="1417123"/>
                  <a:pt x="309228" y="1388171"/>
                  <a:pt x="309228" y="1352456"/>
                </a:cubicBezTo>
                <a:cubicBezTo>
                  <a:pt x="309228" y="1316743"/>
                  <a:pt x="338180" y="1287791"/>
                  <a:pt x="373894" y="1287791"/>
                </a:cubicBezTo>
                <a:close/>
                <a:moveTo>
                  <a:pt x="217323" y="1287791"/>
                </a:moveTo>
                <a:cubicBezTo>
                  <a:pt x="253036" y="1287791"/>
                  <a:pt x="281988" y="1316743"/>
                  <a:pt x="281988" y="1352456"/>
                </a:cubicBezTo>
                <a:cubicBezTo>
                  <a:pt x="281988" y="1388171"/>
                  <a:pt x="253036" y="1417123"/>
                  <a:pt x="217323" y="1417123"/>
                </a:cubicBezTo>
                <a:cubicBezTo>
                  <a:pt x="181609" y="1417123"/>
                  <a:pt x="152658" y="1388171"/>
                  <a:pt x="152658" y="1352456"/>
                </a:cubicBezTo>
                <a:cubicBezTo>
                  <a:pt x="152658" y="1316743"/>
                  <a:pt x="181609" y="1287791"/>
                  <a:pt x="217323" y="1287791"/>
                </a:cubicBezTo>
                <a:close/>
                <a:moveTo>
                  <a:pt x="64665" y="1287791"/>
                </a:moveTo>
                <a:cubicBezTo>
                  <a:pt x="100378" y="1287791"/>
                  <a:pt x="129330" y="1316743"/>
                  <a:pt x="129330" y="1352456"/>
                </a:cubicBezTo>
                <a:cubicBezTo>
                  <a:pt x="129330" y="1388171"/>
                  <a:pt x="100378" y="1417123"/>
                  <a:pt x="64665" y="1417123"/>
                </a:cubicBezTo>
                <a:cubicBezTo>
                  <a:pt x="28951" y="1417123"/>
                  <a:pt x="0" y="1388171"/>
                  <a:pt x="0" y="1352456"/>
                </a:cubicBezTo>
                <a:cubicBezTo>
                  <a:pt x="0" y="1316743"/>
                  <a:pt x="28951" y="1287791"/>
                  <a:pt x="64665" y="1287791"/>
                </a:cubicBezTo>
                <a:close/>
                <a:moveTo>
                  <a:pt x="11251683" y="1142959"/>
                </a:moveTo>
                <a:cubicBezTo>
                  <a:pt x="11287397" y="1142959"/>
                  <a:pt x="11316349" y="1171911"/>
                  <a:pt x="11316349" y="1207625"/>
                </a:cubicBezTo>
                <a:cubicBezTo>
                  <a:pt x="11316349" y="1243340"/>
                  <a:pt x="11287397" y="1272290"/>
                  <a:pt x="11251683" y="1272290"/>
                </a:cubicBezTo>
                <a:cubicBezTo>
                  <a:pt x="11215969" y="1272290"/>
                  <a:pt x="11187017" y="1243340"/>
                  <a:pt x="11187017" y="1207625"/>
                </a:cubicBezTo>
                <a:cubicBezTo>
                  <a:pt x="11187017" y="1171911"/>
                  <a:pt x="11215969" y="1142959"/>
                  <a:pt x="11251683" y="1142959"/>
                </a:cubicBezTo>
                <a:close/>
                <a:moveTo>
                  <a:pt x="11095110" y="1142959"/>
                </a:moveTo>
                <a:cubicBezTo>
                  <a:pt x="11130824" y="1142959"/>
                  <a:pt x="11159776" y="1171911"/>
                  <a:pt x="11159776" y="1207625"/>
                </a:cubicBezTo>
                <a:cubicBezTo>
                  <a:pt x="11159776" y="1243340"/>
                  <a:pt x="11130824" y="1272290"/>
                  <a:pt x="11095110" y="1272290"/>
                </a:cubicBezTo>
                <a:cubicBezTo>
                  <a:pt x="11059396" y="1272290"/>
                  <a:pt x="11030444" y="1243340"/>
                  <a:pt x="11030444" y="1207625"/>
                </a:cubicBezTo>
                <a:cubicBezTo>
                  <a:pt x="11030444" y="1171911"/>
                  <a:pt x="11059396" y="1142959"/>
                  <a:pt x="11095110" y="1142959"/>
                </a:cubicBezTo>
                <a:close/>
                <a:moveTo>
                  <a:pt x="10938537" y="1142959"/>
                </a:moveTo>
                <a:cubicBezTo>
                  <a:pt x="10974251" y="1142959"/>
                  <a:pt x="11003203" y="1171910"/>
                  <a:pt x="11003203" y="1207623"/>
                </a:cubicBezTo>
                <a:cubicBezTo>
                  <a:pt x="11003203" y="1243338"/>
                  <a:pt x="10974251" y="1272290"/>
                  <a:pt x="10938537" y="1272290"/>
                </a:cubicBezTo>
                <a:cubicBezTo>
                  <a:pt x="10902823" y="1272290"/>
                  <a:pt x="10873871" y="1243338"/>
                  <a:pt x="10873871" y="1207623"/>
                </a:cubicBezTo>
                <a:cubicBezTo>
                  <a:pt x="10873871" y="1171910"/>
                  <a:pt x="10902823" y="1142959"/>
                  <a:pt x="10938537" y="1142959"/>
                </a:cubicBezTo>
                <a:close/>
                <a:moveTo>
                  <a:pt x="10778049" y="1142959"/>
                </a:moveTo>
                <a:cubicBezTo>
                  <a:pt x="10813763" y="1142959"/>
                  <a:pt x="10842715" y="1171910"/>
                  <a:pt x="10842715" y="1207623"/>
                </a:cubicBezTo>
                <a:cubicBezTo>
                  <a:pt x="10842715" y="1243338"/>
                  <a:pt x="10813763" y="1272290"/>
                  <a:pt x="10778049" y="1272290"/>
                </a:cubicBezTo>
                <a:cubicBezTo>
                  <a:pt x="10742335" y="1272290"/>
                  <a:pt x="10713383" y="1243338"/>
                  <a:pt x="10713383" y="1207623"/>
                </a:cubicBezTo>
                <a:cubicBezTo>
                  <a:pt x="10713383" y="1171910"/>
                  <a:pt x="10742335" y="1142959"/>
                  <a:pt x="10778049" y="1142959"/>
                </a:cubicBezTo>
                <a:close/>
                <a:moveTo>
                  <a:pt x="10625391" y="1142959"/>
                </a:moveTo>
                <a:cubicBezTo>
                  <a:pt x="10661105" y="1142959"/>
                  <a:pt x="10690057" y="1171910"/>
                  <a:pt x="10690057" y="1207623"/>
                </a:cubicBezTo>
                <a:cubicBezTo>
                  <a:pt x="10690057" y="1243338"/>
                  <a:pt x="10661105" y="1272290"/>
                  <a:pt x="10625391" y="1272290"/>
                </a:cubicBezTo>
                <a:cubicBezTo>
                  <a:pt x="10589677" y="1272290"/>
                  <a:pt x="10560725" y="1243338"/>
                  <a:pt x="10560725" y="1207623"/>
                </a:cubicBezTo>
                <a:cubicBezTo>
                  <a:pt x="10560725" y="1171910"/>
                  <a:pt x="10589677" y="1142959"/>
                  <a:pt x="10625391" y="1142959"/>
                </a:cubicBezTo>
                <a:close/>
                <a:moveTo>
                  <a:pt x="10468818" y="1142959"/>
                </a:moveTo>
                <a:cubicBezTo>
                  <a:pt x="10504532" y="1142959"/>
                  <a:pt x="10533484" y="1171911"/>
                  <a:pt x="10533484" y="1207625"/>
                </a:cubicBezTo>
                <a:cubicBezTo>
                  <a:pt x="10533484" y="1243340"/>
                  <a:pt x="10504532" y="1272290"/>
                  <a:pt x="10468818" y="1272290"/>
                </a:cubicBezTo>
                <a:cubicBezTo>
                  <a:pt x="10433104" y="1272290"/>
                  <a:pt x="10404152" y="1243340"/>
                  <a:pt x="10404152" y="1207625"/>
                </a:cubicBezTo>
                <a:cubicBezTo>
                  <a:pt x="10404152" y="1171911"/>
                  <a:pt x="10433104" y="1142959"/>
                  <a:pt x="10468818" y="1142959"/>
                </a:cubicBezTo>
                <a:close/>
                <a:moveTo>
                  <a:pt x="10312244" y="1142959"/>
                </a:moveTo>
                <a:cubicBezTo>
                  <a:pt x="10347958" y="1142959"/>
                  <a:pt x="10376910" y="1171910"/>
                  <a:pt x="10376910" y="1207623"/>
                </a:cubicBezTo>
                <a:cubicBezTo>
                  <a:pt x="10376910" y="1243338"/>
                  <a:pt x="10347958" y="1272290"/>
                  <a:pt x="10312244" y="1272290"/>
                </a:cubicBezTo>
                <a:cubicBezTo>
                  <a:pt x="10276530" y="1272290"/>
                  <a:pt x="10247578" y="1243338"/>
                  <a:pt x="10247578" y="1207623"/>
                </a:cubicBezTo>
                <a:cubicBezTo>
                  <a:pt x="10247578" y="1171910"/>
                  <a:pt x="10276530" y="1142959"/>
                  <a:pt x="10312244" y="1142959"/>
                </a:cubicBezTo>
                <a:close/>
                <a:moveTo>
                  <a:pt x="10159585" y="1142959"/>
                </a:moveTo>
                <a:cubicBezTo>
                  <a:pt x="10195299" y="1142959"/>
                  <a:pt x="10224251" y="1171910"/>
                  <a:pt x="10224251" y="1207623"/>
                </a:cubicBezTo>
                <a:cubicBezTo>
                  <a:pt x="10224251" y="1243338"/>
                  <a:pt x="10195299" y="1272290"/>
                  <a:pt x="10159585" y="1272290"/>
                </a:cubicBezTo>
                <a:cubicBezTo>
                  <a:pt x="10123871" y="1272290"/>
                  <a:pt x="10094919" y="1243338"/>
                  <a:pt x="10094919" y="1207623"/>
                </a:cubicBezTo>
                <a:cubicBezTo>
                  <a:pt x="10094919" y="1171910"/>
                  <a:pt x="10123871" y="1142959"/>
                  <a:pt x="10159585" y="1142959"/>
                </a:cubicBezTo>
                <a:close/>
                <a:moveTo>
                  <a:pt x="10003013" y="1142959"/>
                </a:moveTo>
                <a:cubicBezTo>
                  <a:pt x="10038727" y="1142959"/>
                  <a:pt x="10067679" y="1171910"/>
                  <a:pt x="10067679" y="1207623"/>
                </a:cubicBezTo>
                <a:cubicBezTo>
                  <a:pt x="10067679" y="1243338"/>
                  <a:pt x="10038727" y="1272290"/>
                  <a:pt x="10003013" y="1272290"/>
                </a:cubicBezTo>
                <a:cubicBezTo>
                  <a:pt x="9967299" y="1272290"/>
                  <a:pt x="9938347" y="1243338"/>
                  <a:pt x="9938347" y="1207623"/>
                </a:cubicBezTo>
                <a:cubicBezTo>
                  <a:pt x="9938347" y="1171910"/>
                  <a:pt x="9967299" y="1142959"/>
                  <a:pt x="10003013" y="1142959"/>
                </a:cubicBezTo>
                <a:close/>
                <a:moveTo>
                  <a:pt x="9850355" y="1142959"/>
                </a:moveTo>
                <a:cubicBezTo>
                  <a:pt x="9886069" y="1142959"/>
                  <a:pt x="9915021" y="1171911"/>
                  <a:pt x="9915021" y="1207625"/>
                </a:cubicBezTo>
                <a:cubicBezTo>
                  <a:pt x="9915021" y="1243340"/>
                  <a:pt x="9886069" y="1272290"/>
                  <a:pt x="9850355" y="1272290"/>
                </a:cubicBezTo>
                <a:cubicBezTo>
                  <a:pt x="9814641" y="1272290"/>
                  <a:pt x="9785689" y="1243340"/>
                  <a:pt x="9785689" y="1207625"/>
                </a:cubicBezTo>
                <a:cubicBezTo>
                  <a:pt x="9785689" y="1171911"/>
                  <a:pt x="9814641" y="1142959"/>
                  <a:pt x="9850355" y="1142959"/>
                </a:cubicBezTo>
                <a:close/>
                <a:moveTo>
                  <a:pt x="9693780" y="1142959"/>
                </a:moveTo>
                <a:cubicBezTo>
                  <a:pt x="9729494" y="1142959"/>
                  <a:pt x="9758446" y="1171910"/>
                  <a:pt x="9758446" y="1207623"/>
                </a:cubicBezTo>
                <a:cubicBezTo>
                  <a:pt x="9758446" y="1243338"/>
                  <a:pt x="9729494" y="1272290"/>
                  <a:pt x="9693780" y="1272290"/>
                </a:cubicBezTo>
                <a:cubicBezTo>
                  <a:pt x="9658066" y="1272290"/>
                  <a:pt x="9629114" y="1243338"/>
                  <a:pt x="9629114" y="1207623"/>
                </a:cubicBezTo>
                <a:cubicBezTo>
                  <a:pt x="9629114" y="1171910"/>
                  <a:pt x="9658066" y="1142959"/>
                  <a:pt x="9693780" y="1142959"/>
                </a:cubicBezTo>
                <a:close/>
                <a:moveTo>
                  <a:pt x="9541120" y="1142959"/>
                </a:moveTo>
                <a:cubicBezTo>
                  <a:pt x="9576834" y="1142959"/>
                  <a:pt x="9605786" y="1171910"/>
                  <a:pt x="9605786" y="1207623"/>
                </a:cubicBezTo>
                <a:cubicBezTo>
                  <a:pt x="9605786" y="1243338"/>
                  <a:pt x="9576834" y="1272290"/>
                  <a:pt x="9541120" y="1272290"/>
                </a:cubicBezTo>
                <a:cubicBezTo>
                  <a:pt x="9505406" y="1272290"/>
                  <a:pt x="9476454" y="1243338"/>
                  <a:pt x="9476454" y="1207623"/>
                </a:cubicBezTo>
                <a:cubicBezTo>
                  <a:pt x="9476454" y="1171910"/>
                  <a:pt x="9505406" y="1142959"/>
                  <a:pt x="9541120" y="1142959"/>
                </a:cubicBezTo>
                <a:close/>
                <a:moveTo>
                  <a:pt x="9384547" y="1142959"/>
                </a:moveTo>
                <a:cubicBezTo>
                  <a:pt x="9420261" y="1142959"/>
                  <a:pt x="9449213" y="1171910"/>
                  <a:pt x="9449213" y="1207623"/>
                </a:cubicBezTo>
                <a:cubicBezTo>
                  <a:pt x="9449213" y="1243338"/>
                  <a:pt x="9420261" y="1272290"/>
                  <a:pt x="9384547" y="1272290"/>
                </a:cubicBezTo>
                <a:cubicBezTo>
                  <a:pt x="9348833" y="1272290"/>
                  <a:pt x="9319881" y="1243338"/>
                  <a:pt x="9319881" y="1207623"/>
                </a:cubicBezTo>
                <a:cubicBezTo>
                  <a:pt x="9319881" y="1171910"/>
                  <a:pt x="9348833" y="1142959"/>
                  <a:pt x="9384547" y="1142959"/>
                </a:cubicBezTo>
                <a:close/>
                <a:moveTo>
                  <a:pt x="9227974" y="1142959"/>
                </a:moveTo>
                <a:cubicBezTo>
                  <a:pt x="9263688" y="1142959"/>
                  <a:pt x="9292640" y="1171911"/>
                  <a:pt x="9292640" y="1207625"/>
                </a:cubicBezTo>
                <a:cubicBezTo>
                  <a:pt x="9292640" y="1243340"/>
                  <a:pt x="9263688" y="1272290"/>
                  <a:pt x="9227974" y="1272290"/>
                </a:cubicBezTo>
                <a:cubicBezTo>
                  <a:pt x="9192260" y="1272290"/>
                  <a:pt x="9163308" y="1243340"/>
                  <a:pt x="9163308" y="1207625"/>
                </a:cubicBezTo>
                <a:cubicBezTo>
                  <a:pt x="9163308" y="1171911"/>
                  <a:pt x="9192260" y="1142959"/>
                  <a:pt x="9227974" y="1142959"/>
                </a:cubicBezTo>
                <a:close/>
                <a:moveTo>
                  <a:pt x="9075316" y="1142959"/>
                </a:moveTo>
                <a:cubicBezTo>
                  <a:pt x="9111030" y="1142959"/>
                  <a:pt x="9139982" y="1171911"/>
                  <a:pt x="9139982" y="1207625"/>
                </a:cubicBezTo>
                <a:cubicBezTo>
                  <a:pt x="9139982" y="1243340"/>
                  <a:pt x="9111030" y="1272290"/>
                  <a:pt x="9075316" y="1272290"/>
                </a:cubicBezTo>
                <a:cubicBezTo>
                  <a:pt x="9039602" y="1272290"/>
                  <a:pt x="9010650" y="1243340"/>
                  <a:pt x="9010650" y="1207625"/>
                </a:cubicBezTo>
                <a:cubicBezTo>
                  <a:pt x="9010650" y="1171911"/>
                  <a:pt x="9039602" y="1142959"/>
                  <a:pt x="9075316" y="1142959"/>
                </a:cubicBezTo>
                <a:close/>
                <a:moveTo>
                  <a:pt x="8914828" y="1142959"/>
                </a:moveTo>
                <a:cubicBezTo>
                  <a:pt x="8950542" y="1142959"/>
                  <a:pt x="8979494" y="1171910"/>
                  <a:pt x="8979494" y="1207623"/>
                </a:cubicBezTo>
                <a:cubicBezTo>
                  <a:pt x="8979494" y="1243338"/>
                  <a:pt x="8950542" y="1272290"/>
                  <a:pt x="8914828" y="1272290"/>
                </a:cubicBezTo>
                <a:cubicBezTo>
                  <a:pt x="8879114" y="1272290"/>
                  <a:pt x="8850162" y="1243338"/>
                  <a:pt x="8850162" y="1207623"/>
                </a:cubicBezTo>
                <a:cubicBezTo>
                  <a:pt x="8850162" y="1171910"/>
                  <a:pt x="8879114" y="1142959"/>
                  <a:pt x="8914828" y="1142959"/>
                </a:cubicBezTo>
                <a:close/>
                <a:moveTo>
                  <a:pt x="8766083" y="1142959"/>
                </a:moveTo>
                <a:cubicBezTo>
                  <a:pt x="8801797" y="1142959"/>
                  <a:pt x="8830749" y="1171911"/>
                  <a:pt x="8830749" y="1207625"/>
                </a:cubicBezTo>
                <a:cubicBezTo>
                  <a:pt x="8830749" y="1243340"/>
                  <a:pt x="8801797" y="1272290"/>
                  <a:pt x="8766083" y="1272290"/>
                </a:cubicBezTo>
                <a:cubicBezTo>
                  <a:pt x="8730369" y="1272290"/>
                  <a:pt x="8701417" y="1243340"/>
                  <a:pt x="8701417" y="1207625"/>
                </a:cubicBezTo>
                <a:cubicBezTo>
                  <a:pt x="8701417" y="1171911"/>
                  <a:pt x="8730369" y="1142959"/>
                  <a:pt x="8766083" y="1142959"/>
                </a:cubicBezTo>
                <a:close/>
                <a:moveTo>
                  <a:pt x="8601682" y="1142959"/>
                </a:moveTo>
                <a:cubicBezTo>
                  <a:pt x="8637396" y="1142959"/>
                  <a:pt x="8666348" y="1171911"/>
                  <a:pt x="8666348" y="1207625"/>
                </a:cubicBezTo>
                <a:cubicBezTo>
                  <a:pt x="8666348" y="1243340"/>
                  <a:pt x="8637396" y="1272290"/>
                  <a:pt x="8601682" y="1272290"/>
                </a:cubicBezTo>
                <a:cubicBezTo>
                  <a:pt x="8565968" y="1272290"/>
                  <a:pt x="8537016" y="1243340"/>
                  <a:pt x="8537016" y="1207625"/>
                </a:cubicBezTo>
                <a:cubicBezTo>
                  <a:pt x="8537016" y="1171911"/>
                  <a:pt x="8565968" y="1142959"/>
                  <a:pt x="8601682" y="1142959"/>
                </a:cubicBezTo>
                <a:close/>
                <a:moveTo>
                  <a:pt x="8449022" y="1142959"/>
                </a:moveTo>
                <a:cubicBezTo>
                  <a:pt x="8484736" y="1142959"/>
                  <a:pt x="8513688" y="1171911"/>
                  <a:pt x="8513688" y="1207625"/>
                </a:cubicBezTo>
                <a:cubicBezTo>
                  <a:pt x="8513688" y="1243340"/>
                  <a:pt x="8484736" y="1272290"/>
                  <a:pt x="8449022" y="1272290"/>
                </a:cubicBezTo>
                <a:cubicBezTo>
                  <a:pt x="8413308" y="1272290"/>
                  <a:pt x="8384356" y="1243340"/>
                  <a:pt x="8384356" y="1207625"/>
                </a:cubicBezTo>
                <a:cubicBezTo>
                  <a:pt x="8384356" y="1171911"/>
                  <a:pt x="8413308" y="1142959"/>
                  <a:pt x="8449022" y="1142959"/>
                </a:cubicBezTo>
                <a:close/>
                <a:moveTo>
                  <a:pt x="8296365" y="1142959"/>
                </a:moveTo>
                <a:cubicBezTo>
                  <a:pt x="8332079" y="1142959"/>
                  <a:pt x="8361031" y="1171910"/>
                  <a:pt x="8361031" y="1207623"/>
                </a:cubicBezTo>
                <a:cubicBezTo>
                  <a:pt x="8361031" y="1243338"/>
                  <a:pt x="8332079" y="1272290"/>
                  <a:pt x="8296365" y="1272290"/>
                </a:cubicBezTo>
                <a:cubicBezTo>
                  <a:pt x="8260651" y="1272290"/>
                  <a:pt x="8231699" y="1243338"/>
                  <a:pt x="8231699" y="1207623"/>
                </a:cubicBezTo>
                <a:cubicBezTo>
                  <a:pt x="8231699" y="1171910"/>
                  <a:pt x="8260651" y="1142959"/>
                  <a:pt x="8296365" y="1142959"/>
                </a:cubicBezTo>
                <a:close/>
                <a:moveTo>
                  <a:pt x="8139790" y="1142959"/>
                </a:moveTo>
                <a:cubicBezTo>
                  <a:pt x="8175504" y="1142959"/>
                  <a:pt x="8204456" y="1171911"/>
                  <a:pt x="8204456" y="1207625"/>
                </a:cubicBezTo>
                <a:cubicBezTo>
                  <a:pt x="8204456" y="1243340"/>
                  <a:pt x="8175504" y="1272290"/>
                  <a:pt x="8139790" y="1272290"/>
                </a:cubicBezTo>
                <a:cubicBezTo>
                  <a:pt x="8104076" y="1272290"/>
                  <a:pt x="8075124" y="1243340"/>
                  <a:pt x="8075124" y="1207625"/>
                </a:cubicBezTo>
                <a:cubicBezTo>
                  <a:pt x="8075124" y="1171911"/>
                  <a:pt x="8104076" y="1142959"/>
                  <a:pt x="8139790" y="1142959"/>
                </a:cubicBezTo>
                <a:close/>
                <a:moveTo>
                  <a:pt x="7987132" y="1142959"/>
                </a:moveTo>
                <a:cubicBezTo>
                  <a:pt x="8022846" y="1142959"/>
                  <a:pt x="8051798" y="1171911"/>
                  <a:pt x="8051798" y="1207625"/>
                </a:cubicBezTo>
                <a:cubicBezTo>
                  <a:pt x="8051798" y="1243340"/>
                  <a:pt x="8022846" y="1272290"/>
                  <a:pt x="7987132" y="1272290"/>
                </a:cubicBezTo>
                <a:cubicBezTo>
                  <a:pt x="7951418" y="1272290"/>
                  <a:pt x="7922466" y="1243340"/>
                  <a:pt x="7922466" y="1207625"/>
                </a:cubicBezTo>
                <a:cubicBezTo>
                  <a:pt x="7922466" y="1171911"/>
                  <a:pt x="7951418" y="1142959"/>
                  <a:pt x="7987132" y="1142959"/>
                </a:cubicBezTo>
                <a:close/>
                <a:moveTo>
                  <a:pt x="7830560" y="1142959"/>
                </a:moveTo>
                <a:cubicBezTo>
                  <a:pt x="7866274" y="1142959"/>
                  <a:pt x="7895226" y="1171911"/>
                  <a:pt x="7895226" y="1207625"/>
                </a:cubicBezTo>
                <a:cubicBezTo>
                  <a:pt x="7895226" y="1243340"/>
                  <a:pt x="7866274" y="1272290"/>
                  <a:pt x="7830560" y="1272290"/>
                </a:cubicBezTo>
                <a:cubicBezTo>
                  <a:pt x="7794846" y="1272290"/>
                  <a:pt x="7765894" y="1243340"/>
                  <a:pt x="7765894" y="1207625"/>
                </a:cubicBezTo>
                <a:cubicBezTo>
                  <a:pt x="7765894" y="1171911"/>
                  <a:pt x="7794846" y="1142959"/>
                  <a:pt x="7830560" y="1142959"/>
                </a:cubicBezTo>
                <a:close/>
                <a:moveTo>
                  <a:pt x="7677900" y="1142959"/>
                </a:moveTo>
                <a:cubicBezTo>
                  <a:pt x="7713614" y="1142959"/>
                  <a:pt x="7742566" y="1171910"/>
                  <a:pt x="7742566" y="1207623"/>
                </a:cubicBezTo>
                <a:cubicBezTo>
                  <a:pt x="7742566" y="1243338"/>
                  <a:pt x="7713614" y="1272290"/>
                  <a:pt x="7677900" y="1272290"/>
                </a:cubicBezTo>
                <a:cubicBezTo>
                  <a:pt x="7642186" y="1272290"/>
                  <a:pt x="7613234" y="1243338"/>
                  <a:pt x="7613234" y="1207623"/>
                </a:cubicBezTo>
                <a:cubicBezTo>
                  <a:pt x="7613234" y="1171910"/>
                  <a:pt x="7642186" y="1142959"/>
                  <a:pt x="7677900" y="1142959"/>
                </a:cubicBezTo>
                <a:close/>
                <a:moveTo>
                  <a:pt x="7521327" y="1142959"/>
                </a:moveTo>
                <a:cubicBezTo>
                  <a:pt x="7557041" y="1142959"/>
                  <a:pt x="7585993" y="1171910"/>
                  <a:pt x="7585993" y="1207623"/>
                </a:cubicBezTo>
                <a:cubicBezTo>
                  <a:pt x="7585993" y="1243338"/>
                  <a:pt x="7557041" y="1272290"/>
                  <a:pt x="7521327" y="1272290"/>
                </a:cubicBezTo>
                <a:cubicBezTo>
                  <a:pt x="7485613" y="1272290"/>
                  <a:pt x="7456661" y="1243338"/>
                  <a:pt x="7456661" y="1207623"/>
                </a:cubicBezTo>
                <a:cubicBezTo>
                  <a:pt x="7456661" y="1171910"/>
                  <a:pt x="7485613" y="1142959"/>
                  <a:pt x="7521327" y="1142959"/>
                </a:cubicBezTo>
                <a:close/>
                <a:moveTo>
                  <a:pt x="7368667" y="1142959"/>
                </a:moveTo>
                <a:cubicBezTo>
                  <a:pt x="7404381" y="1142959"/>
                  <a:pt x="7433333" y="1171911"/>
                  <a:pt x="7433333" y="1207625"/>
                </a:cubicBezTo>
                <a:cubicBezTo>
                  <a:pt x="7433333" y="1243340"/>
                  <a:pt x="7404381" y="1272290"/>
                  <a:pt x="7368667" y="1272290"/>
                </a:cubicBezTo>
                <a:cubicBezTo>
                  <a:pt x="7332953" y="1272290"/>
                  <a:pt x="7304001" y="1243340"/>
                  <a:pt x="7304001" y="1207625"/>
                </a:cubicBezTo>
                <a:cubicBezTo>
                  <a:pt x="7304001" y="1171911"/>
                  <a:pt x="7332953" y="1142959"/>
                  <a:pt x="7368667" y="1142959"/>
                </a:cubicBezTo>
                <a:close/>
                <a:moveTo>
                  <a:pt x="7212094" y="1142959"/>
                </a:moveTo>
                <a:cubicBezTo>
                  <a:pt x="7247808" y="1142959"/>
                  <a:pt x="7276760" y="1171910"/>
                  <a:pt x="7276760" y="1207623"/>
                </a:cubicBezTo>
                <a:cubicBezTo>
                  <a:pt x="7276760" y="1243338"/>
                  <a:pt x="7247808" y="1272290"/>
                  <a:pt x="7212094" y="1272290"/>
                </a:cubicBezTo>
                <a:cubicBezTo>
                  <a:pt x="7176380" y="1272290"/>
                  <a:pt x="7147428" y="1243338"/>
                  <a:pt x="7147428" y="1207623"/>
                </a:cubicBezTo>
                <a:cubicBezTo>
                  <a:pt x="7147428" y="1171910"/>
                  <a:pt x="7176380" y="1142959"/>
                  <a:pt x="7212094" y="1142959"/>
                </a:cubicBezTo>
                <a:close/>
                <a:moveTo>
                  <a:pt x="7055520" y="1142959"/>
                </a:moveTo>
                <a:cubicBezTo>
                  <a:pt x="7091234" y="1142959"/>
                  <a:pt x="7120186" y="1171910"/>
                  <a:pt x="7120186" y="1207623"/>
                </a:cubicBezTo>
                <a:cubicBezTo>
                  <a:pt x="7120186" y="1243338"/>
                  <a:pt x="7091234" y="1272290"/>
                  <a:pt x="7055520" y="1272290"/>
                </a:cubicBezTo>
                <a:cubicBezTo>
                  <a:pt x="7019806" y="1272290"/>
                  <a:pt x="6990854" y="1243338"/>
                  <a:pt x="6990854" y="1207623"/>
                </a:cubicBezTo>
                <a:cubicBezTo>
                  <a:pt x="6990854" y="1171910"/>
                  <a:pt x="7019806" y="1142959"/>
                  <a:pt x="7055520" y="1142959"/>
                </a:cubicBezTo>
                <a:close/>
                <a:moveTo>
                  <a:pt x="6895035" y="1142959"/>
                </a:moveTo>
                <a:cubicBezTo>
                  <a:pt x="6930749" y="1142959"/>
                  <a:pt x="6959701" y="1171910"/>
                  <a:pt x="6959701" y="1207623"/>
                </a:cubicBezTo>
                <a:cubicBezTo>
                  <a:pt x="6959701" y="1243338"/>
                  <a:pt x="6930749" y="1272290"/>
                  <a:pt x="6895035" y="1272290"/>
                </a:cubicBezTo>
                <a:cubicBezTo>
                  <a:pt x="6859321" y="1272290"/>
                  <a:pt x="6830369" y="1243338"/>
                  <a:pt x="6830369" y="1207623"/>
                </a:cubicBezTo>
                <a:cubicBezTo>
                  <a:pt x="6830369" y="1171910"/>
                  <a:pt x="6859321" y="1142959"/>
                  <a:pt x="6895035" y="1142959"/>
                </a:cubicBezTo>
                <a:close/>
                <a:moveTo>
                  <a:pt x="6742374" y="1142959"/>
                </a:moveTo>
                <a:cubicBezTo>
                  <a:pt x="6778088" y="1142959"/>
                  <a:pt x="6807040" y="1171911"/>
                  <a:pt x="6807040" y="1207625"/>
                </a:cubicBezTo>
                <a:cubicBezTo>
                  <a:pt x="6807040" y="1243340"/>
                  <a:pt x="6778088" y="1272290"/>
                  <a:pt x="6742374" y="1272290"/>
                </a:cubicBezTo>
                <a:cubicBezTo>
                  <a:pt x="6706660" y="1272290"/>
                  <a:pt x="6677708" y="1243340"/>
                  <a:pt x="6677708" y="1207625"/>
                </a:cubicBezTo>
                <a:cubicBezTo>
                  <a:pt x="6677708" y="1171911"/>
                  <a:pt x="6706660" y="1142959"/>
                  <a:pt x="6742374" y="1142959"/>
                </a:cubicBezTo>
                <a:close/>
                <a:moveTo>
                  <a:pt x="6585801" y="1142959"/>
                </a:moveTo>
                <a:cubicBezTo>
                  <a:pt x="6621515" y="1142959"/>
                  <a:pt x="6650467" y="1171910"/>
                  <a:pt x="6650467" y="1207623"/>
                </a:cubicBezTo>
                <a:cubicBezTo>
                  <a:pt x="6650467" y="1243338"/>
                  <a:pt x="6621515" y="1272290"/>
                  <a:pt x="6585801" y="1272290"/>
                </a:cubicBezTo>
                <a:cubicBezTo>
                  <a:pt x="6550087" y="1272290"/>
                  <a:pt x="6521135" y="1243338"/>
                  <a:pt x="6521135" y="1207623"/>
                </a:cubicBezTo>
                <a:cubicBezTo>
                  <a:pt x="6521135" y="1171910"/>
                  <a:pt x="6550087" y="1142959"/>
                  <a:pt x="6585801" y="1142959"/>
                </a:cubicBezTo>
                <a:close/>
                <a:moveTo>
                  <a:pt x="6429228" y="1142959"/>
                </a:moveTo>
                <a:cubicBezTo>
                  <a:pt x="6464942" y="1142959"/>
                  <a:pt x="6493894" y="1171911"/>
                  <a:pt x="6493894" y="1207625"/>
                </a:cubicBezTo>
                <a:cubicBezTo>
                  <a:pt x="6493894" y="1243340"/>
                  <a:pt x="6464942" y="1272290"/>
                  <a:pt x="6429228" y="1272290"/>
                </a:cubicBezTo>
                <a:cubicBezTo>
                  <a:pt x="6393514" y="1272290"/>
                  <a:pt x="6364562" y="1243340"/>
                  <a:pt x="6364562" y="1207625"/>
                </a:cubicBezTo>
                <a:cubicBezTo>
                  <a:pt x="6364562" y="1171911"/>
                  <a:pt x="6393514" y="1142959"/>
                  <a:pt x="6429228" y="1142959"/>
                </a:cubicBezTo>
                <a:close/>
                <a:moveTo>
                  <a:pt x="6276569" y="1142959"/>
                </a:moveTo>
                <a:cubicBezTo>
                  <a:pt x="6312283" y="1142959"/>
                  <a:pt x="6341235" y="1171911"/>
                  <a:pt x="6341235" y="1207625"/>
                </a:cubicBezTo>
                <a:cubicBezTo>
                  <a:pt x="6341235" y="1243340"/>
                  <a:pt x="6312283" y="1272290"/>
                  <a:pt x="6276569" y="1272290"/>
                </a:cubicBezTo>
                <a:cubicBezTo>
                  <a:pt x="6240855" y="1272290"/>
                  <a:pt x="6211903" y="1243340"/>
                  <a:pt x="6211903" y="1207625"/>
                </a:cubicBezTo>
                <a:cubicBezTo>
                  <a:pt x="6211903" y="1171911"/>
                  <a:pt x="6240855" y="1142959"/>
                  <a:pt x="6276569" y="1142959"/>
                </a:cubicBezTo>
                <a:close/>
                <a:moveTo>
                  <a:pt x="6119998" y="1142959"/>
                </a:moveTo>
                <a:cubicBezTo>
                  <a:pt x="6155712" y="1142959"/>
                  <a:pt x="6184664" y="1171910"/>
                  <a:pt x="6184664" y="1207623"/>
                </a:cubicBezTo>
                <a:cubicBezTo>
                  <a:pt x="6184664" y="1243338"/>
                  <a:pt x="6155712" y="1272290"/>
                  <a:pt x="6119998" y="1272290"/>
                </a:cubicBezTo>
                <a:cubicBezTo>
                  <a:pt x="6084284" y="1272290"/>
                  <a:pt x="6055332" y="1243338"/>
                  <a:pt x="6055332" y="1207623"/>
                </a:cubicBezTo>
                <a:cubicBezTo>
                  <a:pt x="6055332" y="1171910"/>
                  <a:pt x="6084284" y="1142959"/>
                  <a:pt x="6119998" y="1142959"/>
                </a:cubicBezTo>
                <a:close/>
                <a:moveTo>
                  <a:pt x="5967336" y="1142959"/>
                </a:moveTo>
                <a:cubicBezTo>
                  <a:pt x="6003050" y="1142959"/>
                  <a:pt x="6032002" y="1171911"/>
                  <a:pt x="6032002" y="1207625"/>
                </a:cubicBezTo>
                <a:cubicBezTo>
                  <a:pt x="6032002" y="1243340"/>
                  <a:pt x="6003050" y="1272290"/>
                  <a:pt x="5967336" y="1272290"/>
                </a:cubicBezTo>
                <a:cubicBezTo>
                  <a:pt x="5931622" y="1272290"/>
                  <a:pt x="5902670" y="1243340"/>
                  <a:pt x="5902670" y="1207625"/>
                </a:cubicBezTo>
                <a:cubicBezTo>
                  <a:pt x="5902670" y="1171911"/>
                  <a:pt x="5931622" y="1142959"/>
                  <a:pt x="5967336" y="1142959"/>
                </a:cubicBezTo>
                <a:close/>
                <a:moveTo>
                  <a:pt x="5810807" y="1142959"/>
                </a:moveTo>
                <a:cubicBezTo>
                  <a:pt x="5846478" y="1142959"/>
                  <a:pt x="5875431" y="1171911"/>
                  <a:pt x="5875431" y="1207625"/>
                </a:cubicBezTo>
                <a:cubicBezTo>
                  <a:pt x="5875431" y="1243340"/>
                  <a:pt x="5846478" y="1272290"/>
                  <a:pt x="5810807" y="1272290"/>
                </a:cubicBezTo>
                <a:cubicBezTo>
                  <a:pt x="5775081" y="1272290"/>
                  <a:pt x="5746117" y="1243340"/>
                  <a:pt x="5746117" y="1207625"/>
                </a:cubicBezTo>
                <a:cubicBezTo>
                  <a:pt x="5746117" y="1171911"/>
                  <a:pt x="5775081" y="1142959"/>
                  <a:pt x="5810807" y="1142959"/>
                </a:cubicBezTo>
                <a:close/>
                <a:moveTo>
                  <a:pt x="5031849" y="1142959"/>
                </a:moveTo>
                <a:cubicBezTo>
                  <a:pt x="5067551" y="1142959"/>
                  <a:pt x="5096509" y="1171910"/>
                  <a:pt x="5096509" y="1207623"/>
                </a:cubicBezTo>
                <a:cubicBezTo>
                  <a:pt x="5096509" y="1243338"/>
                  <a:pt x="5067551" y="1272290"/>
                  <a:pt x="5031849" y="1272290"/>
                </a:cubicBezTo>
                <a:cubicBezTo>
                  <a:pt x="4996113" y="1272290"/>
                  <a:pt x="4967172" y="1243338"/>
                  <a:pt x="4967172" y="1207623"/>
                </a:cubicBezTo>
                <a:cubicBezTo>
                  <a:pt x="4967172" y="1171910"/>
                  <a:pt x="4996113" y="1142959"/>
                  <a:pt x="5031849" y="1142959"/>
                </a:cubicBezTo>
                <a:close/>
                <a:moveTo>
                  <a:pt x="4875262" y="1142959"/>
                </a:moveTo>
                <a:cubicBezTo>
                  <a:pt x="4910981" y="1142959"/>
                  <a:pt x="4939938" y="1171911"/>
                  <a:pt x="4939938" y="1207625"/>
                </a:cubicBezTo>
                <a:cubicBezTo>
                  <a:pt x="4939938" y="1243340"/>
                  <a:pt x="4910981" y="1272290"/>
                  <a:pt x="4875262" y="1272290"/>
                </a:cubicBezTo>
                <a:cubicBezTo>
                  <a:pt x="4839541" y="1272290"/>
                  <a:pt x="4810599" y="1243340"/>
                  <a:pt x="4810599" y="1207625"/>
                </a:cubicBezTo>
                <a:cubicBezTo>
                  <a:pt x="4810599" y="1171911"/>
                  <a:pt x="4839541" y="1142959"/>
                  <a:pt x="4875262" y="1142959"/>
                </a:cubicBezTo>
                <a:close/>
                <a:moveTo>
                  <a:pt x="4722604" y="1142959"/>
                </a:moveTo>
                <a:cubicBezTo>
                  <a:pt x="4758338" y="1142959"/>
                  <a:pt x="4787268" y="1171911"/>
                  <a:pt x="4787268" y="1207625"/>
                </a:cubicBezTo>
                <a:cubicBezTo>
                  <a:pt x="4787268" y="1243340"/>
                  <a:pt x="4758338" y="1272290"/>
                  <a:pt x="4722604" y="1272290"/>
                </a:cubicBezTo>
                <a:cubicBezTo>
                  <a:pt x="4686897" y="1272290"/>
                  <a:pt x="4657945" y="1243340"/>
                  <a:pt x="4657945" y="1207625"/>
                </a:cubicBezTo>
                <a:cubicBezTo>
                  <a:pt x="4657945" y="1171911"/>
                  <a:pt x="4686897" y="1142959"/>
                  <a:pt x="4722604" y="1142959"/>
                </a:cubicBezTo>
                <a:close/>
                <a:moveTo>
                  <a:pt x="4100249" y="1142959"/>
                </a:moveTo>
                <a:cubicBezTo>
                  <a:pt x="4135947" y="1142959"/>
                  <a:pt x="4164920" y="1171910"/>
                  <a:pt x="4164920" y="1207623"/>
                </a:cubicBezTo>
                <a:cubicBezTo>
                  <a:pt x="4164920" y="1243338"/>
                  <a:pt x="4135947" y="1272290"/>
                  <a:pt x="4100249" y="1272290"/>
                </a:cubicBezTo>
                <a:cubicBezTo>
                  <a:pt x="4064526" y="1272290"/>
                  <a:pt x="4035594" y="1243338"/>
                  <a:pt x="4035594" y="1207623"/>
                </a:cubicBezTo>
                <a:cubicBezTo>
                  <a:pt x="4035594" y="1171910"/>
                  <a:pt x="4064526" y="1142959"/>
                  <a:pt x="4100249" y="1142959"/>
                </a:cubicBezTo>
                <a:close/>
                <a:moveTo>
                  <a:pt x="3947573" y="1142959"/>
                </a:moveTo>
                <a:cubicBezTo>
                  <a:pt x="3983297" y="1142959"/>
                  <a:pt x="4012257" y="1171911"/>
                  <a:pt x="4012257" y="1207625"/>
                </a:cubicBezTo>
                <a:cubicBezTo>
                  <a:pt x="4012257" y="1243340"/>
                  <a:pt x="3983297" y="1272290"/>
                  <a:pt x="3947573" y="1272290"/>
                </a:cubicBezTo>
                <a:cubicBezTo>
                  <a:pt x="3911977" y="1272290"/>
                  <a:pt x="3883028" y="1243340"/>
                  <a:pt x="3883028" y="1207625"/>
                </a:cubicBezTo>
                <a:cubicBezTo>
                  <a:pt x="3883028" y="1171911"/>
                  <a:pt x="3911977" y="1142959"/>
                  <a:pt x="3947573" y="1142959"/>
                </a:cubicBezTo>
                <a:close/>
                <a:moveTo>
                  <a:pt x="3321416" y="1142959"/>
                </a:moveTo>
                <a:cubicBezTo>
                  <a:pt x="3357123" y="1142959"/>
                  <a:pt x="3386056" y="1171910"/>
                  <a:pt x="3386056" y="1207623"/>
                </a:cubicBezTo>
                <a:cubicBezTo>
                  <a:pt x="3386056" y="1243338"/>
                  <a:pt x="3357123" y="1272290"/>
                  <a:pt x="3321416" y="1272290"/>
                </a:cubicBezTo>
                <a:cubicBezTo>
                  <a:pt x="3285691" y="1272290"/>
                  <a:pt x="3256751" y="1243338"/>
                  <a:pt x="3256751" y="1207623"/>
                </a:cubicBezTo>
                <a:cubicBezTo>
                  <a:pt x="3256751" y="1171910"/>
                  <a:pt x="3285691" y="1142959"/>
                  <a:pt x="3321416" y="1142959"/>
                </a:cubicBezTo>
                <a:close/>
                <a:moveTo>
                  <a:pt x="3172663" y="1142959"/>
                </a:moveTo>
                <a:cubicBezTo>
                  <a:pt x="3208387" y="1142959"/>
                  <a:pt x="3237336" y="1171911"/>
                  <a:pt x="3237336" y="1207625"/>
                </a:cubicBezTo>
                <a:cubicBezTo>
                  <a:pt x="3237336" y="1243340"/>
                  <a:pt x="3208387" y="1272290"/>
                  <a:pt x="3172663" y="1272290"/>
                </a:cubicBezTo>
                <a:cubicBezTo>
                  <a:pt x="3136936" y="1272290"/>
                  <a:pt x="3107975" y="1243340"/>
                  <a:pt x="3107975" y="1207625"/>
                </a:cubicBezTo>
                <a:cubicBezTo>
                  <a:pt x="3107975" y="1171911"/>
                  <a:pt x="3136936" y="1142959"/>
                  <a:pt x="3172663" y="1142959"/>
                </a:cubicBezTo>
                <a:close/>
                <a:moveTo>
                  <a:pt x="2699047" y="1142959"/>
                </a:moveTo>
                <a:cubicBezTo>
                  <a:pt x="2734754" y="1142959"/>
                  <a:pt x="2763701" y="1171910"/>
                  <a:pt x="2763701" y="1207623"/>
                </a:cubicBezTo>
                <a:cubicBezTo>
                  <a:pt x="2763701" y="1243338"/>
                  <a:pt x="2734754" y="1272290"/>
                  <a:pt x="2699047" y="1272290"/>
                </a:cubicBezTo>
                <a:cubicBezTo>
                  <a:pt x="2663339" y="1272290"/>
                  <a:pt x="2634393" y="1243338"/>
                  <a:pt x="2634393" y="1207623"/>
                </a:cubicBezTo>
                <a:cubicBezTo>
                  <a:pt x="2634393" y="1171910"/>
                  <a:pt x="2663339" y="1142959"/>
                  <a:pt x="2699047" y="1142959"/>
                </a:cubicBezTo>
                <a:close/>
                <a:moveTo>
                  <a:pt x="2546410" y="1142959"/>
                </a:moveTo>
                <a:cubicBezTo>
                  <a:pt x="2582122" y="1142959"/>
                  <a:pt x="2611069" y="1171911"/>
                  <a:pt x="2611069" y="1207625"/>
                </a:cubicBezTo>
                <a:cubicBezTo>
                  <a:pt x="2611069" y="1243340"/>
                  <a:pt x="2582122" y="1272290"/>
                  <a:pt x="2546410" y="1272290"/>
                </a:cubicBezTo>
                <a:cubicBezTo>
                  <a:pt x="2510687" y="1272290"/>
                  <a:pt x="2481752" y="1243340"/>
                  <a:pt x="2481752" y="1207625"/>
                </a:cubicBezTo>
                <a:cubicBezTo>
                  <a:pt x="2481752" y="1171911"/>
                  <a:pt x="2510687" y="1142959"/>
                  <a:pt x="2546410" y="1142959"/>
                </a:cubicBezTo>
                <a:close/>
                <a:moveTo>
                  <a:pt x="2389823" y="1142959"/>
                </a:moveTo>
                <a:cubicBezTo>
                  <a:pt x="2425571" y="1142959"/>
                  <a:pt x="2454516" y="1171910"/>
                  <a:pt x="2454516" y="1207623"/>
                </a:cubicBezTo>
                <a:cubicBezTo>
                  <a:pt x="2454516" y="1243338"/>
                  <a:pt x="2425571" y="1272290"/>
                  <a:pt x="2389823" y="1272290"/>
                </a:cubicBezTo>
                <a:cubicBezTo>
                  <a:pt x="2354139" y="1272290"/>
                  <a:pt x="2325179" y="1243338"/>
                  <a:pt x="2325179" y="1207623"/>
                </a:cubicBezTo>
                <a:cubicBezTo>
                  <a:pt x="2325179" y="1171910"/>
                  <a:pt x="2354139" y="1142959"/>
                  <a:pt x="2389823" y="1142959"/>
                </a:cubicBezTo>
                <a:close/>
                <a:moveTo>
                  <a:pt x="2237158" y="1142959"/>
                </a:moveTo>
                <a:cubicBezTo>
                  <a:pt x="2272883" y="1142959"/>
                  <a:pt x="2301845" y="1171910"/>
                  <a:pt x="2301845" y="1207623"/>
                </a:cubicBezTo>
                <a:cubicBezTo>
                  <a:pt x="2301845" y="1243338"/>
                  <a:pt x="2272883" y="1272290"/>
                  <a:pt x="2237158" y="1272290"/>
                </a:cubicBezTo>
                <a:cubicBezTo>
                  <a:pt x="2201433" y="1272290"/>
                  <a:pt x="2172473" y="1243338"/>
                  <a:pt x="2172473" y="1207623"/>
                </a:cubicBezTo>
                <a:cubicBezTo>
                  <a:pt x="2172473" y="1171910"/>
                  <a:pt x="2201433" y="1142959"/>
                  <a:pt x="2237158" y="1142959"/>
                </a:cubicBezTo>
                <a:close/>
                <a:moveTo>
                  <a:pt x="2084472" y="1142959"/>
                </a:moveTo>
                <a:cubicBezTo>
                  <a:pt x="2120189" y="1142959"/>
                  <a:pt x="2149139" y="1171910"/>
                  <a:pt x="2149139" y="1207623"/>
                </a:cubicBezTo>
                <a:cubicBezTo>
                  <a:pt x="2149139" y="1243338"/>
                  <a:pt x="2120189" y="1272290"/>
                  <a:pt x="2084472" y="1272290"/>
                </a:cubicBezTo>
                <a:cubicBezTo>
                  <a:pt x="2048742" y="1272290"/>
                  <a:pt x="2019837" y="1243338"/>
                  <a:pt x="2019837" y="1207623"/>
                </a:cubicBezTo>
                <a:cubicBezTo>
                  <a:pt x="2019837" y="1171910"/>
                  <a:pt x="2048742" y="1142959"/>
                  <a:pt x="2084472" y="1142959"/>
                </a:cubicBezTo>
                <a:close/>
                <a:moveTo>
                  <a:pt x="1927885" y="1142959"/>
                </a:moveTo>
                <a:cubicBezTo>
                  <a:pt x="1963608" y="1142959"/>
                  <a:pt x="1992577" y="1171910"/>
                  <a:pt x="1992577" y="1207623"/>
                </a:cubicBezTo>
                <a:cubicBezTo>
                  <a:pt x="1992577" y="1243338"/>
                  <a:pt x="1963608" y="1272290"/>
                  <a:pt x="1927885" y="1272290"/>
                </a:cubicBezTo>
                <a:cubicBezTo>
                  <a:pt x="1892208" y="1272290"/>
                  <a:pt x="1863252" y="1243338"/>
                  <a:pt x="1863252" y="1207623"/>
                </a:cubicBezTo>
                <a:cubicBezTo>
                  <a:pt x="1863252" y="1171910"/>
                  <a:pt x="1892208" y="1142959"/>
                  <a:pt x="1927885" y="1142959"/>
                </a:cubicBezTo>
                <a:close/>
                <a:moveTo>
                  <a:pt x="1775237" y="1142959"/>
                </a:moveTo>
                <a:cubicBezTo>
                  <a:pt x="1810940" y="1142959"/>
                  <a:pt x="1839926" y="1171910"/>
                  <a:pt x="1839926" y="1207623"/>
                </a:cubicBezTo>
                <a:cubicBezTo>
                  <a:pt x="1839926" y="1243338"/>
                  <a:pt x="1810940" y="1272290"/>
                  <a:pt x="1775237" y="1272290"/>
                </a:cubicBezTo>
                <a:cubicBezTo>
                  <a:pt x="1739514" y="1272290"/>
                  <a:pt x="1710566" y="1243338"/>
                  <a:pt x="1710566" y="1207623"/>
                </a:cubicBezTo>
                <a:cubicBezTo>
                  <a:pt x="1710566" y="1171910"/>
                  <a:pt x="1739514" y="1142959"/>
                  <a:pt x="1775237" y="1142959"/>
                </a:cubicBezTo>
                <a:close/>
                <a:moveTo>
                  <a:pt x="1618652" y="1142959"/>
                </a:moveTo>
                <a:cubicBezTo>
                  <a:pt x="1654374" y="1142959"/>
                  <a:pt x="1683323" y="1171910"/>
                  <a:pt x="1683323" y="1207623"/>
                </a:cubicBezTo>
                <a:cubicBezTo>
                  <a:pt x="1683323" y="1243338"/>
                  <a:pt x="1654374" y="1272290"/>
                  <a:pt x="1618652" y="1272290"/>
                </a:cubicBezTo>
                <a:cubicBezTo>
                  <a:pt x="1582943" y="1272290"/>
                  <a:pt x="1553991" y="1243338"/>
                  <a:pt x="1553991" y="1207623"/>
                </a:cubicBezTo>
                <a:cubicBezTo>
                  <a:pt x="1553991" y="1171910"/>
                  <a:pt x="1582943" y="1142959"/>
                  <a:pt x="1618652" y="1142959"/>
                </a:cubicBezTo>
                <a:close/>
                <a:moveTo>
                  <a:pt x="1465997" y="1142959"/>
                </a:moveTo>
                <a:cubicBezTo>
                  <a:pt x="1501712" y="1142959"/>
                  <a:pt x="1530664" y="1171911"/>
                  <a:pt x="1530664" y="1207625"/>
                </a:cubicBezTo>
                <a:cubicBezTo>
                  <a:pt x="1530664" y="1243340"/>
                  <a:pt x="1501712" y="1272290"/>
                  <a:pt x="1465997" y="1272290"/>
                </a:cubicBezTo>
                <a:cubicBezTo>
                  <a:pt x="1430284" y="1272290"/>
                  <a:pt x="1401335" y="1243340"/>
                  <a:pt x="1401335" y="1207625"/>
                </a:cubicBezTo>
                <a:cubicBezTo>
                  <a:pt x="1401335" y="1171911"/>
                  <a:pt x="1430284" y="1142959"/>
                  <a:pt x="1465997" y="1142959"/>
                </a:cubicBezTo>
                <a:close/>
                <a:moveTo>
                  <a:pt x="1309424" y="1142959"/>
                </a:moveTo>
                <a:cubicBezTo>
                  <a:pt x="1345137" y="1142959"/>
                  <a:pt x="1374089" y="1171910"/>
                  <a:pt x="1374089" y="1207623"/>
                </a:cubicBezTo>
                <a:cubicBezTo>
                  <a:pt x="1374089" y="1243338"/>
                  <a:pt x="1345137" y="1272290"/>
                  <a:pt x="1309424" y="1272290"/>
                </a:cubicBezTo>
                <a:cubicBezTo>
                  <a:pt x="1273709" y="1272290"/>
                  <a:pt x="1244757" y="1243338"/>
                  <a:pt x="1244757" y="1207623"/>
                </a:cubicBezTo>
                <a:cubicBezTo>
                  <a:pt x="1244757" y="1171910"/>
                  <a:pt x="1273709" y="1142959"/>
                  <a:pt x="1309424" y="1142959"/>
                </a:cubicBezTo>
                <a:close/>
                <a:moveTo>
                  <a:pt x="1148940" y="1142959"/>
                </a:moveTo>
                <a:cubicBezTo>
                  <a:pt x="1184653" y="1142959"/>
                  <a:pt x="1213605" y="1171910"/>
                  <a:pt x="1213605" y="1207623"/>
                </a:cubicBezTo>
                <a:cubicBezTo>
                  <a:pt x="1213605" y="1243338"/>
                  <a:pt x="1184653" y="1272290"/>
                  <a:pt x="1148940" y="1272290"/>
                </a:cubicBezTo>
                <a:cubicBezTo>
                  <a:pt x="1113226" y="1272290"/>
                  <a:pt x="1084275" y="1243338"/>
                  <a:pt x="1084275" y="1207623"/>
                </a:cubicBezTo>
                <a:cubicBezTo>
                  <a:pt x="1084275" y="1171910"/>
                  <a:pt x="1113226" y="1142959"/>
                  <a:pt x="1148940" y="1142959"/>
                </a:cubicBezTo>
                <a:close/>
                <a:moveTo>
                  <a:pt x="992366" y="1142959"/>
                </a:moveTo>
                <a:cubicBezTo>
                  <a:pt x="1028080" y="1142959"/>
                  <a:pt x="1057031" y="1171911"/>
                  <a:pt x="1057031" y="1207625"/>
                </a:cubicBezTo>
                <a:cubicBezTo>
                  <a:pt x="1057031" y="1243340"/>
                  <a:pt x="1028080" y="1272290"/>
                  <a:pt x="992366" y="1272290"/>
                </a:cubicBezTo>
                <a:cubicBezTo>
                  <a:pt x="956653" y="1272290"/>
                  <a:pt x="927701" y="1243340"/>
                  <a:pt x="927701" y="1207625"/>
                </a:cubicBezTo>
                <a:cubicBezTo>
                  <a:pt x="927701" y="1171911"/>
                  <a:pt x="956653" y="1142959"/>
                  <a:pt x="992366" y="1142959"/>
                </a:cubicBezTo>
                <a:close/>
                <a:moveTo>
                  <a:pt x="839710" y="1142959"/>
                </a:moveTo>
                <a:cubicBezTo>
                  <a:pt x="875424" y="1142959"/>
                  <a:pt x="904376" y="1171910"/>
                  <a:pt x="904376" y="1207623"/>
                </a:cubicBezTo>
                <a:cubicBezTo>
                  <a:pt x="904376" y="1243338"/>
                  <a:pt x="875424" y="1272290"/>
                  <a:pt x="839710" y="1272290"/>
                </a:cubicBezTo>
                <a:cubicBezTo>
                  <a:pt x="803997" y="1272290"/>
                  <a:pt x="775045" y="1243338"/>
                  <a:pt x="775045" y="1207623"/>
                </a:cubicBezTo>
                <a:cubicBezTo>
                  <a:pt x="775045" y="1171910"/>
                  <a:pt x="803997" y="1142959"/>
                  <a:pt x="839710" y="1142959"/>
                </a:cubicBezTo>
                <a:close/>
                <a:moveTo>
                  <a:pt x="683139" y="1142959"/>
                </a:moveTo>
                <a:cubicBezTo>
                  <a:pt x="718852" y="1142959"/>
                  <a:pt x="747804" y="1171910"/>
                  <a:pt x="747804" y="1207623"/>
                </a:cubicBezTo>
                <a:cubicBezTo>
                  <a:pt x="747804" y="1243338"/>
                  <a:pt x="718852" y="1272290"/>
                  <a:pt x="683139" y="1272290"/>
                </a:cubicBezTo>
                <a:cubicBezTo>
                  <a:pt x="647425" y="1272290"/>
                  <a:pt x="618474" y="1243338"/>
                  <a:pt x="618474" y="1207623"/>
                </a:cubicBezTo>
                <a:cubicBezTo>
                  <a:pt x="618474" y="1171910"/>
                  <a:pt x="647425" y="1142959"/>
                  <a:pt x="683139" y="1142959"/>
                </a:cubicBezTo>
                <a:close/>
                <a:moveTo>
                  <a:pt x="526558" y="1142959"/>
                </a:moveTo>
                <a:cubicBezTo>
                  <a:pt x="562272" y="1142959"/>
                  <a:pt x="591224" y="1171910"/>
                  <a:pt x="591224" y="1207623"/>
                </a:cubicBezTo>
                <a:cubicBezTo>
                  <a:pt x="591224" y="1243338"/>
                  <a:pt x="562272" y="1272290"/>
                  <a:pt x="526558" y="1272290"/>
                </a:cubicBezTo>
                <a:cubicBezTo>
                  <a:pt x="490845" y="1272290"/>
                  <a:pt x="461893" y="1243338"/>
                  <a:pt x="461893" y="1207623"/>
                </a:cubicBezTo>
                <a:cubicBezTo>
                  <a:pt x="461893" y="1171910"/>
                  <a:pt x="490845" y="1142959"/>
                  <a:pt x="526558" y="1142959"/>
                </a:cubicBezTo>
                <a:close/>
                <a:moveTo>
                  <a:pt x="373903" y="1142959"/>
                </a:moveTo>
                <a:cubicBezTo>
                  <a:pt x="409616" y="1142959"/>
                  <a:pt x="438568" y="1171910"/>
                  <a:pt x="438568" y="1207623"/>
                </a:cubicBezTo>
                <a:cubicBezTo>
                  <a:pt x="438568" y="1243338"/>
                  <a:pt x="409616" y="1272290"/>
                  <a:pt x="373903" y="1272290"/>
                </a:cubicBezTo>
                <a:cubicBezTo>
                  <a:pt x="338189" y="1272290"/>
                  <a:pt x="309237" y="1243338"/>
                  <a:pt x="309237" y="1207623"/>
                </a:cubicBezTo>
                <a:cubicBezTo>
                  <a:pt x="309237" y="1171910"/>
                  <a:pt x="338189" y="1142959"/>
                  <a:pt x="373903" y="1142959"/>
                </a:cubicBezTo>
                <a:close/>
                <a:moveTo>
                  <a:pt x="217332" y="1142959"/>
                </a:moveTo>
                <a:cubicBezTo>
                  <a:pt x="253045" y="1142959"/>
                  <a:pt x="281997" y="1171910"/>
                  <a:pt x="281997" y="1207623"/>
                </a:cubicBezTo>
                <a:cubicBezTo>
                  <a:pt x="281997" y="1243338"/>
                  <a:pt x="253045" y="1272290"/>
                  <a:pt x="217332" y="1272290"/>
                </a:cubicBezTo>
                <a:cubicBezTo>
                  <a:pt x="181618" y="1272290"/>
                  <a:pt x="152667" y="1243338"/>
                  <a:pt x="152667" y="1207623"/>
                </a:cubicBezTo>
                <a:cubicBezTo>
                  <a:pt x="152667" y="1171910"/>
                  <a:pt x="181618" y="1142959"/>
                  <a:pt x="217332" y="1142959"/>
                </a:cubicBezTo>
                <a:close/>
                <a:moveTo>
                  <a:pt x="64674" y="1142959"/>
                </a:moveTo>
                <a:cubicBezTo>
                  <a:pt x="100387" y="1142959"/>
                  <a:pt x="129339" y="1171910"/>
                  <a:pt x="129339" y="1207623"/>
                </a:cubicBezTo>
                <a:cubicBezTo>
                  <a:pt x="129339" y="1243338"/>
                  <a:pt x="100387" y="1272290"/>
                  <a:pt x="64674" y="1272290"/>
                </a:cubicBezTo>
                <a:cubicBezTo>
                  <a:pt x="28960" y="1272290"/>
                  <a:pt x="9" y="1243338"/>
                  <a:pt x="9" y="1207623"/>
                </a:cubicBezTo>
                <a:cubicBezTo>
                  <a:pt x="9" y="1171910"/>
                  <a:pt x="28960" y="1142959"/>
                  <a:pt x="64674" y="1142959"/>
                </a:cubicBezTo>
                <a:close/>
                <a:moveTo>
                  <a:pt x="11095111" y="1002044"/>
                </a:moveTo>
                <a:cubicBezTo>
                  <a:pt x="11130825" y="1002044"/>
                  <a:pt x="11159777" y="1030995"/>
                  <a:pt x="11159777" y="1066709"/>
                </a:cubicBezTo>
                <a:cubicBezTo>
                  <a:pt x="11159777" y="1102424"/>
                  <a:pt x="11130825" y="1131375"/>
                  <a:pt x="11095111" y="1131375"/>
                </a:cubicBezTo>
                <a:cubicBezTo>
                  <a:pt x="11059397" y="1131375"/>
                  <a:pt x="11030445" y="1102424"/>
                  <a:pt x="11030445" y="1066709"/>
                </a:cubicBezTo>
                <a:cubicBezTo>
                  <a:pt x="11030445" y="1030995"/>
                  <a:pt x="11059397" y="1002044"/>
                  <a:pt x="11095111" y="1002044"/>
                </a:cubicBezTo>
                <a:close/>
                <a:moveTo>
                  <a:pt x="10938538" y="1002044"/>
                </a:moveTo>
                <a:cubicBezTo>
                  <a:pt x="10974252" y="1002044"/>
                  <a:pt x="11003204" y="1030995"/>
                  <a:pt x="11003204" y="1066709"/>
                </a:cubicBezTo>
                <a:cubicBezTo>
                  <a:pt x="11003204" y="1102424"/>
                  <a:pt x="10974252" y="1131375"/>
                  <a:pt x="10938538" y="1131375"/>
                </a:cubicBezTo>
                <a:cubicBezTo>
                  <a:pt x="10902824" y="1131375"/>
                  <a:pt x="10873872" y="1102424"/>
                  <a:pt x="10873872" y="1066709"/>
                </a:cubicBezTo>
                <a:cubicBezTo>
                  <a:pt x="10873872" y="1030995"/>
                  <a:pt x="10902824" y="1002044"/>
                  <a:pt x="10938538" y="1002044"/>
                </a:cubicBezTo>
                <a:close/>
                <a:moveTo>
                  <a:pt x="10778051" y="1002044"/>
                </a:moveTo>
                <a:cubicBezTo>
                  <a:pt x="10813765" y="1002044"/>
                  <a:pt x="10842717" y="1030995"/>
                  <a:pt x="10842717" y="1066709"/>
                </a:cubicBezTo>
                <a:cubicBezTo>
                  <a:pt x="10842717" y="1102424"/>
                  <a:pt x="10813765" y="1131375"/>
                  <a:pt x="10778051" y="1131375"/>
                </a:cubicBezTo>
                <a:cubicBezTo>
                  <a:pt x="10742337" y="1131375"/>
                  <a:pt x="10713385" y="1102424"/>
                  <a:pt x="10713385" y="1066709"/>
                </a:cubicBezTo>
                <a:cubicBezTo>
                  <a:pt x="10713385" y="1030995"/>
                  <a:pt x="10742337" y="1002044"/>
                  <a:pt x="10778051" y="1002044"/>
                </a:cubicBezTo>
                <a:close/>
                <a:moveTo>
                  <a:pt x="10625392" y="1002044"/>
                </a:moveTo>
                <a:cubicBezTo>
                  <a:pt x="10661106" y="1002044"/>
                  <a:pt x="10690058" y="1030995"/>
                  <a:pt x="10690058" y="1066709"/>
                </a:cubicBezTo>
                <a:cubicBezTo>
                  <a:pt x="10690058" y="1102424"/>
                  <a:pt x="10661106" y="1131375"/>
                  <a:pt x="10625392" y="1131375"/>
                </a:cubicBezTo>
                <a:cubicBezTo>
                  <a:pt x="10589678" y="1131375"/>
                  <a:pt x="10560726" y="1102424"/>
                  <a:pt x="10560726" y="1066709"/>
                </a:cubicBezTo>
                <a:cubicBezTo>
                  <a:pt x="10560726" y="1030995"/>
                  <a:pt x="10589678" y="1002044"/>
                  <a:pt x="10625392" y="1002044"/>
                </a:cubicBezTo>
                <a:close/>
                <a:moveTo>
                  <a:pt x="10468818" y="1002044"/>
                </a:moveTo>
                <a:cubicBezTo>
                  <a:pt x="10504532" y="1002044"/>
                  <a:pt x="10533484" y="1030995"/>
                  <a:pt x="10533484" y="1066709"/>
                </a:cubicBezTo>
                <a:cubicBezTo>
                  <a:pt x="10533484" y="1102424"/>
                  <a:pt x="10504532" y="1131375"/>
                  <a:pt x="10468818" y="1131375"/>
                </a:cubicBezTo>
                <a:cubicBezTo>
                  <a:pt x="10433104" y="1131375"/>
                  <a:pt x="10404152" y="1102424"/>
                  <a:pt x="10404152" y="1066709"/>
                </a:cubicBezTo>
                <a:cubicBezTo>
                  <a:pt x="10404152" y="1030995"/>
                  <a:pt x="10433104" y="1002044"/>
                  <a:pt x="10468818" y="1002044"/>
                </a:cubicBezTo>
                <a:close/>
                <a:moveTo>
                  <a:pt x="10312244" y="1002044"/>
                </a:moveTo>
                <a:cubicBezTo>
                  <a:pt x="10347958" y="1002044"/>
                  <a:pt x="10376910" y="1030995"/>
                  <a:pt x="10376910" y="1066709"/>
                </a:cubicBezTo>
                <a:cubicBezTo>
                  <a:pt x="10376910" y="1102424"/>
                  <a:pt x="10347958" y="1131375"/>
                  <a:pt x="10312244" y="1131375"/>
                </a:cubicBezTo>
                <a:cubicBezTo>
                  <a:pt x="10276530" y="1131375"/>
                  <a:pt x="10247578" y="1102424"/>
                  <a:pt x="10247578" y="1066709"/>
                </a:cubicBezTo>
                <a:cubicBezTo>
                  <a:pt x="10247578" y="1030995"/>
                  <a:pt x="10276530" y="1002044"/>
                  <a:pt x="10312244" y="1002044"/>
                </a:cubicBezTo>
                <a:close/>
                <a:moveTo>
                  <a:pt x="10159586" y="1002044"/>
                </a:moveTo>
                <a:cubicBezTo>
                  <a:pt x="10195300" y="1002044"/>
                  <a:pt x="10224252" y="1030995"/>
                  <a:pt x="10224252" y="1066709"/>
                </a:cubicBezTo>
                <a:cubicBezTo>
                  <a:pt x="10224252" y="1102424"/>
                  <a:pt x="10195300" y="1131375"/>
                  <a:pt x="10159586" y="1131375"/>
                </a:cubicBezTo>
                <a:cubicBezTo>
                  <a:pt x="10123872" y="1131375"/>
                  <a:pt x="10094920" y="1102424"/>
                  <a:pt x="10094920" y="1066709"/>
                </a:cubicBezTo>
                <a:cubicBezTo>
                  <a:pt x="10094920" y="1030995"/>
                  <a:pt x="10123872" y="1002044"/>
                  <a:pt x="10159586" y="1002044"/>
                </a:cubicBezTo>
                <a:close/>
                <a:moveTo>
                  <a:pt x="10003015" y="1002044"/>
                </a:moveTo>
                <a:cubicBezTo>
                  <a:pt x="10038729" y="1002044"/>
                  <a:pt x="10067681" y="1030995"/>
                  <a:pt x="10067681" y="1066709"/>
                </a:cubicBezTo>
                <a:cubicBezTo>
                  <a:pt x="10067681" y="1102424"/>
                  <a:pt x="10038729" y="1131375"/>
                  <a:pt x="10003015" y="1131375"/>
                </a:cubicBezTo>
                <a:cubicBezTo>
                  <a:pt x="9967301" y="1131375"/>
                  <a:pt x="9938349" y="1102424"/>
                  <a:pt x="9938349" y="1066709"/>
                </a:cubicBezTo>
                <a:cubicBezTo>
                  <a:pt x="9938349" y="1030995"/>
                  <a:pt x="9967301" y="1002044"/>
                  <a:pt x="10003015" y="1002044"/>
                </a:cubicBezTo>
                <a:close/>
                <a:moveTo>
                  <a:pt x="9850355" y="1002044"/>
                </a:moveTo>
                <a:cubicBezTo>
                  <a:pt x="9886069" y="1002044"/>
                  <a:pt x="9915021" y="1030995"/>
                  <a:pt x="9915021" y="1066709"/>
                </a:cubicBezTo>
                <a:cubicBezTo>
                  <a:pt x="9915021" y="1102424"/>
                  <a:pt x="9886069" y="1131375"/>
                  <a:pt x="9850355" y="1131375"/>
                </a:cubicBezTo>
                <a:cubicBezTo>
                  <a:pt x="9814641" y="1131375"/>
                  <a:pt x="9785689" y="1102424"/>
                  <a:pt x="9785689" y="1066709"/>
                </a:cubicBezTo>
                <a:cubicBezTo>
                  <a:pt x="9785689" y="1030995"/>
                  <a:pt x="9814641" y="1002044"/>
                  <a:pt x="9850355" y="1002044"/>
                </a:cubicBezTo>
                <a:close/>
                <a:moveTo>
                  <a:pt x="9693780" y="1002044"/>
                </a:moveTo>
                <a:cubicBezTo>
                  <a:pt x="9729494" y="1002044"/>
                  <a:pt x="9758446" y="1030995"/>
                  <a:pt x="9758446" y="1066709"/>
                </a:cubicBezTo>
                <a:cubicBezTo>
                  <a:pt x="9758446" y="1102424"/>
                  <a:pt x="9729494" y="1131375"/>
                  <a:pt x="9693780" y="1131375"/>
                </a:cubicBezTo>
                <a:cubicBezTo>
                  <a:pt x="9658066" y="1131375"/>
                  <a:pt x="9629114" y="1102424"/>
                  <a:pt x="9629114" y="1066709"/>
                </a:cubicBezTo>
                <a:cubicBezTo>
                  <a:pt x="9629114" y="1030995"/>
                  <a:pt x="9658066" y="1002044"/>
                  <a:pt x="9693780" y="1002044"/>
                </a:cubicBezTo>
                <a:close/>
                <a:moveTo>
                  <a:pt x="9541122" y="1002044"/>
                </a:moveTo>
                <a:cubicBezTo>
                  <a:pt x="9576836" y="1002044"/>
                  <a:pt x="9605788" y="1030995"/>
                  <a:pt x="9605788" y="1066709"/>
                </a:cubicBezTo>
                <a:cubicBezTo>
                  <a:pt x="9605788" y="1102424"/>
                  <a:pt x="9576836" y="1131375"/>
                  <a:pt x="9541122" y="1131375"/>
                </a:cubicBezTo>
                <a:cubicBezTo>
                  <a:pt x="9505408" y="1131375"/>
                  <a:pt x="9476456" y="1102424"/>
                  <a:pt x="9476456" y="1066709"/>
                </a:cubicBezTo>
                <a:cubicBezTo>
                  <a:pt x="9476456" y="1030995"/>
                  <a:pt x="9505408" y="1002044"/>
                  <a:pt x="9541122" y="1002044"/>
                </a:cubicBezTo>
                <a:close/>
                <a:moveTo>
                  <a:pt x="9384549" y="1002044"/>
                </a:moveTo>
                <a:cubicBezTo>
                  <a:pt x="9420263" y="1002044"/>
                  <a:pt x="9449215" y="1030995"/>
                  <a:pt x="9449215" y="1066709"/>
                </a:cubicBezTo>
                <a:cubicBezTo>
                  <a:pt x="9449215" y="1102424"/>
                  <a:pt x="9420263" y="1131375"/>
                  <a:pt x="9384549" y="1131375"/>
                </a:cubicBezTo>
                <a:cubicBezTo>
                  <a:pt x="9348835" y="1131375"/>
                  <a:pt x="9319883" y="1102424"/>
                  <a:pt x="9319883" y="1066709"/>
                </a:cubicBezTo>
                <a:cubicBezTo>
                  <a:pt x="9319883" y="1030995"/>
                  <a:pt x="9348835" y="1002044"/>
                  <a:pt x="9384549" y="1002044"/>
                </a:cubicBezTo>
                <a:close/>
                <a:moveTo>
                  <a:pt x="9227976" y="1002044"/>
                </a:moveTo>
                <a:cubicBezTo>
                  <a:pt x="9263690" y="1002044"/>
                  <a:pt x="9292642" y="1030995"/>
                  <a:pt x="9292642" y="1066709"/>
                </a:cubicBezTo>
                <a:cubicBezTo>
                  <a:pt x="9292642" y="1102424"/>
                  <a:pt x="9263690" y="1131375"/>
                  <a:pt x="9227976" y="1131375"/>
                </a:cubicBezTo>
                <a:cubicBezTo>
                  <a:pt x="9192262" y="1131375"/>
                  <a:pt x="9163310" y="1102424"/>
                  <a:pt x="9163310" y="1066709"/>
                </a:cubicBezTo>
                <a:cubicBezTo>
                  <a:pt x="9163310" y="1030995"/>
                  <a:pt x="9192262" y="1002044"/>
                  <a:pt x="9227976" y="1002044"/>
                </a:cubicBezTo>
                <a:close/>
                <a:moveTo>
                  <a:pt x="9075316" y="1002044"/>
                </a:moveTo>
                <a:cubicBezTo>
                  <a:pt x="9111030" y="1002044"/>
                  <a:pt x="9139982" y="1030995"/>
                  <a:pt x="9139982" y="1066709"/>
                </a:cubicBezTo>
                <a:cubicBezTo>
                  <a:pt x="9139982" y="1102424"/>
                  <a:pt x="9111030" y="1131375"/>
                  <a:pt x="9075316" y="1131375"/>
                </a:cubicBezTo>
                <a:cubicBezTo>
                  <a:pt x="9039602" y="1131375"/>
                  <a:pt x="9010650" y="1102424"/>
                  <a:pt x="9010650" y="1066709"/>
                </a:cubicBezTo>
                <a:cubicBezTo>
                  <a:pt x="9010650" y="1030995"/>
                  <a:pt x="9039602" y="1002044"/>
                  <a:pt x="9075316" y="1002044"/>
                </a:cubicBezTo>
                <a:close/>
                <a:moveTo>
                  <a:pt x="8914829" y="1002044"/>
                </a:moveTo>
                <a:cubicBezTo>
                  <a:pt x="8950543" y="1002044"/>
                  <a:pt x="8979495" y="1030995"/>
                  <a:pt x="8979495" y="1066709"/>
                </a:cubicBezTo>
                <a:cubicBezTo>
                  <a:pt x="8979495" y="1102424"/>
                  <a:pt x="8950543" y="1131375"/>
                  <a:pt x="8914829" y="1131375"/>
                </a:cubicBezTo>
                <a:cubicBezTo>
                  <a:pt x="8879115" y="1131375"/>
                  <a:pt x="8850163" y="1102424"/>
                  <a:pt x="8850163" y="1066709"/>
                </a:cubicBezTo>
                <a:cubicBezTo>
                  <a:pt x="8850163" y="1030995"/>
                  <a:pt x="8879115" y="1002044"/>
                  <a:pt x="8914829" y="1002044"/>
                </a:cubicBezTo>
                <a:close/>
                <a:moveTo>
                  <a:pt x="8766084" y="1002044"/>
                </a:moveTo>
                <a:cubicBezTo>
                  <a:pt x="8801798" y="1002044"/>
                  <a:pt x="8830750" y="1030995"/>
                  <a:pt x="8830750" y="1066709"/>
                </a:cubicBezTo>
                <a:cubicBezTo>
                  <a:pt x="8830750" y="1102424"/>
                  <a:pt x="8801798" y="1131375"/>
                  <a:pt x="8766084" y="1131375"/>
                </a:cubicBezTo>
                <a:cubicBezTo>
                  <a:pt x="8730370" y="1131375"/>
                  <a:pt x="8701418" y="1102424"/>
                  <a:pt x="8701418" y="1066709"/>
                </a:cubicBezTo>
                <a:cubicBezTo>
                  <a:pt x="8701418" y="1030995"/>
                  <a:pt x="8730370" y="1002044"/>
                  <a:pt x="8766084" y="1002044"/>
                </a:cubicBezTo>
                <a:close/>
                <a:moveTo>
                  <a:pt x="8601682" y="1002044"/>
                </a:moveTo>
                <a:cubicBezTo>
                  <a:pt x="8637396" y="1002044"/>
                  <a:pt x="8666348" y="1030995"/>
                  <a:pt x="8666348" y="1066709"/>
                </a:cubicBezTo>
                <a:cubicBezTo>
                  <a:pt x="8666348" y="1102424"/>
                  <a:pt x="8637396" y="1131375"/>
                  <a:pt x="8601682" y="1131375"/>
                </a:cubicBezTo>
                <a:cubicBezTo>
                  <a:pt x="8565968" y="1131375"/>
                  <a:pt x="8537016" y="1102424"/>
                  <a:pt x="8537016" y="1066709"/>
                </a:cubicBezTo>
                <a:cubicBezTo>
                  <a:pt x="8537016" y="1030995"/>
                  <a:pt x="8565968" y="1002044"/>
                  <a:pt x="8601682" y="1002044"/>
                </a:cubicBezTo>
                <a:close/>
                <a:moveTo>
                  <a:pt x="8449023" y="1002044"/>
                </a:moveTo>
                <a:cubicBezTo>
                  <a:pt x="8484737" y="1002044"/>
                  <a:pt x="8513689" y="1030995"/>
                  <a:pt x="8513689" y="1066709"/>
                </a:cubicBezTo>
                <a:cubicBezTo>
                  <a:pt x="8513689" y="1102424"/>
                  <a:pt x="8484737" y="1131375"/>
                  <a:pt x="8449023" y="1131375"/>
                </a:cubicBezTo>
                <a:cubicBezTo>
                  <a:pt x="8413309" y="1131375"/>
                  <a:pt x="8384357" y="1102424"/>
                  <a:pt x="8384357" y="1066709"/>
                </a:cubicBezTo>
                <a:cubicBezTo>
                  <a:pt x="8384357" y="1030995"/>
                  <a:pt x="8413309" y="1002044"/>
                  <a:pt x="8449023" y="1002044"/>
                </a:cubicBezTo>
                <a:close/>
                <a:moveTo>
                  <a:pt x="8296367" y="1002044"/>
                </a:moveTo>
                <a:cubicBezTo>
                  <a:pt x="8332081" y="1002044"/>
                  <a:pt x="8361033" y="1030995"/>
                  <a:pt x="8361033" y="1066709"/>
                </a:cubicBezTo>
                <a:cubicBezTo>
                  <a:pt x="8361033" y="1102424"/>
                  <a:pt x="8332081" y="1131375"/>
                  <a:pt x="8296367" y="1131375"/>
                </a:cubicBezTo>
                <a:cubicBezTo>
                  <a:pt x="8260653" y="1131375"/>
                  <a:pt x="8231701" y="1102424"/>
                  <a:pt x="8231701" y="1066709"/>
                </a:cubicBezTo>
                <a:cubicBezTo>
                  <a:pt x="8231701" y="1030995"/>
                  <a:pt x="8260653" y="1002044"/>
                  <a:pt x="8296367" y="1002044"/>
                </a:cubicBezTo>
                <a:close/>
                <a:moveTo>
                  <a:pt x="8139792" y="1002044"/>
                </a:moveTo>
                <a:cubicBezTo>
                  <a:pt x="8175506" y="1002044"/>
                  <a:pt x="8204458" y="1030995"/>
                  <a:pt x="8204458" y="1066709"/>
                </a:cubicBezTo>
                <a:cubicBezTo>
                  <a:pt x="8204458" y="1102424"/>
                  <a:pt x="8175506" y="1131375"/>
                  <a:pt x="8139792" y="1131375"/>
                </a:cubicBezTo>
                <a:cubicBezTo>
                  <a:pt x="8104078" y="1131375"/>
                  <a:pt x="8075126" y="1102424"/>
                  <a:pt x="8075126" y="1066709"/>
                </a:cubicBezTo>
                <a:cubicBezTo>
                  <a:pt x="8075126" y="1030995"/>
                  <a:pt x="8104078" y="1002044"/>
                  <a:pt x="8139792" y="1002044"/>
                </a:cubicBezTo>
                <a:close/>
                <a:moveTo>
                  <a:pt x="7987132" y="1002044"/>
                </a:moveTo>
                <a:cubicBezTo>
                  <a:pt x="8022846" y="1002044"/>
                  <a:pt x="8051798" y="1030995"/>
                  <a:pt x="8051798" y="1066709"/>
                </a:cubicBezTo>
                <a:cubicBezTo>
                  <a:pt x="8051798" y="1102424"/>
                  <a:pt x="8022846" y="1131375"/>
                  <a:pt x="7987132" y="1131375"/>
                </a:cubicBezTo>
                <a:cubicBezTo>
                  <a:pt x="7951418" y="1131375"/>
                  <a:pt x="7922466" y="1102424"/>
                  <a:pt x="7922466" y="1066709"/>
                </a:cubicBezTo>
                <a:cubicBezTo>
                  <a:pt x="7922466" y="1030995"/>
                  <a:pt x="7951418" y="1002044"/>
                  <a:pt x="7987132" y="1002044"/>
                </a:cubicBezTo>
                <a:close/>
                <a:moveTo>
                  <a:pt x="7830560" y="1002044"/>
                </a:moveTo>
                <a:cubicBezTo>
                  <a:pt x="7866274" y="1002044"/>
                  <a:pt x="7895226" y="1030995"/>
                  <a:pt x="7895226" y="1066709"/>
                </a:cubicBezTo>
                <a:cubicBezTo>
                  <a:pt x="7895226" y="1102424"/>
                  <a:pt x="7866274" y="1131375"/>
                  <a:pt x="7830560" y="1131375"/>
                </a:cubicBezTo>
                <a:cubicBezTo>
                  <a:pt x="7794846" y="1131375"/>
                  <a:pt x="7765894" y="1102424"/>
                  <a:pt x="7765894" y="1066709"/>
                </a:cubicBezTo>
                <a:cubicBezTo>
                  <a:pt x="7765894" y="1030995"/>
                  <a:pt x="7794846" y="1002044"/>
                  <a:pt x="7830560" y="1002044"/>
                </a:cubicBezTo>
                <a:close/>
                <a:moveTo>
                  <a:pt x="7677902" y="1002044"/>
                </a:moveTo>
                <a:cubicBezTo>
                  <a:pt x="7713616" y="1002044"/>
                  <a:pt x="7742568" y="1030995"/>
                  <a:pt x="7742568" y="1066709"/>
                </a:cubicBezTo>
                <a:cubicBezTo>
                  <a:pt x="7742568" y="1102424"/>
                  <a:pt x="7713616" y="1131375"/>
                  <a:pt x="7677902" y="1131375"/>
                </a:cubicBezTo>
                <a:cubicBezTo>
                  <a:pt x="7642188" y="1131375"/>
                  <a:pt x="7613236" y="1102424"/>
                  <a:pt x="7613236" y="1066709"/>
                </a:cubicBezTo>
                <a:cubicBezTo>
                  <a:pt x="7613236" y="1030995"/>
                  <a:pt x="7642188" y="1002044"/>
                  <a:pt x="7677902" y="1002044"/>
                </a:cubicBezTo>
                <a:close/>
                <a:moveTo>
                  <a:pt x="7521329" y="1002044"/>
                </a:moveTo>
                <a:cubicBezTo>
                  <a:pt x="7557043" y="1002044"/>
                  <a:pt x="7585995" y="1030995"/>
                  <a:pt x="7585995" y="1066709"/>
                </a:cubicBezTo>
                <a:cubicBezTo>
                  <a:pt x="7585995" y="1102424"/>
                  <a:pt x="7557043" y="1131375"/>
                  <a:pt x="7521329" y="1131375"/>
                </a:cubicBezTo>
                <a:cubicBezTo>
                  <a:pt x="7485615" y="1131375"/>
                  <a:pt x="7456663" y="1102424"/>
                  <a:pt x="7456663" y="1066709"/>
                </a:cubicBezTo>
                <a:cubicBezTo>
                  <a:pt x="7456663" y="1030995"/>
                  <a:pt x="7485615" y="1002044"/>
                  <a:pt x="7521329" y="1002044"/>
                </a:cubicBezTo>
                <a:close/>
                <a:moveTo>
                  <a:pt x="7368667" y="1002044"/>
                </a:moveTo>
                <a:cubicBezTo>
                  <a:pt x="7404381" y="1002044"/>
                  <a:pt x="7433333" y="1030995"/>
                  <a:pt x="7433333" y="1066709"/>
                </a:cubicBezTo>
                <a:cubicBezTo>
                  <a:pt x="7433333" y="1102424"/>
                  <a:pt x="7404381" y="1131375"/>
                  <a:pt x="7368667" y="1131375"/>
                </a:cubicBezTo>
                <a:cubicBezTo>
                  <a:pt x="7332953" y="1131375"/>
                  <a:pt x="7304001" y="1102424"/>
                  <a:pt x="7304001" y="1066709"/>
                </a:cubicBezTo>
                <a:cubicBezTo>
                  <a:pt x="7304001" y="1030995"/>
                  <a:pt x="7332953" y="1002044"/>
                  <a:pt x="7368667" y="1002044"/>
                </a:cubicBezTo>
                <a:close/>
                <a:moveTo>
                  <a:pt x="7212094" y="1002044"/>
                </a:moveTo>
                <a:cubicBezTo>
                  <a:pt x="7247808" y="1002044"/>
                  <a:pt x="7276760" y="1030995"/>
                  <a:pt x="7276760" y="1066709"/>
                </a:cubicBezTo>
                <a:cubicBezTo>
                  <a:pt x="7276760" y="1102424"/>
                  <a:pt x="7247808" y="1131375"/>
                  <a:pt x="7212094" y="1131375"/>
                </a:cubicBezTo>
                <a:cubicBezTo>
                  <a:pt x="7176380" y="1131375"/>
                  <a:pt x="7147428" y="1102424"/>
                  <a:pt x="7147428" y="1066709"/>
                </a:cubicBezTo>
                <a:cubicBezTo>
                  <a:pt x="7147428" y="1030995"/>
                  <a:pt x="7176380" y="1002044"/>
                  <a:pt x="7212094" y="1002044"/>
                </a:cubicBezTo>
                <a:close/>
                <a:moveTo>
                  <a:pt x="7055521" y="1002044"/>
                </a:moveTo>
                <a:cubicBezTo>
                  <a:pt x="7091235" y="1002044"/>
                  <a:pt x="7120187" y="1030995"/>
                  <a:pt x="7120187" y="1066709"/>
                </a:cubicBezTo>
                <a:cubicBezTo>
                  <a:pt x="7120187" y="1102424"/>
                  <a:pt x="7091235" y="1131375"/>
                  <a:pt x="7055521" y="1131375"/>
                </a:cubicBezTo>
                <a:cubicBezTo>
                  <a:pt x="7019807" y="1131375"/>
                  <a:pt x="6990855" y="1102424"/>
                  <a:pt x="6990855" y="1066709"/>
                </a:cubicBezTo>
                <a:cubicBezTo>
                  <a:pt x="6990855" y="1030995"/>
                  <a:pt x="7019807" y="1002044"/>
                  <a:pt x="7055521" y="1002044"/>
                </a:cubicBezTo>
                <a:close/>
                <a:moveTo>
                  <a:pt x="6895035" y="1002044"/>
                </a:moveTo>
                <a:cubicBezTo>
                  <a:pt x="6930749" y="1002044"/>
                  <a:pt x="6959701" y="1030995"/>
                  <a:pt x="6959701" y="1066709"/>
                </a:cubicBezTo>
                <a:cubicBezTo>
                  <a:pt x="6959701" y="1102424"/>
                  <a:pt x="6930749" y="1131375"/>
                  <a:pt x="6895035" y="1131375"/>
                </a:cubicBezTo>
                <a:cubicBezTo>
                  <a:pt x="6859321" y="1131375"/>
                  <a:pt x="6830369" y="1102424"/>
                  <a:pt x="6830369" y="1066709"/>
                </a:cubicBezTo>
                <a:cubicBezTo>
                  <a:pt x="6830369" y="1030995"/>
                  <a:pt x="6859321" y="1002044"/>
                  <a:pt x="6895035" y="1002044"/>
                </a:cubicBezTo>
                <a:close/>
                <a:moveTo>
                  <a:pt x="6742375" y="1002044"/>
                </a:moveTo>
                <a:cubicBezTo>
                  <a:pt x="6778089" y="1002044"/>
                  <a:pt x="6807041" y="1030995"/>
                  <a:pt x="6807041" y="1066709"/>
                </a:cubicBezTo>
                <a:cubicBezTo>
                  <a:pt x="6807041" y="1102424"/>
                  <a:pt x="6778089" y="1131375"/>
                  <a:pt x="6742375" y="1131375"/>
                </a:cubicBezTo>
                <a:cubicBezTo>
                  <a:pt x="6706661" y="1131375"/>
                  <a:pt x="6677709" y="1102424"/>
                  <a:pt x="6677709" y="1066709"/>
                </a:cubicBezTo>
                <a:cubicBezTo>
                  <a:pt x="6677709" y="1030995"/>
                  <a:pt x="6706661" y="1002044"/>
                  <a:pt x="6742375" y="1002044"/>
                </a:cubicBezTo>
                <a:close/>
                <a:moveTo>
                  <a:pt x="6585802" y="1002044"/>
                </a:moveTo>
                <a:cubicBezTo>
                  <a:pt x="6621516" y="1002044"/>
                  <a:pt x="6650468" y="1030995"/>
                  <a:pt x="6650468" y="1066709"/>
                </a:cubicBezTo>
                <a:cubicBezTo>
                  <a:pt x="6650468" y="1102424"/>
                  <a:pt x="6621516" y="1131375"/>
                  <a:pt x="6585802" y="1131375"/>
                </a:cubicBezTo>
                <a:cubicBezTo>
                  <a:pt x="6550088" y="1131375"/>
                  <a:pt x="6521136" y="1102424"/>
                  <a:pt x="6521136" y="1066709"/>
                </a:cubicBezTo>
                <a:cubicBezTo>
                  <a:pt x="6521136" y="1030995"/>
                  <a:pt x="6550088" y="1002044"/>
                  <a:pt x="6585802" y="1002044"/>
                </a:cubicBezTo>
                <a:close/>
                <a:moveTo>
                  <a:pt x="6429229" y="1002044"/>
                </a:moveTo>
                <a:cubicBezTo>
                  <a:pt x="6464943" y="1002044"/>
                  <a:pt x="6493895" y="1030995"/>
                  <a:pt x="6493895" y="1066709"/>
                </a:cubicBezTo>
                <a:cubicBezTo>
                  <a:pt x="6493895" y="1102424"/>
                  <a:pt x="6464943" y="1131375"/>
                  <a:pt x="6429229" y="1131375"/>
                </a:cubicBezTo>
                <a:cubicBezTo>
                  <a:pt x="6393515" y="1131375"/>
                  <a:pt x="6364563" y="1102424"/>
                  <a:pt x="6364563" y="1066709"/>
                </a:cubicBezTo>
                <a:cubicBezTo>
                  <a:pt x="6364563" y="1030995"/>
                  <a:pt x="6393515" y="1002044"/>
                  <a:pt x="6429229" y="1002044"/>
                </a:cubicBezTo>
                <a:close/>
                <a:moveTo>
                  <a:pt x="6276569" y="1002044"/>
                </a:moveTo>
                <a:cubicBezTo>
                  <a:pt x="6312283" y="1002044"/>
                  <a:pt x="6341235" y="1030995"/>
                  <a:pt x="6341235" y="1066709"/>
                </a:cubicBezTo>
                <a:cubicBezTo>
                  <a:pt x="6341235" y="1102424"/>
                  <a:pt x="6312283" y="1131375"/>
                  <a:pt x="6276569" y="1131375"/>
                </a:cubicBezTo>
                <a:cubicBezTo>
                  <a:pt x="6240855" y="1131375"/>
                  <a:pt x="6211903" y="1102424"/>
                  <a:pt x="6211903" y="1066709"/>
                </a:cubicBezTo>
                <a:cubicBezTo>
                  <a:pt x="6211903" y="1030995"/>
                  <a:pt x="6240855" y="1002044"/>
                  <a:pt x="6276569" y="1002044"/>
                </a:cubicBezTo>
                <a:close/>
                <a:moveTo>
                  <a:pt x="6119998" y="1002044"/>
                </a:moveTo>
                <a:cubicBezTo>
                  <a:pt x="6155712" y="1002044"/>
                  <a:pt x="6184664" y="1030995"/>
                  <a:pt x="6184664" y="1066709"/>
                </a:cubicBezTo>
                <a:cubicBezTo>
                  <a:pt x="6184664" y="1102424"/>
                  <a:pt x="6155712" y="1131375"/>
                  <a:pt x="6119998" y="1131375"/>
                </a:cubicBezTo>
                <a:cubicBezTo>
                  <a:pt x="6084284" y="1131375"/>
                  <a:pt x="6055332" y="1102424"/>
                  <a:pt x="6055332" y="1066709"/>
                </a:cubicBezTo>
                <a:cubicBezTo>
                  <a:pt x="6055332" y="1030995"/>
                  <a:pt x="6084284" y="1002044"/>
                  <a:pt x="6119998" y="1002044"/>
                </a:cubicBezTo>
                <a:close/>
                <a:moveTo>
                  <a:pt x="5967338" y="1002044"/>
                </a:moveTo>
                <a:cubicBezTo>
                  <a:pt x="6003052" y="1002044"/>
                  <a:pt x="6032004" y="1030995"/>
                  <a:pt x="6032004" y="1066709"/>
                </a:cubicBezTo>
                <a:cubicBezTo>
                  <a:pt x="6032004" y="1102424"/>
                  <a:pt x="6003052" y="1131375"/>
                  <a:pt x="5967338" y="1131375"/>
                </a:cubicBezTo>
                <a:cubicBezTo>
                  <a:pt x="5931624" y="1131375"/>
                  <a:pt x="5902672" y="1102424"/>
                  <a:pt x="5902672" y="1066709"/>
                </a:cubicBezTo>
                <a:cubicBezTo>
                  <a:pt x="5902672" y="1030995"/>
                  <a:pt x="5931624" y="1002044"/>
                  <a:pt x="5967338" y="1002044"/>
                </a:cubicBezTo>
                <a:close/>
                <a:moveTo>
                  <a:pt x="4875265" y="1002044"/>
                </a:moveTo>
                <a:cubicBezTo>
                  <a:pt x="4910983" y="1002044"/>
                  <a:pt x="4939939" y="1030995"/>
                  <a:pt x="4939939" y="1066709"/>
                </a:cubicBezTo>
                <a:cubicBezTo>
                  <a:pt x="4939939" y="1102424"/>
                  <a:pt x="4910983" y="1131375"/>
                  <a:pt x="4875265" y="1131375"/>
                </a:cubicBezTo>
                <a:cubicBezTo>
                  <a:pt x="4839542" y="1131375"/>
                  <a:pt x="4810599" y="1102424"/>
                  <a:pt x="4810599" y="1066709"/>
                </a:cubicBezTo>
                <a:cubicBezTo>
                  <a:pt x="4810599" y="1030995"/>
                  <a:pt x="4839542" y="1002044"/>
                  <a:pt x="4875265" y="1002044"/>
                </a:cubicBezTo>
                <a:close/>
                <a:moveTo>
                  <a:pt x="4256823" y="1002044"/>
                </a:moveTo>
                <a:cubicBezTo>
                  <a:pt x="4292539" y="1002044"/>
                  <a:pt x="4321467" y="1030995"/>
                  <a:pt x="4321467" y="1066709"/>
                </a:cubicBezTo>
                <a:cubicBezTo>
                  <a:pt x="4321467" y="1102424"/>
                  <a:pt x="4292539" y="1131375"/>
                  <a:pt x="4256823" y="1131375"/>
                </a:cubicBezTo>
                <a:cubicBezTo>
                  <a:pt x="4221103" y="1131375"/>
                  <a:pt x="4192125" y="1102424"/>
                  <a:pt x="4192125" y="1066709"/>
                </a:cubicBezTo>
                <a:cubicBezTo>
                  <a:pt x="4192125" y="1030995"/>
                  <a:pt x="4221103" y="1002044"/>
                  <a:pt x="4256823" y="1002044"/>
                </a:cubicBezTo>
                <a:close/>
                <a:moveTo>
                  <a:pt x="4100249" y="1002044"/>
                </a:moveTo>
                <a:cubicBezTo>
                  <a:pt x="4135950" y="1002044"/>
                  <a:pt x="4164920" y="1030995"/>
                  <a:pt x="4164920" y="1066709"/>
                </a:cubicBezTo>
                <a:cubicBezTo>
                  <a:pt x="4164920" y="1102424"/>
                  <a:pt x="4135950" y="1131375"/>
                  <a:pt x="4100249" y="1131375"/>
                </a:cubicBezTo>
                <a:cubicBezTo>
                  <a:pt x="4064526" y="1131375"/>
                  <a:pt x="4035594" y="1102424"/>
                  <a:pt x="4035594" y="1066709"/>
                </a:cubicBezTo>
                <a:cubicBezTo>
                  <a:pt x="4035594" y="1030995"/>
                  <a:pt x="4064526" y="1002044"/>
                  <a:pt x="4100249" y="1002044"/>
                </a:cubicBezTo>
                <a:close/>
                <a:moveTo>
                  <a:pt x="3947573" y="1002044"/>
                </a:moveTo>
                <a:cubicBezTo>
                  <a:pt x="3983297" y="1002044"/>
                  <a:pt x="4012257" y="1030995"/>
                  <a:pt x="4012257" y="1066709"/>
                </a:cubicBezTo>
                <a:cubicBezTo>
                  <a:pt x="4012257" y="1102424"/>
                  <a:pt x="3983297" y="1131375"/>
                  <a:pt x="3947573" y="1131375"/>
                </a:cubicBezTo>
                <a:cubicBezTo>
                  <a:pt x="3911987" y="1131375"/>
                  <a:pt x="3883039" y="1102424"/>
                  <a:pt x="3883039" y="1066709"/>
                </a:cubicBezTo>
                <a:cubicBezTo>
                  <a:pt x="3883039" y="1030995"/>
                  <a:pt x="3911987" y="1002044"/>
                  <a:pt x="3947573" y="1002044"/>
                </a:cubicBezTo>
                <a:close/>
                <a:moveTo>
                  <a:pt x="3321427" y="1002044"/>
                </a:moveTo>
                <a:cubicBezTo>
                  <a:pt x="3357137" y="1002044"/>
                  <a:pt x="3386066" y="1030995"/>
                  <a:pt x="3386066" y="1066709"/>
                </a:cubicBezTo>
                <a:cubicBezTo>
                  <a:pt x="3386066" y="1102424"/>
                  <a:pt x="3357137" y="1131375"/>
                  <a:pt x="3321427" y="1131375"/>
                </a:cubicBezTo>
                <a:cubicBezTo>
                  <a:pt x="3285704" y="1131375"/>
                  <a:pt x="3256763" y="1102424"/>
                  <a:pt x="3256763" y="1066709"/>
                </a:cubicBezTo>
                <a:cubicBezTo>
                  <a:pt x="3256763" y="1030995"/>
                  <a:pt x="3285704" y="1002044"/>
                  <a:pt x="3321427" y="1002044"/>
                </a:cubicBezTo>
                <a:close/>
                <a:moveTo>
                  <a:pt x="3172672" y="1002044"/>
                </a:moveTo>
                <a:cubicBezTo>
                  <a:pt x="3208395" y="1002044"/>
                  <a:pt x="3237345" y="1030995"/>
                  <a:pt x="3237345" y="1066709"/>
                </a:cubicBezTo>
                <a:cubicBezTo>
                  <a:pt x="3237345" y="1102424"/>
                  <a:pt x="3208395" y="1131375"/>
                  <a:pt x="3172672" y="1131375"/>
                </a:cubicBezTo>
                <a:cubicBezTo>
                  <a:pt x="3136946" y="1131375"/>
                  <a:pt x="3107984" y="1102424"/>
                  <a:pt x="3107984" y="1066709"/>
                </a:cubicBezTo>
                <a:cubicBezTo>
                  <a:pt x="3107984" y="1030995"/>
                  <a:pt x="3136946" y="1002044"/>
                  <a:pt x="3172672" y="1002044"/>
                </a:cubicBezTo>
                <a:close/>
                <a:moveTo>
                  <a:pt x="3012149" y="1002044"/>
                </a:moveTo>
                <a:cubicBezTo>
                  <a:pt x="3047859" y="1002044"/>
                  <a:pt x="3076821" y="1030995"/>
                  <a:pt x="3076821" y="1066709"/>
                </a:cubicBezTo>
                <a:cubicBezTo>
                  <a:pt x="3076821" y="1102424"/>
                  <a:pt x="3047859" y="1131375"/>
                  <a:pt x="3012149" y="1131375"/>
                </a:cubicBezTo>
                <a:cubicBezTo>
                  <a:pt x="2976439" y="1131375"/>
                  <a:pt x="2947494" y="1102424"/>
                  <a:pt x="2947494" y="1066709"/>
                </a:cubicBezTo>
                <a:cubicBezTo>
                  <a:pt x="2947494" y="1030995"/>
                  <a:pt x="2976439" y="1002044"/>
                  <a:pt x="3012149" y="1002044"/>
                </a:cubicBezTo>
                <a:close/>
                <a:moveTo>
                  <a:pt x="2699057" y="1002044"/>
                </a:moveTo>
                <a:cubicBezTo>
                  <a:pt x="2734764" y="1002044"/>
                  <a:pt x="2763710" y="1030995"/>
                  <a:pt x="2763710" y="1066709"/>
                </a:cubicBezTo>
                <a:cubicBezTo>
                  <a:pt x="2763710" y="1102424"/>
                  <a:pt x="2734764" y="1131375"/>
                  <a:pt x="2699057" y="1131375"/>
                </a:cubicBezTo>
                <a:cubicBezTo>
                  <a:pt x="2663349" y="1131375"/>
                  <a:pt x="2634401" y="1102424"/>
                  <a:pt x="2634401" y="1066709"/>
                </a:cubicBezTo>
                <a:cubicBezTo>
                  <a:pt x="2634401" y="1030995"/>
                  <a:pt x="2663349" y="1002044"/>
                  <a:pt x="2699057" y="1002044"/>
                </a:cubicBezTo>
                <a:close/>
                <a:moveTo>
                  <a:pt x="2546420" y="1002044"/>
                </a:moveTo>
                <a:cubicBezTo>
                  <a:pt x="2582131" y="1002044"/>
                  <a:pt x="2611080" y="1030995"/>
                  <a:pt x="2611080" y="1066709"/>
                </a:cubicBezTo>
                <a:cubicBezTo>
                  <a:pt x="2611080" y="1102424"/>
                  <a:pt x="2582131" y="1131375"/>
                  <a:pt x="2546420" y="1131375"/>
                </a:cubicBezTo>
                <a:cubicBezTo>
                  <a:pt x="2510700" y="1131375"/>
                  <a:pt x="2481765" y="1102424"/>
                  <a:pt x="2481765" y="1066709"/>
                </a:cubicBezTo>
                <a:cubicBezTo>
                  <a:pt x="2481765" y="1030995"/>
                  <a:pt x="2510700" y="1002044"/>
                  <a:pt x="2546420" y="1002044"/>
                </a:cubicBezTo>
                <a:close/>
                <a:moveTo>
                  <a:pt x="2389845" y="1002044"/>
                </a:moveTo>
                <a:cubicBezTo>
                  <a:pt x="2425581" y="1002044"/>
                  <a:pt x="2454531" y="1030995"/>
                  <a:pt x="2454531" y="1066709"/>
                </a:cubicBezTo>
                <a:cubicBezTo>
                  <a:pt x="2454531" y="1102424"/>
                  <a:pt x="2425581" y="1131375"/>
                  <a:pt x="2389845" y="1131375"/>
                </a:cubicBezTo>
                <a:cubicBezTo>
                  <a:pt x="2354152" y="1131375"/>
                  <a:pt x="2325192" y="1102424"/>
                  <a:pt x="2325192" y="1066709"/>
                </a:cubicBezTo>
                <a:cubicBezTo>
                  <a:pt x="2325192" y="1030995"/>
                  <a:pt x="2354152" y="1002044"/>
                  <a:pt x="2389845" y="1002044"/>
                </a:cubicBezTo>
                <a:close/>
                <a:moveTo>
                  <a:pt x="2237166" y="1002044"/>
                </a:moveTo>
                <a:cubicBezTo>
                  <a:pt x="2272894" y="1002044"/>
                  <a:pt x="2301856" y="1030995"/>
                  <a:pt x="2301856" y="1066709"/>
                </a:cubicBezTo>
                <a:cubicBezTo>
                  <a:pt x="2301856" y="1102424"/>
                  <a:pt x="2272894" y="1131375"/>
                  <a:pt x="2237166" y="1131375"/>
                </a:cubicBezTo>
                <a:cubicBezTo>
                  <a:pt x="2201442" y="1131375"/>
                  <a:pt x="2172482" y="1102424"/>
                  <a:pt x="2172482" y="1066709"/>
                </a:cubicBezTo>
                <a:cubicBezTo>
                  <a:pt x="2172482" y="1030995"/>
                  <a:pt x="2201442" y="1002044"/>
                  <a:pt x="2237166" y="1002044"/>
                </a:cubicBezTo>
                <a:close/>
                <a:moveTo>
                  <a:pt x="2084488" y="1002044"/>
                </a:moveTo>
                <a:cubicBezTo>
                  <a:pt x="2120200" y="1002044"/>
                  <a:pt x="2149149" y="1030995"/>
                  <a:pt x="2149149" y="1066709"/>
                </a:cubicBezTo>
                <a:cubicBezTo>
                  <a:pt x="2149149" y="1102424"/>
                  <a:pt x="2120200" y="1131375"/>
                  <a:pt x="2084488" y="1131375"/>
                </a:cubicBezTo>
                <a:cubicBezTo>
                  <a:pt x="2048757" y="1131375"/>
                  <a:pt x="2019843" y="1102424"/>
                  <a:pt x="2019843" y="1066709"/>
                </a:cubicBezTo>
                <a:cubicBezTo>
                  <a:pt x="2019843" y="1030995"/>
                  <a:pt x="2048757" y="1002044"/>
                  <a:pt x="2084488" y="1002044"/>
                </a:cubicBezTo>
                <a:close/>
                <a:moveTo>
                  <a:pt x="1927899" y="1002044"/>
                </a:moveTo>
                <a:cubicBezTo>
                  <a:pt x="1963608" y="1002044"/>
                  <a:pt x="1992589" y="1030995"/>
                  <a:pt x="1992589" y="1066709"/>
                </a:cubicBezTo>
                <a:cubicBezTo>
                  <a:pt x="1992589" y="1102424"/>
                  <a:pt x="1963608" y="1131375"/>
                  <a:pt x="1927899" y="1131375"/>
                </a:cubicBezTo>
                <a:cubicBezTo>
                  <a:pt x="1892221" y="1131375"/>
                  <a:pt x="1863266" y="1102424"/>
                  <a:pt x="1863266" y="1066709"/>
                </a:cubicBezTo>
                <a:cubicBezTo>
                  <a:pt x="1863266" y="1030995"/>
                  <a:pt x="1892221" y="1002044"/>
                  <a:pt x="1927899" y="1002044"/>
                </a:cubicBezTo>
                <a:close/>
                <a:moveTo>
                  <a:pt x="1775247" y="1002044"/>
                </a:moveTo>
                <a:cubicBezTo>
                  <a:pt x="1810950" y="1002044"/>
                  <a:pt x="1839934" y="1030995"/>
                  <a:pt x="1839934" y="1066709"/>
                </a:cubicBezTo>
                <a:cubicBezTo>
                  <a:pt x="1839934" y="1102424"/>
                  <a:pt x="1810950" y="1131375"/>
                  <a:pt x="1775247" y="1131375"/>
                </a:cubicBezTo>
                <a:cubicBezTo>
                  <a:pt x="1739525" y="1131375"/>
                  <a:pt x="1710575" y="1102424"/>
                  <a:pt x="1710575" y="1066709"/>
                </a:cubicBezTo>
                <a:cubicBezTo>
                  <a:pt x="1710575" y="1030995"/>
                  <a:pt x="1739525" y="1002044"/>
                  <a:pt x="1775247" y="1002044"/>
                </a:cubicBezTo>
                <a:close/>
                <a:moveTo>
                  <a:pt x="1618661" y="1002044"/>
                </a:moveTo>
                <a:cubicBezTo>
                  <a:pt x="1654383" y="1002044"/>
                  <a:pt x="1683332" y="1030995"/>
                  <a:pt x="1683332" y="1066709"/>
                </a:cubicBezTo>
                <a:cubicBezTo>
                  <a:pt x="1683332" y="1102424"/>
                  <a:pt x="1654383" y="1131375"/>
                  <a:pt x="1618661" y="1131375"/>
                </a:cubicBezTo>
                <a:cubicBezTo>
                  <a:pt x="1582951" y="1131375"/>
                  <a:pt x="1554000" y="1102424"/>
                  <a:pt x="1554000" y="1066709"/>
                </a:cubicBezTo>
                <a:cubicBezTo>
                  <a:pt x="1554000" y="1030995"/>
                  <a:pt x="1582951" y="1002044"/>
                  <a:pt x="1618661" y="1002044"/>
                </a:cubicBezTo>
                <a:close/>
                <a:moveTo>
                  <a:pt x="1466007" y="1002044"/>
                </a:moveTo>
                <a:cubicBezTo>
                  <a:pt x="1501719" y="1002044"/>
                  <a:pt x="1530672" y="1030995"/>
                  <a:pt x="1530672" y="1066709"/>
                </a:cubicBezTo>
                <a:cubicBezTo>
                  <a:pt x="1530672" y="1102424"/>
                  <a:pt x="1501719" y="1131375"/>
                  <a:pt x="1466007" y="1131375"/>
                </a:cubicBezTo>
                <a:cubicBezTo>
                  <a:pt x="1430293" y="1131375"/>
                  <a:pt x="1401343" y="1102424"/>
                  <a:pt x="1401343" y="1066709"/>
                </a:cubicBezTo>
                <a:cubicBezTo>
                  <a:pt x="1401343" y="1030995"/>
                  <a:pt x="1430293" y="1002044"/>
                  <a:pt x="1466007" y="1002044"/>
                </a:cubicBezTo>
                <a:close/>
                <a:moveTo>
                  <a:pt x="1309433" y="1002044"/>
                </a:moveTo>
                <a:cubicBezTo>
                  <a:pt x="1345147" y="1002044"/>
                  <a:pt x="1374099" y="1030995"/>
                  <a:pt x="1374099" y="1066709"/>
                </a:cubicBezTo>
                <a:cubicBezTo>
                  <a:pt x="1374099" y="1102424"/>
                  <a:pt x="1345147" y="1131375"/>
                  <a:pt x="1309433" y="1131375"/>
                </a:cubicBezTo>
                <a:cubicBezTo>
                  <a:pt x="1273720" y="1131375"/>
                  <a:pt x="1244768" y="1102424"/>
                  <a:pt x="1244768" y="1066709"/>
                </a:cubicBezTo>
                <a:cubicBezTo>
                  <a:pt x="1244768" y="1030995"/>
                  <a:pt x="1273720" y="1002044"/>
                  <a:pt x="1309433" y="1002044"/>
                </a:cubicBezTo>
                <a:close/>
                <a:moveTo>
                  <a:pt x="1148949" y="1002044"/>
                </a:moveTo>
                <a:cubicBezTo>
                  <a:pt x="1184663" y="1002044"/>
                  <a:pt x="1213614" y="1030995"/>
                  <a:pt x="1213614" y="1066709"/>
                </a:cubicBezTo>
                <a:cubicBezTo>
                  <a:pt x="1213614" y="1102424"/>
                  <a:pt x="1184663" y="1131375"/>
                  <a:pt x="1148949" y="1131375"/>
                </a:cubicBezTo>
                <a:cubicBezTo>
                  <a:pt x="1113236" y="1131375"/>
                  <a:pt x="1084284" y="1102424"/>
                  <a:pt x="1084284" y="1066709"/>
                </a:cubicBezTo>
                <a:cubicBezTo>
                  <a:pt x="1084284" y="1030995"/>
                  <a:pt x="1113236" y="1002044"/>
                  <a:pt x="1148949" y="1002044"/>
                </a:cubicBezTo>
                <a:close/>
                <a:moveTo>
                  <a:pt x="992376" y="1002044"/>
                </a:moveTo>
                <a:cubicBezTo>
                  <a:pt x="1028090" y="1002044"/>
                  <a:pt x="1057041" y="1030995"/>
                  <a:pt x="1057041" y="1066709"/>
                </a:cubicBezTo>
                <a:cubicBezTo>
                  <a:pt x="1057041" y="1102424"/>
                  <a:pt x="1028090" y="1131375"/>
                  <a:pt x="992376" y="1131375"/>
                </a:cubicBezTo>
                <a:cubicBezTo>
                  <a:pt x="956663" y="1131375"/>
                  <a:pt x="927711" y="1102424"/>
                  <a:pt x="927711" y="1066709"/>
                </a:cubicBezTo>
                <a:cubicBezTo>
                  <a:pt x="927711" y="1030995"/>
                  <a:pt x="956663" y="1002044"/>
                  <a:pt x="992376" y="1002044"/>
                </a:cubicBezTo>
                <a:close/>
                <a:moveTo>
                  <a:pt x="839721" y="1002044"/>
                </a:moveTo>
                <a:cubicBezTo>
                  <a:pt x="875434" y="1002044"/>
                  <a:pt x="904386" y="1030995"/>
                  <a:pt x="904386" y="1066709"/>
                </a:cubicBezTo>
                <a:cubicBezTo>
                  <a:pt x="904386" y="1102424"/>
                  <a:pt x="875434" y="1131375"/>
                  <a:pt x="839721" y="1131375"/>
                </a:cubicBezTo>
                <a:cubicBezTo>
                  <a:pt x="804007" y="1131375"/>
                  <a:pt x="775056" y="1102424"/>
                  <a:pt x="775056" y="1066709"/>
                </a:cubicBezTo>
                <a:cubicBezTo>
                  <a:pt x="775056" y="1030995"/>
                  <a:pt x="804007" y="1002044"/>
                  <a:pt x="839721" y="1002044"/>
                </a:cubicBezTo>
                <a:close/>
                <a:moveTo>
                  <a:pt x="683148" y="1002044"/>
                </a:moveTo>
                <a:cubicBezTo>
                  <a:pt x="718862" y="1002044"/>
                  <a:pt x="747813" y="1030995"/>
                  <a:pt x="747813" y="1066709"/>
                </a:cubicBezTo>
                <a:cubicBezTo>
                  <a:pt x="747813" y="1102424"/>
                  <a:pt x="718862" y="1131375"/>
                  <a:pt x="683148" y="1131375"/>
                </a:cubicBezTo>
                <a:cubicBezTo>
                  <a:pt x="647435" y="1131375"/>
                  <a:pt x="618483" y="1102424"/>
                  <a:pt x="618483" y="1066709"/>
                </a:cubicBezTo>
                <a:cubicBezTo>
                  <a:pt x="618483" y="1030995"/>
                  <a:pt x="647435" y="1002044"/>
                  <a:pt x="683148" y="1002044"/>
                </a:cubicBezTo>
                <a:close/>
                <a:moveTo>
                  <a:pt x="11560917" y="1002040"/>
                </a:moveTo>
                <a:cubicBezTo>
                  <a:pt x="11596631" y="1002040"/>
                  <a:pt x="11625583" y="1030994"/>
                  <a:pt x="11625583" y="1066706"/>
                </a:cubicBezTo>
                <a:cubicBezTo>
                  <a:pt x="11625583" y="1102421"/>
                  <a:pt x="11596631" y="1131374"/>
                  <a:pt x="11560917" y="1131374"/>
                </a:cubicBezTo>
                <a:cubicBezTo>
                  <a:pt x="11525203" y="1131374"/>
                  <a:pt x="11496251" y="1102421"/>
                  <a:pt x="11496251" y="1066706"/>
                </a:cubicBezTo>
                <a:cubicBezTo>
                  <a:pt x="11496251" y="1030994"/>
                  <a:pt x="11525203" y="1002040"/>
                  <a:pt x="11560917" y="1002040"/>
                </a:cubicBezTo>
                <a:close/>
                <a:moveTo>
                  <a:pt x="11404343" y="1002040"/>
                </a:moveTo>
                <a:cubicBezTo>
                  <a:pt x="11440057" y="1002040"/>
                  <a:pt x="11469009" y="1030994"/>
                  <a:pt x="11469009" y="1066706"/>
                </a:cubicBezTo>
                <a:cubicBezTo>
                  <a:pt x="11469009" y="1102421"/>
                  <a:pt x="11440057" y="1131374"/>
                  <a:pt x="11404343" y="1131374"/>
                </a:cubicBezTo>
                <a:cubicBezTo>
                  <a:pt x="11368629" y="1131374"/>
                  <a:pt x="11339677" y="1102421"/>
                  <a:pt x="11339677" y="1066706"/>
                </a:cubicBezTo>
                <a:cubicBezTo>
                  <a:pt x="11339677" y="1030994"/>
                  <a:pt x="11368629" y="1002040"/>
                  <a:pt x="11404343" y="1002040"/>
                </a:cubicBezTo>
                <a:close/>
                <a:moveTo>
                  <a:pt x="11251683" y="1002040"/>
                </a:moveTo>
                <a:cubicBezTo>
                  <a:pt x="11287397" y="1002040"/>
                  <a:pt x="11316349" y="1030994"/>
                  <a:pt x="11316349" y="1066706"/>
                </a:cubicBezTo>
                <a:cubicBezTo>
                  <a:pt x="11316349" y="1102421"/>
                  <a:pt x="11287397" y="1131374"/>
                  <a:pt x="11251683" y="1131374"/>
                </a:cubicBezTo>
                <a:cubicBezTo>
                  <a:pt x="11215969" y="1131374"/>
                  <a:pt x="11187017" y="1102421"/>
                  <a:pt x="11187017" y="1066706"/>
                </a:cubicBezTo>
                <a:cubicBezTo>
                  <a:pt x="11187017" y="1030994"/>
                  <a:pt x="11215969" y="1002040"/>
                  <a:pt x="11251683" y="1002040"/>
                </a:cubicBezTo>
                <a:close/>
                <a:moveTo>
                  <a:pt x="526568" y="1002040"/>
                </a:moveTo>
                <a:cubicBezTo>
                  <a:pt x="562282" y="1002040"/>
                  <a:pt x="591233" y="1030994"/>
                  <a:pt x="591233" y="1066706"/>
                </a:cubicBezTo>
                <a:cubicBezTo>
                  <a:pt x="591233" y="1102421"/>
                  <a:pt x="562282" y="1131374"/>
                  <a:pt x="526568" y="1131374"/>
                </a:cubicBezTo>
                <a:cubicBezTo>
                  <a:pt x="490855" y="1131374"/>
                  <a:pt x="461903" y="1102421"/>
                  <a:pt x="461903" y="1066706"/>
                </a:cubicBezTo>
                <a:cubicBezTo>
                  <a:pt x="461903" y="1030994"/>
                  <a:pt x="490855" y="1002040"/>
                  <a:pt x="526568" y="1002040"/>
                </a:cubicBezTo>
                <a:close/>
                <a:moveTo>
                  <a:pt x="373912" y="1002040"/>
                </a:moveTo>
                <a:cubicBezTo>
                  <a:pt x="409626" y="1002040"/>
                  <a:pt x="438577" y="1030994"/>
                  <a:pt x="438577" y="1066706"/>
                </a:cubicBezTo>
                <a:cubicBezTo>
                  <a:pt x="438577" y="1102421"/>
                  <a:pt x="409626" y="1131374"/>
                  <a:pt x="373912" y="1131374"/>
                </a:cubicBezTo>
                <a:cubicBezTo>
                  <a:pt x="338199" y="1131374"/>
                  <a:pt x="309247" y="1102421"/>
                  <a:pt x="309247" y="1066706"/>
                </a:cubicBezTo>
                <a:cubicBezTo>
                  <a:pt x="309247" y="1030994"/>
                  <a:pt x="338199" y="1002040"/>
                  <a:pt x="373912" y="1002040"/>
                </a:cubicBezTo>
                <a:close/>
                <a:moveTo>
                  <a:pt x="217342" y="1002040"/>
                </a:moveTo>
                <a:cubicBezTo>
                  <a:pt x="253055" y="1002040"/>
                  <a:pt x="282007" y="1030994"/>
                  <a:pt x="282007" y="1066706"/>
                </a:cubicBezTo>
                <a:cubicBezTo>
                  <a:pt x="282007" y="1102421"/>
                  <a:pt x="253055" y="1131374"/>
                  <a:pt x="217342" y="1131374"/>
                </a:cubicBezTo>
                <a:cubicBezTo>
                  <a:pt x="181628" y="1131374"/>
                  <a:pt x="152676" y="1102421"/>
                  <a:pt x="152676" y="1066706"/>
                </a:cubicBezTo>
                <a:cubicBezTo>
                  <a:pt x="152676" y="1030994"/>
                  <a:pt x="181628" y="1002040"/>
                  <a:pt x="217342" y="1002040"/>
                </a:cubicBezTo>
                <a:close/>
                <a:moveTo>
                  <a:pt x="992384" y="849416"/>
                </a:moveTo>
                <a:cubicBezTo>
                  <a:pt x="1028098" y="849416"/>
                  <a:pt x="1057050" y="878368"/>
                  <a:pt x="1057050" y="914081"/>
                </a:cubicBezTo>
                <a:cubicBezTo>
                  <a:pt x="1057050" y="949766"/>
                  <a:pt x="1028098" y="978717"/>
                  <a:pt x="992384" y="978717"/>
                </a:cubicBezTo>
                <a:cubicBezTo>
                  <a:pt x="956671" y="978717"/>
                  <a:pt x="927719" y="949766"/>
                  <a:pt x="927719" y="914081"/>
                </a:cubicBezTo>
                <a:cubicBezTo>
                  <a:pt x="927719" y="878368"/>
                  <a:pt x="956671" y="849416"/>
                  <a:pt x="992384" y="849416"/>
                </a:cubicBezTo>
                <a:close/>
                <a:moveTo>
                  <a:pt x="839729" y="849416"/>
                </a:moveTo>
                <a:cubicBezTo>
                  <a:pt x="875442" y="849416"/>
                  <a:pt x="904394" y="878368"/>
                  <a:pt x="904394" y="914081"/>
                </a:cubicBezTo>
                <a:cubicBezTo>
                  <a:pt x="904394" y="949766"/>
                  <a:pt x="875442" y="978717"/>
                  <a:pt x="839729" y="978717"/>
                </a:cubicBezTo>
                <a:cubicBezTo>
                  <a:pt x="804016" y="978717"/>
                  <a:pt x="775064" y="949766"/>
                  <a:pt x="775064" y="914081"/>
                </a:cubicBezTo>
                <a:cubicBezTo>
                  <a:pt x="775064" y="878368"/>
                  <a:pt x="804016" y="849416"/>
                  <a:pt x="839729" y="849416"/>
                </a:cubicBezTo>
                <a:close/>
                <a:moveTo>
                  <a:pt x="683158" y="849416"/>
                </a:moveTo>
                <a:cubicBezTo>
                  <a:pt x="718872" y="849416"/>
                  <a:pt x="747824" y="878368"/>
                  <a:pt x="747824" y="914081"/>
                </a:cubicBezTo>
                <a:cubicBezTo>
                  <a:pt x="747824" y="949766"/>
                  <a:pt x="718872" y="978717"/>
                  <a:pt x="683158" y="978717"/>
                </a:cubicBezTo>
                <a:cubicBezTo>
                  <a:pt x="647445" y="978717"/>
                  <a:pt x="618493" y="949766"/>
                  <a:pt x="618493" y="914081"/>
                </a:cubicBezTo>
                <a:cubicBezTo>
                  <a:pt x="618493" y="878368"/>
                  <a:pt x="647445" y="849416"/>
                  <a:pt x="683158" y="849416"/>
                </a:cubicBezTo>
                <a:close/>
                <a:moveTo>
                  <a:pt x="7677904" y="849415"/>
                </a:moveTo>
                <a:cubicBezTo>
                  <a:pt x="7713618" y="849415"/>
                  <a:pt x="7742570" y="878366"/>
                  <a:pt x="7742570" y="914080"/>
                </a:cubicBezTo>
                <a:cubicBezTo>
                  <a:pt x="7742570" y="949766"/>
                  <a:pt x="7713618" y="978717"/>
                  <a:pt x="7677904" y="978717"/>
                </a:cubicBezTo>
                <a:cubicBezTo>
                  <a:pt x="7642190" y="978717"/>
                  <a:pt x="7613238" y="949766"/>
                  <a:pt x="7613238" y="914080"/>
                </a:cubicBezTo>
                <a:cubicBezTo>
                  <a:pt x="7613238" y="878366"/>
                  <a:pt x="7642190" y="849415"/>
                  <a:pt x="7677904" y="849415"/>
                </a:cubicBezTo>
                <a:close/>
                <a:moveTo>
                  <a:pt x="7521331" y="849415"/>
                </a:moveTo>
                <a:cubicBezTo>
                  <a:pt x="7557045" y="849415"/>
                  <a:pt x="7585997" y="878366"/>
                  <a:pt x="7585997" y="914080"/>
                </a:cubicBezTo>
                <a:cubicBezTo>
                  <a:pt x="7585997" y="949766"/>
                  <a:pt x="7557045" y="978717"/>
                  <a:pt x="7521331" y="978717"/>
                </a:cubicBezTo>
                <a:cubicBezTo>
                  <a:pt x="7485617" y="978717"/>
                  <a:pt x="7456665" y="949766"/>
                  <a:pt x="7456665" y="914080"/>
                </a:cubicBezTo>
                <a:cubicBezTo>
                  <a:pt x="7456665" y="878366"/>
                  <a:pt x="7485617" y="849415"/>
                  <a:pt x="7521331" y="849415"/>
                </a:cubicBezTo>
                <a:close/>
                <a:moveTo>
                  <a:pt x="7368669" y="849415"/>
                </a:moveTo>
                <a:cubicBezTo>
                  <a:pt x="7404383" y="849415"/>
                  <a:pt x="7433335" y="878366"/>
                  <a:pt x="7433335" y="914080"/>
                </a:cubicBezTo>
                <a:cubicBezTo>
                  <a:pt x="7433335" y="949766"/>
                  <a:pt x="7404383" y="978717"/>
                  <a:pt x="7368669" y="978717"/>
                </a:cubicBezTo>
                <a:cubicBezTo>
                  <a:pt x="7332955" y="978717"/>
                  <a:pt x="7304003" y="949766"/>
                  <a:pt x="7304003" y="914080"/>
                </a:cubicBezTo>
                <a:cubicBezTo>
                  <a:pt x="7304003" y="878366"/>
                  <a:pt x="7332955" y="849415"/>
                  <a:pt x="7368669" y="849415"/>
                </a:cubicBezTo>
                <a:close/>
                <a:moveTo>
                  <a:pt x="7212096" y="849415"/>
                </a:moveTo>
                <a:cubicBezTo>
                  <a:pt x="7247810" y="849415"/>
                  <a:pt x="7276762" y="878366"/>
                  <a:pt x="7276762" y="914080"/>
                </a:cubicBezTo>
                <a:cubicBezTo>
                  <a:pt x="7276762" y="949766"/>
                  <a:pt x="7247810" y="978717"/>
                  <a:pt x="7212096" y="978717"/>
                </a:cubicBezTo>
                <a:cubicBezTo>
                  <a:pt x="7176382" y="978717"/>
                  <a:pt x="7147430" y="949766"/>
                  <a:pt x="7147430" y="914080"/>
                </a:cubicBezTo>
                <a:cubicBezTo>
                  <a:pt x="7147430" y="878366"/>
                  <a:pt x="7176382" y="849415"/>
                  <a:pt x="7212096" y="849415"/>
                </a:cubicBezTo>
                <a:close/>
                <a:moveTo>
                  <a:pt x="6585804" y="849415"/>
                </a:moveTo>
                <a:cubicBezTo>
                  <a:pt x="6621518" y="849415"/>
                  <a:pt x="6650470" y="878366"/>
                  <a:pt x="6650470" y="914080"/>
                </a:cubicBezTo>
                <a:cubicBezTo>
                  <a:pt x="6650470" y="949766"/>
                  <a:pt x="6621518" y="978717"/>
                  <a:pt x="6585804" y="978717"/>
                </a:cubicBezTo>
                <a:cubicBezTo>
                  <a:pt x="6550090" y="978717"/>
                  <a:pt x="6521138" y="949766"/>
                  <a:pt x="6521138" y="914080"/>
                </a:cubicBezTo>
                <a:cubicBezTo>
                  <a:pt x="6521138" y="878366"/>
                  <a:pt x="6550090" y="849415"/>
                  <a:pt x="6585804" y="849415"/>
                </a:cubicBezTo>
                <a:close/>
                <a:moveTo>
                  <a:pt x="6429229" y="849415"/>
                </a:moveTo>
                <a:cubicBezTo>
                  <a:pt x="6464943" y="849415"/>
                  <a:pt x="6493895" y="878366"/>
                  <a:pt x="6493895" y="914080"/>
                </a:cubicBezTo>
                <a:cubicBezTo>
                  <a:pt x="6493895" y="949766"/>
                  <a:pt x="6464943" y="978717"/>
                  <a:pt x="6429229" y="978717"/>
                </a:cubicBezTo>
                <a:cubicBezTo>
                  <a:pt x="6393515" y="978717"/>
                  <a:pt x="6364563" y="949766"/>
                  <a:pt x="6364563" y="914080"/>
                </a:cubicBezTo>
                <a:cubicBezTo>
                  <a:pt x="6364563" y="878366"/>
                  <a:pt x="6393515" y="849415"/>
                  <a:pt x="6429229" y="849415"/>
                </a:cubicBezTo>
                <a:close/>
                <a:moveTo>
                  <a:pt x="6276571" y="849415"/>
                </a:moveTo>
                <a:cubicBezTo>
                  <a:pt x="6312285" y="849415"/>
                  <a:pt x="6341237" y="878366"/>
                  <a:pt x="6341237" y="914080"/>
                </a:cubicBezTo>
                <a:cubicBezTo>
                  <a:pt x="6341237" y="949766"/>
                  <a:pt x="6312285" y="978717"/>
                  <a:pt x="6276571" y="978717"/>
                </a:cubicBezTo>
                <a:cubicBezTo>
                  <a:pt x="6240857" y="978717"/>
                  <a:pt x="6211905" y="949766"/>
                  <a:pt x="6211905" y="914080"/>
                </a:cubicBezTo>
                <a:cubicBezTo>
                  <a:pt x="6211905" y="878366"/>
                  <a:pt x="6240857" y="849415"/>
                  <a:pt x="6276571" y="849415"/>
                </a:cubicBezTo>
                <a:close/>
                <a:moveTo>
                  <a:pt x="6119999" y="849415"/>
                </a:moveTo>
                <a:cubicBezTo>
                  <a:pt x="6155713" y="849415"/>
                  <a:pt x="6184665" y="878366"/>
                  <a:pt x="6184665" y="914080"/>
                </a:cubicBezTo>
                <a:cubicBezTo>
                  <a:pt x="6184665" y="949766"/>
                  <a:pt x="6155713" y="978717"/>
                  <a:pt x="6119999" y="978717"/>
                </a:cubicBezTo>
                <a:cubicBezTo>
                  <a:pt x="6084285" y="978717"/>
                  <a:pt x="6055333" y="949766"/>
                  <a:pt x="6055333" y="914080"/>
                </a:cubicBezTo>
                <a:cubicBezTo>
                  <a:pt x="6055333" y="878366"/>
                  <a:pt x="6084285" y="849415"/>
                  <a:pt x="6119999" y="849415"/>
                </a:cubicBezTo>
                <a:close/>
                <a:moveTo>
                  <a:pt x="5967339" y="849415"/>
                </a:moveTo>
                <a:cubicBezTo>
                  <a:pt x="6003053" y="849415"/>
                  <a:pt x="6032005" y="878366"/>
                  <a:pt x="6032005" y="914080"/>
                </a:cubicBezTo>
                <a:cubicBezTo>
                  <a:pt x="6032005" y="949766"/>
                  <a:pt x="6003053" y="978717"/>
                  <a:pt x="5967339" y="978717"/>
                </a:cubicBezTo>
                <a:cubicBezTo>
                  <a:pt x="5931625" y="978717"/>
                  <a:pt x="5902673" y="949766"/>
                  <a:pt x="5902673" y="914080"/>
                </a:cubicBezTo>
                <a:cubicBezTo>
                  <a:pt x="5902673" y="878366"/>
                  <a:pt x="5931625" y="849415"/>
                  <a:pt x="5967339" y="849415"/>
                </a:cubicBezTo>
                <a:close/>
                <a:moveTo>
                  <a:pt x="4566030" y="849415"/>
                </a:moveTo>
                <a:cubicBezTo>
                  <a:pt x="4601751" y="849415"/>
                  <a:pt x="4630712" y="878366"/>
                  <a:pt x="4630712" y="914081"/>
                </a:cubicBezTo>
                <a:cubicBezTo>
                  <a:pt x="4630712" y="949766"/>
                  <a:pt x="4601751" y="978717"/>
                  <a:pt x="4566030" y="978717"/>
                </a:cubicBezTo>
                <a:cubicBezTo>
                  <a:pt x="4530304" y="978717"/>
                  <a:pt x="4501345" y="949766"/>
                  <a:pt x="4501345" y="914081"/>
                </a:cubicBezTo>
                <a:cubicBezTo>
                  <a:pt x="4501345" y="878366"/>
                  <a:pt x="4530304" y="849415"/>
                  <a:pt x="4566030" y="849415"/>
                </a:cubicBezTo>
                <a:close/>
                <a:moveTo>
                  <a:pt x="4409471" y="849415"/>
                </a:moveTo>
                <a:cubicBezTo>
                  <a:pt x="4445169" y="849415"/>
                  <a:pt x="4474113" y="878366"/>
                  <a:pt x="4474113" y="914081"/>
                </a:cubicBezTo>
                <a:cubicBezTo>
                  <a:pt x="4474113" y="949766"/>
                  <a:pt x="4445169" y="978717"/>
                  <a:pt x="4409471" y="978717"/>
                </a:cubicBezTo>
                <a:cubicBezTo>
                  <a:pt x="4373772" y="978717"/>
                  <a:pt x="4344809" y="949766"/>
                  <a:pt x="4344809" y="914081"/>
                </a:cubicBezTo>
                <a:cubicBezTo>
                  <a:pt x="4344809" y="878366"/>
                  <a:pt x="4373772" y="849415"/>
                  <a:pt x="4409471" y="849415"/>
                </a:cubicBezTo>
                <a:close/>
                <a:moveTo>
                  <a:pt x="4256823" y="849415"/>
                </a:moveTo>
                <a:cubicBezTo>
                  <a:pt x="4292543" y="849415"/>
                  <a:pt x="4321471" y="878366"/>
                  <a:pt x="4321471" y="914081"/>
                </a:cubicBezTo>
                <a:cubicBezTo>
                  <a:pt x="4321471" y="949766"/>
                  <a:pt x="4292543" y="978717"/>
                  <a:pt x="4256823" y="978717"/>
                </a:cubicBezTo>
                <a:cubicBezTo>
                  <a:pt x="4221105" y="978717"/>
                  <a:pt x="4192125" y="949766"/>
                  <a:pt x="4192125" y="914081"/>
                </a:cubicBezTo>
                <a:cubicBezTo>
                  <a:pt x="4192125" y="878366"/>
                  <a:pt x="4221105" y="849415"/>
                  <a:pt x="4256823" y="849415"/>
                </a:cubicBezTo>
                <a:close/>
                <a:moveTo>
                  <a:pt x="4100249" y="849415"/>
                </a:moveTo>
                <a:cubicBezTo>
                  <a:pt x="4135950" y="849415"/>
                  <a:pt x="4164920" y="878366"/>
                  <a:pt x="4164920" y="914081"/>
                </a:cubicBezTo>
                <a:cubicBezTo>
                  <a:pt x="4164920" y="949766"/>
                  <a:pt x="4135950" y="978717"/>
                  <a:pt x="4100249" y="978717"/>
                </a:cubicBezTo>
                <a:cubicBezTo>
                  <a:pt x="4064526" y="978717"/>
                  <a:pt x="4035594" y="949766"/>
                  <a:pt x="4035594" y="914081"/>
                </a:cubicBezTo>
                <a:cubicBezTo>
                  <a:pt x="4035594" y="878366"/>
                  <a:pt x="4064526" y="849415"/>
                  <a:pt x="4100249" y="849415"/>
                </a:cubicBezTo>
                <a:close/>
                <a:moveTo>
                  <a:pt x="3947579" y="849415"/>
                </a:moveTo>
                <a:cubicBezTo>
                  <a:pt x="3983297" y="849415"/>
                  <a:pt x="4012257" y="878366"/>
                  <a:pt x="4012257" y="914081"/>
                </a:cubicBezTo>
                <a:cubicBezTo>
                  <a:pt x="4012257" y="949766"/>
                  <a:pt x="3983297" y="978717"/>
                  <a:pt x="3947579" y="978717"/>
                </a:cubicBezTo>
                <a:cubicBezTo>
                  <a:pt x="3911999" y="978717"/>
                  <a:pt x="3883050" y="949766"/>
                  <a:pt x="3883050" y="914081"/>
                </a:cubicBezTo>
                <a:cubicBezTo>
                  <a:pt x="3883050" y="878366"/>
                  <a:pt x="3911999" y="849415"/>
                  <a:pt x="3947579" y="849415"/>
                </a:cubicBezTo>
                <a:close/>
                <a:moveTo>
                  <a:pt x="3321438" y="849415"/>
                </a:moveTo>
                <a:cubicBezTo>
                  <a:pt x="3357150" y="849415"/>
                  <a:pt x="3386080" y="878366"/>
                  <a:pt x="3386080" y="914081"/>
                </a:cubicBezTo>
                <a:cubicBezTo>
                  <a:pt x="3386080" y="949766"/>
                  <a:pt x="3357150" y="978717"/>
                  <a:pt x="3321438" y="978717"/>
                </a:cubicBezTo>
                <a:cubicBezTo>
                  <a:pt x="3285716" y="978717"/>
                  <a:pt x="3256776" y="949766"/>
                  <a:pt x="3256776" y="914081"/>
                </a:cubicBezTo>
                <a:cubicBezTo>
                  <a:pt x="3256776" y="878366"/>
                  <a:pt x="3285716" y="849415"/>
                  <a:pt x="3321438" y="849415"/>
                </a:cubicBezTo>
                <a:close/>
                <a:moveTo>
                  <a:pt x="3172684" y="849415"/>
                </a:moveTo>
                <a:cubicBezTo>
                  <a:pt x="3208407" y="849415"/>
                  <a:pt x="3237355" y="878366"/>
                  <a:pt x="3237355" y="914081"/>
                </a:cubicBezTo>
                <a:cubicBezTo>
                  <a:pt x="3237355" y="949766"/>
                  <a:pt x="3208407" y="978717"/>
                  <a:pt x="3172684" y="978717"/>
                </a:cubicBezTo>
                <a:cubicBezTo>
                  <a:pt x="3136959" y="978717"/>
                  <a:pt x="3107997" y="949766"/>
                  <a:pt x="3107997" y="914081"/>
                </a:cubicBezTo>
                <a:cubicBezTo>
                  <a:pt x="3107997" y="878366"/>
                  <a:pt x="3136959" y="849415"/>
                  <a:pt x="3172684" y="849415"/>
                </a:cubicBezTo>
                <a:close/>
                <a:moveTo>
                  <a:pt x="3012161" y="849415"/>
                </a:moveTo>
                <a:cubicBezTo>
                  <a:pt x="3047872" y="849415"/>
                  <a:pt x="3076833" y="878366"/>
                  <a:pt x="3076833" y="914081"/>
                </a:cubicBezTo>
                <a:cubicBezTo>
                  <a:pt x="3076833" y="949766"/>
                  <a:pt x="3047872" y="978717"/>
                  <a:pt x="3012161" y="978717"/>
                </a:cubicBezTo>
                <a:cubicBezTo>
                  <a:pt x="2976453" y="978717"/>
                  <a:pt x="2947506" y="949766"/>
                  <a:pt x="2947506" y="914081"/>
                </a:cubicBezTo>
                <a:cubicBezTo>
                  <a:pt x="2947506" y="878366"/>
                  <a:pt x="2976453" y="849415"/>
                  <a:pt x="3012161" y="849415"/>
                </a:cubicBezTo>
                <a:close/>
                <a:moveTo>
                  <a:pt x="2855618" y="849415"/>
                </a:moveTo>
                <a:cubicBezTo>
                  <a:pt x="2891321" y="849415"/>
                  <a:pt x="2920269" y="878366"/>
                  <a:pt x="2920269" y="914081"/>
                </a:cubicBezTo>
                <a:cubicBezTo>
                  <a:pt x="2920269" y="949766"/>
                  <a:pt x="2891321" y="978717"/>
                  <a:pt x="2855618" y="978717"/>
                </a:cubicBezTo>
                <a:cubicBezTo>
                  <a:pt x="2819907" y="978717"/>
                  <a:pt x="2790958" y="949766"/>
                  <a:pt x="2790958" y="914081"/>
                </a:cubicBezTo>
                <a:cubicBezTo>
                  <a:pt x="2790958" y="878366"/>
                  <a:pt x="2819907" y="849415"/>
                  <a:pt x="2855618" y="849415"/>
                </a:cubicBezTo>
                <a:close/>
                <a:moveTo>
                  <a:pt x="2699069" y="849415"/>
                </a:moveTo>
                <a:cubicBezTo>
                  <a:pt x="2734777" y="849415"/>
                  <a:pt x="2763723" y="878366"/>
                  <a:pt x="2763723" y="914081"/>
                </a:cubicBezTo>
                <a:cubicBezTo>
                  <a:pt x="2763723" y="949766"/>
                  <a:pt x="2734777" y="978717"/>
                  <a:pt x="2699069" y="978717"/>
                </a:cubicBezTo>
                <a:cubicBezTo>
                  <a:pt x="2663361" y="978717"/>
                  <a:pt x="2634414" y="949766"/>
                  <a:pt x="2634414" y="914081"/>
                </a:cubicBezTo>
                <a:cubicBezTo>
                  <a:pt x="2634414" y="878366"/>
                  <a:pt x="2663361" y="849415"/>
                  <a:pt x="2699069" y="849415"/>
                </a:cubicBezTo>
                <a:close/>
                <a:moveTo>
                  <a:pt x="2546436" y="849415"/>
                </a:moveTo>
                <a:cubicBezTo>
                  <a:pt x="2582142" y="849415"/>
                  <a:pt x="2611091" y="878366"/>
                  <a:pt x="2611091" y="914081"/>
                </a:cubicBezTo>
                <a:cubicBezTo>
                  <a:pt x="2611091" y="949766"/>
                  <a:pt x="2582142" y="978717"/>
                  <a:pt x="2546436" y="978717"/>
                </a:cubicBezTo>
                <a:cubicBezTo>
                  <a:pt x="2510712" y="978717"/>
                  <a:pt x="2481777" y="949766"/>
                  <a:pt x="2481777" y="914081"/>
                </a:cubicBezTo>
                <a:cubicBezTo>
                  <a:pt x="2481777" y="878366"/>
                  <a:pt x="2510712" y="849415"/>
                  <a:pt x="2546436" y="849415"/>
                </a:cubicBezTo>
                <a:close/>
                <a:moveTo>
                  <a:pt x="2389845" y="849415"/>
                </a:moveTo>
                <a:cubicBezTo>
                  <a:pt x="2425594" y="849415"/>
                  <a:pt x="2454543" y="878366"/>
                  <a:pt x="2454543" y="914081"/>
                </a:cubicBezTo>
                <a:cubicBezTo>
                  <a:pt x="2454543" y="949766"/>
                  <a:pt x="2425594" y="978717"/>
                  <a:pt x="2389845" y="978717"/>
                </a:cubicBezTo>
                <a:cubicBezTo>
                  <a:pt x="2354165" y="978717"/>
                  <a:pt x="2325205" y="949766"/>
                  <a:pt x="2325205" y="914081"/>
                </a:cubicBezTo>
                <a:cubicBezTo>
                  <a:pt x="2325205" y="878366"/>
                  <a:pt x="2354165" y="849415"/>
                  <a:pt x="2389845" y="849415"/>
                </a:cubicBezTo>
                <a:close/>
                <a:moveTo>
                  <a:pt x="2237181" y="849415"/>
                </a:moveTo>
                <a:cubicBezTo>
                  <a:pt x="2272906" y="849415"/>
                  <a:pt x="2301870" y="878366"/>
                  <a:pt x="2301870" y="914081"/>
                </a:cubicBezTo>
                <a:cubicBezTo>
                  <a:pt x="2301870" y="949766"/>
                  <a:pt x="2272906" y="978717"/>
                  <a:pt x="2237181" y="978717"/>
                </a:cubicBezTo>
                <a:cubicBezTo>
                  <a:pt x="2201458" y="978717"/>
                  <a:pt x="2172494" y="949766"/>
                  <a:pt x="2172494" y="914081"/>
                </a:cubicBezTo>
                <a:cubicBezTo>
                  <a:pt x="2172494" y="878366"/>
                  <a:pt x="2201458" y="849415"/>
                  <a:pt x="2237181" y="849415"/>
                </a:cubicBezTo>
                <a:close/>
                <a:moveTo>
                  <a:pt x="2084492" y="849415"/>
                </a:moveTo>
                <a:cubicBezTo>
                  <a:pt x="2120215" y="849415"/>
                  <a:pt x="2149161" y="878366"/>
                  <a:pt x="2149161" y="914081"/>
                </a:cubicBezTo>
                <a:cubicBezTo>
                  <a:pt x="2149161" y="949766"/>
                  <a:pt x="2120215" y="978717"/>
                  <a:pt x="2084492" y="978717"/>
                </a:cubicBezTo>
                <a:cubicBezTo>
                  <a:pt x="2048764" y="978717"/>
                  <a:pt x="2019859" y="949766"/>
                  <a:pt x="2019859" y="914081"/>
                </a:cubicBezTo>
                <a:cubicBezTo>
                  <a:pt x="2019859" y="878366"/>
                  <a:pt x="2048764" y="849415"/>
                  <a:pt x="2084492" y="849415"/>
                </a:cubicBezTo>
                <a:close/>
                <a:moveTo>
                  <a:pt x="1927912" y="849415"/>
                </a:moveTo>
                <a:cubicBezTo>
                  <a:pt x="1963627" y="849415"/>
                  <a:pt x="1992599" y="878366"/>
                  <a:pt x="1992599" y="914081"/>
                </a:cubicBezTo>
                <a:cubicBezTo>
                  <a:pt x="1992599" y="949766"/>
                  <a:pt x="1963627" y="978717"/>
                  <a:pt x="1927912" y="978717"/>
                </a:cubicBezTo>
                <a:cubicBezTo>
                  <a:pt x="1892231" y="978717"/>
                  <a:pt x="1863278" y="949766"/>
                  <a:pt x="1863278" y="914081"/>
                </a:cubicBezTo>
                <a:cubicBezTo>
                  <a:pt x="1863278" y="878366"/>
                  <a:pt x="1892231" y="849415"/>
                  <a:pt x="1927912" y="849415"/>
                </a:cubicBezTo>
                <a:close/>
                <a:moveTo>
                  <a:pt x="1775257" y="849415"/>
                </a:moveTo>
                <a:cubicBezTo>
                  <a:pt x="1810960" y="849415"/>
                  <a:pt x="1839946" y="878366"/>
                  <a:pt x="1839946" y="914081"/>
                </a:cubicBezTo>
                <a:cubicBezTo>
                  <a:pt x="1839946" y="949766"/>
                  <a:pt x="1810960" y="978717"/>
                  <a:pt x="1775257" y="978717"/>
                </a:cubicBezTo>
                <a:cubicBezTo>
                  <a:pt x="1739536" y="978717"/>
                  <a:pt x="1710583" y="949766"/>
                  <a:pt x="1710583" y="914081"/>
                </a:cubicBezTo>
                <a:cubicBezTo>
                  <a:pt x="1710583" y="878366"/>
                  <a:pt x="1739536" y="849415"/>
                  <a:pt x="1775257" y="849415"/>
                </a:cubicBezTo>
                <a:close/>
                <a:moveTo>
                  <a:pt x="1618671" y="849415"/>
                </a:moveTo>
                <a:cubicBezTo>
                  <a:pt x="1654394" y="849415"/>
                  <a:pt x="1683342" y="878366"/>
                  <a:pt x="1683342" y="914081"/>
                </a:cubicBezTo>
                <a:cubicBezTo>
                  <a:pt x="1683342" y="949766"/>
                  <a:pt x="1654394" y="978717"/>
                  <a:pt x="1618671" y="978717"/>
                </a:cubicBezTo>
                <a:cubicBezTo>
                  <a:pt x="1582962" y="978717"/>
                  <a:pt x="1554009" y="949766"/>
                  <a:pt x="1554009" y="914081"/>
                </a:cubicBezTo>
                <a:cubicBezTo>
                  <a:pt x="1554009" y="878366"/>
                  <a:pt x="1582962" y="849415"/>
                  <a:pt x="1618671" y="849415"/>
                </a:cubicBezTo>
                <a:close/>
                <a:moveTo>
                  <a:pt x="1466016" y="849415"/>
                </a:moveTo>
                <a:cubicBezTo>
                  <a:pt x="1501729" y="849415"/>
                  <a:pt x="1530681" y="878366"/>
                  <a:pt x="1530681" y="914081"/>
                </a:cubicBezTo>
                <a:cubicBezTo>
                  <a:pt x="1530681" y="949766"/>
                  <a:pt x="1501729" y="978717"/>
                  <a:pt x="1466016" y="978717"/>
                </a:cubicBezTo>
                <a:cubicBezTo>
                  <a:pt x="1430302" y="978717"/>
                  <a:pt x="1401353" y="949766"/>
                  <a:pt x="1401353" y="914081"/>
                </a:cubicBezTo>
                <a:cubicBezTo>
                  <a:pt x="1401353" y="878366"/>
                  <a:pt x="1430302" y="849415"/>
                  <a:pt x="1466016" y="849415"/>
                </a:cubicBezTo>
                <a:close/>
                <a:moveTo>
                  <a:pt x="1309444" y="849415"/>
                </a:moveTo>
                <a:cubicBezTo>
                  <a:pt x="1345157" y="849415"/>
                  <a:pt x="1374109" y="878366"/>
                  <a:pt x="1374109" y="914081"/>
                </a:cubicBezTo>
                <a:cubicBezTo>
                  <a:pt x="1374109" y="949766"/>
                  <a:pt x="1345157" y="978717"/>
                  <a:pt x="1309444" y="978717"/>
                </a:cubicBezTo>
                <a:cubicBezTo>
                  <a:pt x="1273729" y="978717"/>
                  <a:pt x="1244778" y="949766"/>
                  <a:pt x="1244778" y="914081"/>
                </a:cubicBezTo>
                <a:cubicBezTo>
                  <a:pt x="1244778" y="878366"/>
                  <a:pt x="1273729" y="849415"/>
                  <a:pt x="1309444" y="849415"/>
                </a:cubicBezTo>
                <a:close/>
                <a:moveTo>
                  <a:pt x="1148959" y="849415"/>
                </a:moveTo>
                <a:cubicBezTo>
                  <a:pt x="1184673" y="849415"/>
                  <a:pt x="1213624" y="878366"/>
                  <a:pt x="1213624" y="914081"/>
                </a:cubicBezTo>
                <a:cubicBezTo>
                  <a:pt x="1213624" y="949766"/>
                  <a:pt x="1184673" y="978717"/>
                  <a:pt x="1148959" y="978717"/>
                </a:cubicBezTo>
                <a:cubicBezTo>
                  <a:pt x="1113245" y="978717"/>
                  <a:pt x="1084294" y="949766"/>
                  <a:pt x="1084294" y="914081"/>
                </a:cubicBezTo>
                <a:cubicBezTo>
                  <a:pt x="1084294" y="878366"/>
                  <a:pt x="1113245" y="849415"/>
                  <a:pt x="1148959" y="849415"/>
                </a:cubicBezTo>
                <a:close/>
                <a:moveTo>
                  <a:pt x="10625392" y="849414"/>
                </a:moveTo>
                <a:cubicBezTo>
                  <a:pt x="10661106" y="849414"/>
                  <a:pt x="10690058" y="878365"/>
                  <a:pt x="10690058" y="914079"/>
                </a:cubicBezTo>
                <a:cubicBezTo>
                  <a:pt x="10690058" y="949766"/>
                  <a:pt x="10661106" y="978717"/>
                  <a:pt x="10625392" y="978717"/>
                </a:cubicBezTo>
                <a:cubicBezTo>
                  <a:pt x="10589678" y="978717"/>
                  <a:pt x="10560726" y="949766"/>
                  <a:pt x="10560726" y="914079"/>
                </a:cubicBezTo>
                <a:cubicBezTo>
                  <a:pt x="10560726" y="878365"/>
                  <a:pt x="10589678" y="849414"/>
                  <a:pt x="10625392" y="849414"/>
                </a:cubicBezTo>
                <a:close/>
                <a:moveTo>
                  <a:pt x="10468818" y="849414"/>
                </a:moveTo>
                <a:cubicBezTo>
                  <a:pt x="10504532" y="849414"/>
                  <a:pt x="10533484" y="878365"/>
                  <a:pt x="10533484" y="914079"/>
                </a:cubicBezTo>
                <a:cubicBezTo>
                  <a:pt x="10533484" y="949766"/>
                  <a:pt x="10504532" y="978717"/>
                  <a:pt x="10468818" y="978717"/>
                </a:cubicBezTo>
                <a:cubicBezTo>
                  <a:pt x="10433104" y="978717"/>
                  <a:pt x="10404152" y="949766"/>
                  <a:pt x="10404152" y="914079"/>
                </a:cubicBezTo>
                <a:cubicBezTo>
                  <a:pt x="10404152" y="878365"/>
                  <a:pt x="10433104" y="849414"/>
                  <a:pt x="10468818" y="849414"/>
                </a:cubicBezTo>
                <a:close/>
                <a:moveTo>
                  <a:pt x="10312244" y="849414"/>
                </a:moveTo>
                <a:cubicBezTo>
                  <a:pt x="10347958" y="849414"/>
                  <a:pt x="10376910" y="878365"/>
                  <a:pt x="10376910" y="914079"/>
                </a:cubicBezTo>
                <a:cubicBezTo>
                  <a:pt x="10376910" y="949766"/>
                  <a:pt x="10347958" y="978717"/>
                  <a:pt x="10312244" y="978717"/>
                </a:cubicBezTo>
                <a:cubicBezTo>
                  <a:pt x="10276530" y="978717"/>
                  <a:pt x="10247578" y="949766"/>
                  <a:pt x="10247578" y="914079"/>
                </a:cubicBezTo>
                <a:cubicBezTo>
                  <a:pt x="10247578" y="878365"/>
                  <a:pt x="10276530" y="849414"/>
                  <a:pt x="10312244" y="849414"/>
                </a:cubicBezTo>
                <a:close/>
                <a:moveTo>
                  <a:pt x="10159586" y="849414"/>
                </a:moveTo>
                <a:cubicBezTo>
                  <a:pt x="10195300" y="849414"/>
                  <a:pt x="10224252" y="878365"/>
                  <a:pt x="10224252" y="914079"/>
                </a:cubicBezTo>
                <a:cubicBezTo>
                  <a:pt x="10224252" y="949766"/>
                  <a:pt x="10195300" y="978717"/>
                  <a:pt x="10159586" y="978717"/>
                </a:cubicBezTo>
                <a:cubicBezTo>
                  <a:pt x="10123872" y="978717"/>
                  <a:pt x="10094920" y="949766"/>
                  <a:pt x="10094920" y="914079"/>
                </a:cubicBezTo>
                <a:cubicBezTo>
                  <a:pt x="10094920" y="878365"/>
                  <a:pt x="10123872" y="849414"/>
                  <a:pt x="10159586" y="849414"/>
                </a:cubicBezTo>
                <a:close/>
                <a:moveTo>
                  <a:pt x="10003016" y="849414"/>
                </a:moveTo>
                <a:cubicBezTo>
                  <a:pt x="10038730" y="849414"/>
                  <a:pt x="10067682" y="878365"/>
                  <a:pt x="10067682" y="914079"/>
                </a:cubicBezTo>
                <a:cubicBezTo>
                  <a:pt x="10067682" y="949766"/>
                  <a:pt x="10038730" y="978717"/>
                  <a:pt x="10003016" y="978717"/>
                </a:cubicBezTo>
                <a:cubicBezTo>
                  <a:pt x="9967302" y="978717"/>
                  <a:pt x="9938350" y="949766"/>
                  <a:pt x="9938350" y="914079"/>
                </a:cubicBezTo>
                <a:cubicBezTo>
                  <a:pt x="9938350" y="878365"/>
                  <a:pt x="9967302" y="849414"/>
                  <a:pt x="10003016" y="849414"/>
                </a:cubicBezTo>
                <a:close/>
                <a:moveTo>
                  <a:pt x="9850358" y="849414"/>
                </a:moveTo>
                <a:cubicBezTo>
                  <a:pt x="9886072" y="849414"/>
                  <a:pt x="9915024" y="878365"/>
                  <a:pt x="9915024" y="914079"/>
                </a:cubicBezTo>
                <a:cubicBezTo>
                  <a:pt x="9915024" y="949766"/>
                  <a:pt x="9886072" y="978717"/>
                  <a:pt x="9850358" y="978717"/>
                </a:cubicBezTo>
                <a:cubicBezTo>
                  <a:pt x="9814644" y="978717"/>
                  <a:pt x="9785692" y="949766"/>
                  <a:pt x="9785692" y="914079"/>
                </a:cubicBezTo>
                <a:cubicBezTo>
                  <a:pt x="9785692" y="878365"/>
                  <a:pt x="9814644" y="849414"/>
                  <a:pt x="9850358" y="849414"/>
                </a:cubicBezTo>
                <a:close/>
                <a:moveTo>
                  <a:pt x="9693783" y="849414"/>
                </a:moveTo>
                <a:cubicBezTo>
                  <a:pt x="9729497" y="849414"/>
                  <a:pt x="9758449" y="878365"/>
                  <a:pt x="9758449" y="914079"/>
                </a:cubicBezTo>
                <a:cubicBezTo>
                  <a:pt x="9758449" y="949766"/>
                  <a:pt x="9729497" y="978717"/>
                  <a:pt x="9693783" y="978717"/>
                </a:cubicBezTo>
                <a:cubicBezTo>
                  <a:pt x="9658069" y="978717"/>
                  <a:pt x="9629117" y="949766"/>
                  <a:pt x="9629117" y="914079"/>
                </a:cubicBezTo>
                <a:cubicBezTo>
                  <a:pt x="9629117" y="878365"/>
                  <a:pt x="9658069" y="849414"/>
                  <a:pt x="9693783" y="849414"/>
                </a:cubicBezTo>
                <a:close/>
                <a:moveTo>
                  <a:pt x="9541123" y="849414"/>
                </a:moveTo>
                <a:cubicBezTo>
                  <a:pt x="9576837" y="849414"/>
                  <a:pt x="9605789" y="878365"/>
                  <a:pt x="9605789" y="914079"/>
                </a:cubicBezTo>
                <a:cubicBezTo>
                  <a:pt x="9605789" y="949766"/>
                  <a:pt x="9576837" y="978717"/>
                  <a:pt x="9541123" y="978717"/>
                </a:cubicBezTo>
                <a:cubicBezTo>
                  <a:pt x="9505409" y="978717"/>
                  <a:pt x="9476457" y="949766"/>
                  <a:pt x="9476457" y="914079"/>
                </a:cubicBezTo>
                <a:cubicBezTo>
                  <a:pt x="9476457" y="878365"/>
                  <a:pt x="9505409" y="849414"/>
                  <a:pt x="9541123" y="849414"/>
                </a:cubicBezTo>
                <a:close/>
                <a:moveTo>
                  <a:pt x="9384550" y="849414"/>
                </a:moveTo>
                <a:cubicBezTo>
                  <a:pt x="9420264" y="849414"/>
                  <a:pt x="9449216" y="878365"/>
                  <a:pt x="9449216" y="914079"/>
                </a:cubicBezTo>
                <a:cubicBezTo>
                  <a:pt x="9449216" y="949766"/>
                  <a:pt x="9420264" y="978717"/>
                  <a:pt x="9384550" y="978717"/>
                </a:cubicBezTo>
                <a:cubicBezTo>
                  <a:pt x="9348836" y="978717"/>
                  <a:pt x="9319884" y="949766"/>
                  <a:pt x="9319884" y="914079"/>
                </a:cubicBezTo>
                <a:cubicBezTo>
                  <a:pt x="9319884" y="878365"/>
                  <a:pt x="9348836" y="849414"/>
                  <a:pt x="9384550" y="849414"/>
                </a:cubicBezTo>
                <a:close/>
                <a:moveTo>
                  <a:pt x="9227977" y="849414"/>
                </a:moveTo>
                <a:cubicBezTo>
                  <a:pt x="9263691" y="849414"/>
                  <a:pt x="9292643" y="878365"/>
                  <a:pt x="9292643" y="914079"/>
                </a:cubicBezTo>
                <a:cubicBezTo>
                  <a:pt x="9292643" y="949766"/>
                  <a:pt x="9263691" y="978717"/>
                  <a:pt x="9227977" y="978717"/>
                </a:cubicBezTo>
                <a:cubicBezTo>
                  <a:pt x="9192263" y="978717"/>
                  <a:pt x="9163311" y="949766"/>
                  <a:pt x="9163311" y="914079"/>
                </a:cubicBezTo>
                <a:cubicBezTo>
                  <a:pt x="9163311" y="878365"/>
                  <a:pt x="9192263" y="849414"/>
                  <a:pt x="9227977" y="849414"/>
                </a:cubicBezTo>
                <a:close/>
                <a:moveTo>
                  <a:pt x="9075319" y="849414"/>
                </a:moveTo>
                <a:cubicBezTo>
                  <a:pt x="9111033" y="849414"/>
                  <a:pt x="9139985" y="878365"/>
                  <a:pt x="9139985" y="914079"/>
                </a:cubicBezTo>
                <a:cubicBezTo>
                  <a:pt x="9139985" y="949766"/>
                  <a:pt x="9111033" y="978717"/>
                  <a:pt x="9075319" y="978717"/>
                </a:cubicBezTo>
                <a:cubicBezTo>
                  <a:pt x="9039605" y="978717"/>
                  <a:pt x="9010653" y="949766"/>
                  <a:pt x="9010653" y="914079"/>
                </a:cubicBezTo>
                <a:cubicBezTo>
                  <a:pt x="9010653" y="878365"/>
                  <a:pt x="9039605" y="849414"/>
                  <a:pt x="9075319" y="849414"/>
                </a:cubicBezTo>
                <a:close/>
                <a:moveTo>
                  <a:pt x="8914831" y="849414"/>
                </a:moveTo>
                <a:cubicBezTo>
                  <a:pt x="8950545" y="849414"/>
                  <a:pt x="8979497" y="878365"/>
                  <a:pt x="8979497" y="914079"/>
                </a:cubicBezTo>
                <a:cubicBezTo>
                  <a:pt x="8979497" y="949766"/>
                  <a:pt x="8950545" y="978717"/>
                  <a:pt x="8914831" y="978717"/>
                </a:cubicBezTo>
                <a:cubicBezTo>
                  <a:pt x="8879117" y="978717"/>
                  <a:pt x="8850165" y="949766"/>
                  <a:pt x="8850165" y="914079"/>
                </a:cubicBezTo>
                <a:cubicBezTo>
                  <a:pt x="8850165" y="878365"/>
                  <a:pt x="8879117" y="849414"/>
                  <a:pt x="8914831" y="849414"/>
                </a:cubicBezTo>
                <a:close/>
                <a:moveTo>
                  <a:pt x="8766086" y="849414"/>
                </a:moveTo>
                <a:cubicBezTo>
                  <a:pt x="8801800" y="849414"/>
                  <a:pt x="8830752" y="878366"/>
                  <a:pt x="8830752" y="914079"/>
                </a:cubicBezTo>
                <a:cubicBezTo>
                  <a:pt x="8830752" y="949766"/>
                  <a:pt x="8801800" y="978717"/>
                  <a:pt x="8766086" y="978717"/>
                </a:cubicBezTo>
                <a:cubicBezTo>
                  <a:pt x="8730372" y="978717"/>
                  <a:pt x="8701420" y="949766"/>
                  <a:pt x="8701420" y="914079"/>
                </a:cubicBezTo>
                <a:cubicBezTo>
                  <a:pt x="8701420" y="878366"/>
                  <a:pt x="8730372" y="849414"/>
                  <a:pt x="8766086" y="849414"/>
                </a:cubicBezTo>
                <a:close/>
                <a:moveTo>
                  <a:pt x="8601683" y="849414"/>
                </a:moveTo>
                <a:cubicBezTo>
                  <a:pt x="8637397" y="849414"/>
                  <a:pt x="8666349" y="878366"/>
                  <a:pt x="8666349" y="914079"/>
                </a:cubicBezTo>
                <a:cubicBezTo>
                  <a:pt x="8666349" y="949766"/>
                  <a:pt x="8637397" y="978717"/>
                  <a:pt x="8601683" y="978717"/>
                </a:cubicBezTo>
                <a:cubicBezTo>
                  <a:pt x="8565969" y="978717"/>
                  <a:pt x="8537017" y="949766"/>
                  <a:pt x="8537017" y="914079"/>
                </a:cubicBezTo>
                <a:cubicBezTo>
                  <a:pt x="8537017" y="878366"/>
                  <a:pt x="8565969" y="849414"/>
                  <a:pt x="8601683" y="849414"/>
                </a:cubicBezTo>
                <a:close/>
                <a:moveTo>
                  <a:pt x="8449025" y="849414"/>
                </a:moveTo>
                <a:cubicBezTo>
                  <a:pt x="8484739" y="849414"/>
                  <a:pt x="8513691" y="878366"/>
                  <a:pt x="8513691" y="914079"/>
                </a:cubicBezTo>
                <a:cubicBezTo>
                  <a:pt x="8513691" y="949766"/>
                  <a:pt x="8484739" y="978717"/>
                  <a:pt x="8449025" y="978717"/>
                </a:cubicBezTo>
                <a:cubicBezTo>
                  <a:pt x="8413311" y="978717"/>
                  <a:pt x="8384359" y="949766"/>
                  <a:pt x="8384359" y="914079"/>
                </a:cubicBezTo>
                <a:cubicBezTo>
                  <a:pt x="8384359" y="878366"/>
                  <a:pt x="8413311" y="849414"/>
                  <a:pt x="8449025" y="849414"/>
                </a:cubicBezTo>
                <a:close/>
                <a:moveTo>
                  <a:pt x="8296368" y="849414"/>
                </a:moveTo>
                <a:cubicBezTo>
                  <a:pt x="8332082" y="849414"/>
                  <a:pt x="8361034" y="878366"/>
                  <a:pt x="8361034" y="914079"/>
                </a:cubicBezTo>
                <a:cubicBezTo>
                  <a:pt x="8361034" y="949766"/>
                  <a:pt x="8332082" y="978717"/>
                  <a:pt x="8296368" y="978717"/>
                </a:cubicBezTo>
                <a:cubicBezTo>
                  <a:pt x="8260654" y="978717"/>
                  <a:pt x="8231702" y="949766"/>
                  <a:pt x="8231702" y="914079"/>
                </a:cubicBezTo>
                <a:cubicBezTo>
                  <a:pt x="8231702" y="878366"/>
                  <a:pt x="8260654" y="849414"/>
                  <a:pt x="8296368" y="849414"/>
                </a:cubicBezTo>
                <a:close/>
                <a:moveTo>
                  <a:pt x="8139793" y="849414"/>
                </a:moveTo>
                <a:cubicBezTo>
                  <a:pt x="8175507" y="849414"/>
                  <a:pt x="8204459" y="878366"/>
                  <a:pt x="8204459" y="914079"/>
                </a:cubicBezTo>
                <a:cubicBezTo>
                  <a:pt x="8204459" y="949766"/>
                  <a:pt x="8175507" y="978717"/>
                  <a:pt x="8139793" y="978717"/>
                </a:cubicBezTo>
                <a:cubicBezTo>
                  <a:pt x="8104079" y="978717"/>
                  <a:pt x="8075127" y="949766"/>
                  <a:pt x="8075127" y="914079"/>
                </a:cubicBezTo>
                <a:cubicBezTo>
                  <a:pt x="8075127" y="878366"/>
                  <a:pt x="8104079" y="849414"/>
                  <a:pt x="8139793" y="849414"/>
                </a:cubicBezTo>
                <a:close/>
                <a:moveTo>
                  <a:pt x="7987133" y="849414"/>
                </a:moveTo>
                <a:cubicBezTo>
                  <a:pt x="8022847" y="849414"/>
                  <a:pt x="8051799" y="878366"/>
                  <a:pt x="8051799" y="914079"/>
                </a:cubicBezTo>
                <a:cubicBezTo>
                  <a:pt x="8051799" y="949766"/>
                  <a:pt x="8022847" y="978717"/>
                  <a:pt x="7987133" y="978717"/>
                </a:cubicBezTo>
                <a:cubicBezTo>
                  <a:pt x="7951419" y="978717"/>
                  <a:pt x="7922467" y="949766"/>
                  <a:pt x="7922467" y="914079"/>
                </a:cubicBezTo>
                <a:cubicBezTo>
                  <a:pt x="7922467" y="878366"/>
                  <a:pt x="7951419" y="849414"/>
                  <a:pt x="7987133" y="849414"/>
                </a:cubicBezTo>
                <a:close/>
                <a:moveTo>
                  <a:pt x="7830562" y="849414"/>
                </a:moveTo>
                <a:cubicBezTo>
                  <a:pt x="7866276" y="849414"/>
                  <a:pt x="7895228" y="878366"/>
                  <a:pt x="7895228" y="914079"/>
                </a:cubicBezTo>
                <a:cubicBezTo>
                  <a:pt x="7895228" y="949766"/>
                  <a:pt x="7866276" y="978717"/>
                  <a:pt x="7830562" y="978717"/>
                </a:cubicBezTo>
                <a:cubicBezTo>
                  <a:pt x="7794848" y="978717"/>
                  <a:pt x="7765896" y="949766"/>
                  <a:pt x="7765896" y="914079"/>
                </a:cubicBezTo>
                <a:cubicBezTo>
                  <a:pt x="7765896" y="878366"/>
                  <a:pt x="7794848" y="849414"/>
                  <a:pt x="7830562" y="849414"/>
                </a:cubicBezTo>
                <a:close/>
                <a:moveTo>
                  <a:pt x="11404343" y="849412"/>
                </a:moveTo>
                <a:cubicBezTo>
                  <a:pt x="11440057" y="849412"/>
                  <a:pt x="11469009" y="878364"/>
                  <a:pt x="11469009" y="914079"/>
                </a:cubicBezTo>
                <a:cubicBezTo>
                  <a:pt x="11469009" y="949766"/>
                  <a:pt x="11440057" y="978717"/>
                  <a:pt x="11404343" y="978717"/>
                </a:cubicBezTo>
                <a:cubicBezTo>
                  <a:pt x="11368629" y="978717"/>
                  <a:pt x="11339677" y="949766"/>
                  <a:pt x="11339677" y="914079"/>
                </a:cubicBezTo>
                <a:cubicBezTo>
                  <a:pt x="11339677" y="878364"/>
                  <a:pt x="11368629" y="849412"/>
                  <a:pt x="11404343" y="849412"/>
                </a:cubicBezTo>
                <a:close/>
                <a:moveTo>
                  <a:pt x="11251684" y="849412"/>
                </a:moveTo>
                <a:cubicBezTo>
                  <a:pt x="11287398" y="849412"/>
                  <a:pt x="11316350" y="878365"/>
                  <a:pt x="11316350" y="914079"/>
                </a:cubicBezTo>
                <a:cubicBezTo>
                  <a:pt x="11316350" y="949766"/>
                  <a:pt x="11287398" y="978717"/>
                  <a:pt x="11251684" y="978717"/>
                </a:cubicBezTo>
                <a:cubicBezTo>
                  <a:pt x="11215970" y="978717"/>
                  <a:pt x="11187018" y="949766"/>
                  <a:pt x="11187018" y="914079"/>
                </a:cubicBezTo>
                <a:cubicBezTo>
                  <a:pt x="11187018" y="878365"/>
                  <a:pt x="11215970" y="849412"/>
                  <a:pt x="11251684" y="849412"/>
                </a:cubicBezTo>
                <a:close/>
                <a:moveTo>
                  <a:pt x="11095111" y="849412"/>
                </a:moveTo>
                <a:cubicBezTo>
                  <a:pt x="11130825" y="849412"/>
                  <a:pt x="11159777" y="878365"/>
                  <a:pt x="11159777" y="914079"/>
                </a:cubicBezTo>
                <a:cubicBezTo>
                  <a:pt x="11159777" y="949766"/>
                  <a:pt x="11130825" y="978717"/>
                  <a:pt x="11095111" y="978717"/>
                </a:cubicBezTo>
                <a:cubicBezTo>
                  <a:pt x="11059397" y="978717"/>
                  <a:pt x="11030445" y="949766"/>
                  <a:pt x="11030445" y="914079"/>
                </a:cubicBezTo>
                <a:cubicBezTo>
                  <a:pt x="11030445" y="878365"/>
                  <a:pt x="11059397" y="849412"/>
                  <a:pt x="11095111" y="849412"/>
                </a:cubicBezTo>
                <a:close/>
                <a:moveTo>
                  <a:pt x="10938538" y="849412"/>
                </a:moveTo>
                <a:cubicBezTo>
                  <a:pt x="10974252" y="849412"/>
                  <a:pt x="11003204" y="878365"/>
                  <a:pt x="11003204" y="914079"/>
                </a:cubicBezTo>
                <a:cubicBezTo>
                  <a:pt x="11003204" y="949766"/>
                  <a:pt x="10974252" y="978717"/>
                  <a:pt x="10938538" y="978717"/>
                </a:cubicBezTo>
                <a:cubicBezTo>
                  <a:pt x="10902824" y="978717"/>
                  <a:pt x="10873872" y="949766"/>
                  <a:pt x="10873872" y="914079"/>
                </a:cubicBezTo>
                <a:cubicBezTo>
                  <a:pt x="10873872" y="878365"/>
                  <a:pt x="10902824" y="849412"/>
                  <a:pt x="10938538" y="849412"/>
                </a:cubicBezTo>
                <a:close/>
                <a:moveTo>
                  <a:pt x="10778051" y="849412"/>
                </a:moveTo>
                <a:cubicBezTo>
                  <a:pt x="10813765" y="849412"/>
                  <a:pt x="10842717" y="878365"/>
                  <a:pt x="10842717" y="914079"/>
                </a:cubicBezTo>
                <a:cubicBezTo>
                  <a:pt x="10842717" y="949766"/>
                  <a:pt x="10813765" y="978717"/>
                  <a:pt x="10778051" y="978717"/>
                </a:cubicBezTo>
                <a:cubicBezTo>
                  <a:pt x="10742337" y="978717"/>
                  <a:pt x="10713385" y="949766"/>
                  <a:pt x="10713385" y="914079"/>
                </a:cubicBezTo>
                <a:cubicBezTo>
                  <a:pt x="10713385" y="878365"/>
                  <a:pt x="10742337" y="849412"/>
                  <a:pt x="10778051" y="849412"/>
                </a:cubicBezTo>
                <a:close/>
                <a:moveTo>
                  <a:pt x="526578" y="849412"/>
                </a:moveTo>
                <a:cubicBezTo>
                  <a:pt x="562291" y="849412"/>
                  <a:pt x="591243" y="878364"/>
                  <a:pt x="591243" y="914079"/>
                </a:cubicBezTo>
                <a:cubicBezTo>
                  <a:pt x="591243" y="949766"/>
                  <a:pt x="562291" y="978717"/>
                  <a:pt x="526578" y="978717"/>
                </a:cubicBezTo>
                <a:cubicBezTo>
                  <a:pt x="490864" y="978717"/>
                  <a:pt x="461913" y="949766"/>
                  <a:pt x="461913" y="914079"/>
                </a:cubicBezTo>
                <a:cubicBezTo>
                  <a:pt x="461913" y="878364"/>
                  <a:pt x="490864" y="849412"/>
                  <a:pt x="526578" y="849412"/>
                </a:cubicBezTo>
                <a:close/>
                <a:moveTo>
                  <a:pt x="373922" y="849412"/>
                </a:moveTo>
                <a:cubicBezTo>
                  <a:pt x="409635" y="849412"/>
                  <a:pt x="438587" y="878364"/>
                  <a:pt x="438587" y="914079"/>
                </a:cubicBezTo>
                <a:cubicBezTo>
                  <a:pt x="438587" y="949766"/>
                  <a:pt x="409635" y="978717"/>
                  <a:pt x="373922" y="978717"/>
                </a:cubicBezTo>
                <a:cubicBezTo>
                  <a:pt x="338208" y="978717"/>
                  <a:pt x="309257" y="949766"/>
                  <a:pt x="309257" y="914079"/>
                </a:cubicBezTo>
                <a:cubicBezTo>
                  <a:pt x="309257" y="878364"/>
                  <a:pt x="338208" y="849412"/>
                  <a:pt x="373922" y="849412"/>
                </a:cubicBezTo>
                <a:close/>
                <a:moveTo>
                  <a:pt x="217353" y="849412"/>
                </a:moveTo>
                <a:cubicBezTo>
                  <a:pt x="253067" y="849412"/>
                  <a:pt x="282019" y="878364"/>
                  <a:pt x="282019" y="914079"/>
                </a:cubicBezTo>
                <a:cubicBezTo>
                  <a:pt x="282019" y="949766"/>
                  <a:pt x="253067" y="978717"/>
                  <a:pt x="217353" y="978717"/>
                </a:cubicBezTo>
                <a:cubicBezTo>
                  <a:pt x="181640" y="978717"/>
                  <a:pt x="152688" y="949766"/>
                  <a:pt x="152688" y="914079"/>
                </a:cubicBezTo>
                <a:cubicBezTo>
                  <a:pt x="152688" y="878364"/>
                  <a:pt x="181640" y="849412"/>
                  <a:pt x="217353" y="849412"/>
                </a:cubicBezTo>
                <a:close/>
                <a:moveTo>
                  <a:pt x="9384550" y="712411"/>
                </a:moveTo>
                <a:cubicBezTo>
                  <a:pt x="9420264" y="712411"/>
                  <a:pt x="9449216" y="741365"/>
                  <a:pt x="9449216" y="777076"/>
                </a:cubicBezTo>
                <a:cubicBezTo>
                  <a:pt x="9449216" y="812789"/>
                  <a:pt x="9420264" y="841744"/>
                  <a:pt x="9384550" y="841744"/>
                </a:cubicBezTo>
                <a:cubicBezTo>
                  <a:pt x="9348836" y="841744"/>
                  <a:pt x="9319884" y="812789"/>
                  <a:pt x="9319884" y="777076"/>
                </a:cubicBezTo>
                <a:cubicBezTo>
                  <a:pt x="9319884" y="741365"/>
                  <a:pt x="9348836" y="712411"/>
                  <a:pt x="9384550" y="712411"/>
                </a:cubicBezTo>
                <a:close/>
                <a:moveTo>
                  <a:pt x="9227977" y="712411"/>
                </a:moveTo>
                <a:cubicBezTo>
                  <a:pt x="9263691" y="712411"/>
                  <a:pt x="9292643" y="741365"/>
                  <a:pt x="9292643" y="777076"/>
                </a:cubicBezTo>
                <a:cubicBezTo>
                  <a:pt x="9292643" y="812789"/>
                  <a:pt x="9263691" y="841744"/>
                  <a:pt x="9227977" y="841744"/>
                </a:cubicBezTo>
                <a:cubicBezTo>
                  <a:pt x="9192263" y="841744"/>
                  <a:pt x="9163311" y="812789"/>
                  <a:pt x="9163311" y="777076"/>
                </a:cubicBezTo>
                <a:cubicBezTo>
                  <a:pt x="9163311" y="741365"/>
                  <a:pt x="9192263" y="712411"/>
                  <a:pt x="9227977" y="712411"/>
                </a:cubicBezTo>
                <a:close/>
                <a:moveTo>
                  <a:pt x="9075319" y="712411"/>
                </a:moveTo>
                <a:cubicBezTo>
                  <a:pt x="9111033" y="712411"/>
                  <a:pt x="9139985" y="741365"/>
                  <a:pt x="9139985" y="777076"/>
                </a:cubicBezTo>
                <a:cubicBezTo>
                  <a:pt x="9139985" y="812789"/>
                  <a:pt x="9111033" y="841744"/>
                  <a:pt x="9075319" y="841744"/>
                </a:cubicBezTo>
                <a:cubicBezTo>
                  <a:pt x="9039605" y="841744"/>
                  <a:pt x="9010653" y="812789"/>
                  <a:pt x="9010653" y="777076"/>
                </a:cubicBezTo>
                <a:cubicBezTo>
                  <a:pt x="9010653" y="741365"/>
                  <a:pt x="9039605" y="712411"/>
                  <a:pt x="9075319" y="712411"/>
                </a:cubicBezTo>
                <a:close/>
                <a:moveTo>
                  <a:pt x="8914831" y="712411"/>
                </a:moveTo>
                <a:cubicBezTo>
                  <a:pt x="8950545" y="712411"/>
                  <a:pt x="8979497" y="741365"/>
                  <a:pt x="8979497" y="777076"/>
                </a:cubicBezTo>
                <a:cubicBezTo>
                  <a:pt x="8979497" y="812789"/>
                  <a:pt x="8950545" y="841744"/>
                  <a:pt x="8914831" y="841744"/>
                </a:cubicBezTo>
                <a:cubicBezTo>
                  <a:pt x="8879117" y="841744"/>
                  <a:pt x="8850165" y="812789"/>
                  <a:pt x="8850165" y="777076"/>
                </a:cubicBezTo>
                <a:cubicBezTo>
                  <a:pt x="8850165" y="741365"/>
                  <a:pt x="8879117" y="712411"/>
                  <a:pt x="8914831" y="712411"/>
                </a:cubicBezTo>
                <a:close/>
                <a:moveTo>
                  <a:pt x="8766086" y="712411"/>
                </a:moveTo>
                <a:cubicBezTo>
                  <a:pt x="8801800" y="712411"/>
                  <a:pt x="8830752" y="741365"/>
                  <a:pt x="8830752" y="777076"/>
                </a:cubicBezTo>
                <a:cubicBezTo>
                  <a:pt x="8830752" y="812789"/>
                  <a:pt x="8801800" y="841744"/>
                  <a:pt x="8766086" y="841744"/>
                </a:cubicBezTo>
                <a:cubicBezTo>
                  <a:pt x="8730372" y="841744"/>
                  <a:pt x="8701420" y="812789"/>
                  <a:pt x="8701420" y="777076"/>
                </a:cubicBezTo>
                <a:cubicBezTo>
                  <a:pt x="8701420" y="741365"/>
                  <a:pt x="8730372" y="712411"/>
                  <a:pt x="8766086" y="712411"/>
                </a:cubicBezTo>
                <a:close/>
                <a:moveTo>
                  <a:pt x="8601683" y="712411"/>
                </a:moveTo>
                <a:cubicBezTo>
                  <a:pt x="8637397" y="712411"/>
                  <a:pt x="8666349" y="741365"/>
                  <a:pt x="8666349" y="777076"/>
                </a:cubicBezTo>
                <a:cubicBezTo>
                  <a:pt x="8666349" y="812789"/>
                  <a:pt x="8637397" y="841744"/>
                  <a:pt x="8601683" y="841744"/>
                </a:cubicBezTo>
                <a:cubicBezTo>
                  <a:pt x="8565969" y="841744"/>
                  <a:pt x="8537017" y="812789"/>
                  <a:pt x="8537017" y="777076"/>
                </a:cubicBezTo>
                <a:cubicBezTo>
                  <a:pt x="8537017" y="741365"/>
                  <a:pt x="8565969" y="712411"/>
                  <a:pt x="8601683" y="712411"/>
                </a:cubicBezTo>
                <a:close/>
                <a:moveTo>
                  <a:pt x="8449025" y="712411"/>
                </a:moveTo>
                <a:cubicBezTo>
                  <a:pt x="8484739" y="712411"/>
                  <a:pt x="8513691" y="741365"/>
                  <a:pt x="8513691" y="777076"/>
                </a:cubicBezTo>
                <a:cubicBezTo>
                  <a:pt x="8513691" y="812789"/>
                  <a:pt x="8484739" y="841744"/>
                  <a:pt x="8449025" y="841744"/>
                </a:cubicBezTo>
                <a:cubicBezTo>
                  <a:pt x="8413311" y="841744"/>
                  <a:pt x="8384359" y="812789"/>
                  <a:pt x="8384359" y="777076"/>
                </a:cubicBezTo>
                <a:cubicBezTo>
                  <a:pt x="8384359" y="741365"/>
                  <a:pt x="8413311" y="712411"/>
                  <a:pt x="8449025" y="712411"/>
                </a:cubicBezTo>
                <a:close/>
                <a:moveTo>
                  <a:pt x="8296368" y="712411"/>
                </a:moveTo>
                <a:cubicBezTo>
                  <a:pt x="8332082" y="712411"/>
                  <a:pt x="8361034" y="741365"/>
                  <a:pt x="8361034" y="777076"/>
                </a:cubicBezTo>
                <a:cubicBezTo>
                  <a:pt x="8361034" y="812789"/>
                  <a:pt x="8332082" y="841744"/>
                  <a:pt x="8296368" y="841744"/>
                </a:cubicBezTo>
                <a:cubicBezTo>
                  <a:pt x="8260654" y="841744"/>
                  <a:pt x="8231702" y="812789"/>
                  <a:pt x="8231702" y="777076"/>
                </a:cubicBezTo>
                <a:cubicBezTo>
                  <a:pt x="8231702" y="741365"/>
                  <a:pt x="8260654" y="712411"/>
                  <a:pt x="8296368" y="712411"/>
                </a:cubicBezTo>
                <a:close/>
                <a:moveTo>
                  <a:pt x="8139793" y="712411"/>
                </a:moveTo>
                <a:cubicBezTo>
                  <a:pt x="8175507" y="712411"/>
                  <a:pt x="8204459" y="741365"/>
                  <a:pt x="8204459" y="777076"/>
                </a:cubicBezTo>
                <a:cubicBezTo>
                  <a:pt x="8204459" y="812789"/>
                  <a:pt x="8175507" y="841744"/>
                  <a:pt x="8139793" y="841744"/>
                </a:cubicBezTo>
                <a:cubicBezTo>
                  <a:pt x="8104079" y="841744"/>
                  <a:pt x="8075127" y="812789"/>
                  <a:pt x="8075127" y="777076"/>
                </a:cubicBezTo>
                <a:cubicBezTo>
                  <a:pt x="8075127" y="741365"/>
                  <a:pt x="8104079" y="712411"/>
                  <a:pt x="8139793" y="712411"/>
                </a:cubicBezTo>
                <a:close/>
                <a:moveTo>
                  <a:pt x="7987133" y="712411"/>
                </a:moveTo>
                <a:cubicBezTo>
                  <a:pt x="8022847" y="712411"/>
                  <a:pt x="8051799" y="741365"/>
                  <a:pt x="8051799" y="777076"/>
                </a:cubicBezTo>
                <a:cubicBezTo>
                  <a:pt x="8051799" y="812789"/>
                  <a:pt x="8022847" y="841744"/>
                  <a:pt x="7987133" y="841744"/>
                </a:cubicBezTo>
                <a:cubicBezTo>
                  <a:pt x="7951419" y="841744"/>
                  <a:pt x="7922467" y="812789"/>
                  <a:pt x="7922467" y="777076"/>
                </a:cubicBezTo>
                <a:cubicBezTo>
                  <a:pt x="7922467" y="741365"/>
                  <a:pt x="7951419" y="712411"/>
                  <a:pt x="7987133" y="712411"/>
                </a:cubicBezTo>
                <a:close/>
                <a:moveTo>
                  <a:pt x="7830562" y="712411"/>
                </a:moveTo>
                <a:cubicBezTo>
                  <a:pt x="7866276" y="712411"/>
                  <a:pt x="7895228" y="741365"/>
                  <a:pt x="7895228" y="777076"/>
                </a:cubicBezTo>
                <a:cubicBezTo>
                  <a:pt x="7895228" y="812789"/>
                  <a:pt x="7866276" y="841744"/>
                  <a:pt x="7830562" y="841744"/>
                </a:cubicBezTo>
                <a:cubicBezTo>
                  <a:pt x="7794848" y="841744"/>
                  <a:pt x="7765896" y="812789"/>
                  <a:pt x="7765896" y="777076"/>
                </a:cubicBezTo>
                <a:cubicBezTo>
                  <a:pt x="7765896" y="741365"/>
                  <a:pt x="7794848" y="712411"/>
                  <a:pt x="7830562" y="712411"/>
                </a:cubicBezTo>
                <a:close/>
                <a:moveTo>
                  <a:pt x="7212096" y="712411"/>
                </a:moveTo>
                <a:cubicBezTo>
                  <a:pt x="7247810" y="712411"/>
                  <a:pt x="7276762" y="741365"/>
                  <a:pt x="7276762" y="777076"/>
                </a:cubicBezTo>
                <a:cubicBezTo>
                  <a:pt x="7276762" y="812789"/>
                  <a:pt x="7247810" y="841744"/>
                  <a:pt x="7212096" y="841744"/>
                </a:cubicBezTo>
                <a:cubicBezTo>
                  <a:pt x="7176382" y="841744"/>
                  <a:pt x="7147430" y="812789"/>
                  <a:pt x="7147430" y="777076"/>
                </a:cubicBezTo>
                <a:cubicBezTo>
                  <a:pt x="7147430" y="741365"/>
                  <a:pt x="7176382" y="712411"/>
                  <a:pt x="7212096" y="712411"/>
                </a:cubicBezTo>
                <a:close/>
                <a:moveTo>
                  <a:pt x="6429229" y="712411"/>
                </a:moveTo>
                <a:cubicBezTo>
                  <a:pt x="6464943" y="712411"/>
                  <a:pt x="6493895" y="741365"/>
                  <a:pt x="6493895" y="777076"/>
                </a:cubicBezTo>
                <a:cubicBezTo>
                  <a:pt x="6493895" y="812789"/>
                  <a:pt x="6464943" y="841745"/>
                  <a:pt x="6429229" y="841745"/>
                </a:cubicBezTo>
                <a:cubicBezTo>
                  <a:pt x="6393515" y="841745"/>
                  <a:pt x="6364563" y="812789"/>
                  <a:pt x="6364563" y="777076"/>
                </a:cubicBezTo>
                <a:cubicBezTo>
                  <a:pt x="6364563" y="741365"/>
                  <a:pt x="6393515" y="712411"/>
                  <a:pt x="6429229" y="712411"/>
                </a:cubicBezTo>
                <a:close/>
                <a:moveTo>
                  <a:pt x="6276571" y="712411"/>
                </a:moveTo>
                <a:cubicBezTo>
                  <a:pt x="6312285" y="712411"/>
                  <a:pt x="6341237" y="741365"/>
                  <a:pt x="6341237" y="777076"/>
                </a:cubicBezTo>
                <a:cubicBezTo>
                  <a:pt x="6341237" y="812789"/>
                  <a:pt x="6312285" y="841745"/>
                  <a:pt x="6276571" y="841745"/>
                </a:cubicBezTo>
                <a:cubicBezTo>
                  <a:pt x="6240857" y="841745"/>
                  <a:pt x="6211905" y="812789"/>
                  <a:pt x="6211905" y="777076"/>
                </a:cubicBezTo>
                <a:cubicBezTo>
                  <a:pt x="6211905" y="741365"/>
                  <a:pt x="6240857" y="712411"/>
                  <a:pt x="6276571" y="712411"/>
                </a:cubicBezTo>
                <a:close/>
                <a:moveTo>
                  <a:pt x="10312248" y="712410"/>
                </a:moveTo>
                <a:cubicBezTo>
                  <a:pt x="10347962" y="712410"/>
                  <a:pt x="10376914" y="741365"/>
                  <a:pt x="10376914" y="777076"/>
                </a:cubicBezTo>
                <a:cubicBezTo>
                  <a:pt x="10376914" y="812788"/>
                  <a:pt x="10347962" y="841743"/>
                  <a:pt x="10312248" y="841743"/>
                </a:cubicBezTo>
                <a:cubicBezTo>
                  <a:pt x="10276534" y="841743"/>
                  <a:pt x="10247582" y="812788"/>
                  <a:pt x="10247582" y="777076"/>
                </a:cubicBezTo>
                <a:cubicBezTo>
                  <a:pt x="10247582" y="741365"/>
                  <a:pt x="10276534" y="712410"/>
                  <a:pt x="10312248" y="712410"/>
                </a:cubicBezTo>
                <a:close/>
                <a:moveTo>
                  <a:pt x="10159588" y="712410"/>
                </a:moveTo>
                <a:cubicBezTo>
                  <a:pt x="10195302" y="712410"/>
                  <a:pt x="10224254" y="741365"/>
                  <a:pt x="10224254" y="777076"/>
                </a:cubicBezTo>
                <a:cubicBezTo>
                  <a:pt x="10224254" y="812788"/>
                  <a:pt x="10195302" y="841744"/>
                  <a:pt x="10159588" y="841744"/>
                </a:cubicBezTo>
                <a:cubicBezTo>
                  <a:pt x="10123874" y="841744"/>
                  <a:pt x="10094922" y="812788"/>
                  <a:pt x="10094922" y="777076"/>
                </a:cubicBezTo>
                <a:cubicBezTo>
                  <a:pt x="10094922" y="741365"/>
                  <a:pt x="10123874" y="712410"/>
                  <a:pt x="10159588" y="712410"/>
                </a:cubicBezTo>
                <a:close/>
                <a:moveTo>
                  <a:pt x="10003016" y="712410"/>
                </a:moveTo>
                <a:cubicBezTo>
                  <a:pt x="10038730" y="712410"/>
                  <a:pt x="10067682" y="741365"/>
                  <a:pt x="10067682" y="777076"/>
                </a:cubicBezTo>
                <a:cubicBezTo>
                  <a:pt x="10067682" y="812789"/>
                  <a:pt x="10038730" y="841744"/>
                  <a:pt x="10003016" y="841744"/>
                </a:cubicBezTo>
                <a:cubicBezTo>
                  <a:pt x="9967302" y="841744"/>
                  <a:pt x="9938350" y="812789"/>
                  <a:pt x="9938350" y="777076"/>
                </a:cubicBezTo>
                <a:cubicBezTo>
                  <a:pt x="9938350" y="741365"/>
                  <a:pt x="9967302" y="712410"/>
                  <a:pt x="10003016" y="712410"/>
                </a:cubicBezTo>
                <a:close/>
                <a:moveTo>
                  <a:pt x="9850358" y="712410"/>
                </a:moveTo>
                <a:cubicBezTo>
                  <a:pt x="9886072" y="712410"/>
                  <a:pt x="9915024" y="741365"/>
                  <a:pt x="9915024" y="777076"/>
                </a:cubicBezTo>
                <a:cubicBezTo>
                  <a:pt x="9915024" y="812789"/>
                  <a:pt x="9886072" y="841744"/>
                  <a:pt x="9850358" y="841744"/>
                </a:cubicBezTo>
                <a:cubicBezTo>
                  <a:pt x="9814644" y="841744"/>
                  <a:pt x="9785692" y="812789"/>
                  <a:pt x="9785692" y="777076"/>
                </a:cubicBezTo>
                <a:cubicBezTo>
                  <a:pt x="9785692" y="741365"/>
                  <a:pt x="9814644" y="712410"/>
                  <a:pt x="9850358" y="712410"/>
                </a:cubicBezTo>
                <a:close/>
                <a:moveTo>
                  <a:pt x="9693783" y="712410"/>
                </a:moveTo>
                <a:cubicBezTo>
                  <a:pt x="9729497" y="712410"/>
                  <a:pt x="9758449" y="741365"/>
                  <a:pt x="9758449" y="777076"/>
                </a:cubicBezTo>
                <a:cubicBezTo>
                  <a:pt x="9758449" y="812789"/>
                  <a:pt x="9729497" y="841744"/>
                  <a:pt x="9693783" y="841744"/>
                </a:cubicBezTo>
                <a:cubicBezTo>
                  <a:pt x="9658069" y="841744"/>
                  <a:pt x="9629117" y="812789"/>
                  <a:pt x="9629117" y="777076"/>
                </a:cubicBezTo>
                <a:cubicBezTo>
                  <a:pt x="9629117" y="741365"/>
                  <a:pt x="9658069" y="712410"/>
                  <a:pt x="9693783" y="712410"/>
                </a:cubicBezTo>
                <a:close/>
                <a:moveTo>
                  <a:pt x="9541123" y="712410"/>
                </a:moveTo>
                <a:cubicBezTo>
                  <a:pt x="9576837" y="712410"/>
                  <a:pt x="9605789" y="741365"/>
                  <a:pt x="9605789" y="777076"/>
                </a:cubicBezTo>
                <a:cubicBezTo>
                  <a:pt x="9605789" y="812789"/>
                  <a:pt x="9576837" y="841744"/>
                  <a:pt x="9541123" y="841744"/>
                </a:cubicBezTo>
                <a:cubicBezTo>
                  <a:pt x="9505409" y="841744"/>
                  <a:pt x="9476457" y="812789"/>
                  <a:pt x="9476457" y="777076"/>
                </a:cubicBezTo>
                <a:cubicBezTo>
                  <a:pt x="9476457" y="741365"/>
                  <a:pt x="9505409" y="712410"/>
                  <a:pt x="9541123" y="712410"/>
                </a:cubicBezTo>
                <a:close/>
                <a:moveTo>
                  <a:pt x="4409471" y="712409"/>
                </a:moveTo>
                <a:cubicBezTo>
                  <a:pt x="4445169" y="712409"/>
                  <a:pt x="4474113" y="741363"/>
                  <a:pt x="4474113" y="777074"/>
                </a:cubicBezTo>
                <a:cubicBezTo>
                  <a:pt x="4474113" y="812788"/>
                  <a:pt x="4445169" y="841743"/>
                  <a:pt x="4409471" y="841743"/>
                </a:cubicBezTo>
                <a:cubicBezTo>
                  <a:pt x="4373772" y="841743"/>
                  <a:pt x="4344809" y="812788"/>
                  <a:pt x="4344809" y="777074"/>
                </a:cubicBezTo>
                <a:cubicBezTo>
                  <a:pt x="4344809" y="741363"/>
                  <a:pt x="4373772" y="712409"/>
                  <a:pt x="4409471" y="712409"/>
                </a:cubicBezTo>
                <a:close/>
                <a:moveTo>
                  <a:pt x="4256823" y="712409"/>
                </a:moveTo>
                <a:cubicBezTo>
                  <a:pt x="4292543" y="712409"/>
                  <a:pt x="4321471" y="741363"/>
                  <a:pt x="4321471" y="777074"/>
                </a:cubicBezTo>
                <a:cubicBezTo>
                  <a:pt x="4321471" y="812788"/>
                  <a:pt x="4292543" y="841743"/>
                  <a:pt x="4256823" y="841743"/>
                </a:cubicBezTo>
                <a:cubicBezTo>
                  <a:pt x="4221105" y="841743"/>
                  <a:pt x="4192125" y="812788"/>
                  <a:pt x="4192125" y="777074"/>
                </a:cubicBezTo>
                <a:cubicBezTo>
                  <a:pt x="4192125" y="741363"/>
                  <a:pt x="4221105" y="712409"/>
                  <a:pt x="4256823" y="712409"/>
                </a:cubicBezTo>
                <a:close/>
                <a:moveTo>
                  <a:pt x="4100255" y="712409"/>
                </a:moveTo>
                <a:cubicBezTo>
                  <a:pt x="4135957" y="712409"/>
                  <a:pt x="4164923" y="741363"/>
                  <a:pt x="4164923" y="777074"/>
                </a:cubicBezTo>
                <a:cubicBezTo>
                  <a:pt x="4164923" y="812788"/>
                  <a:pt x="4135957" y="841743"/>
                  <a:pt x="4100255" y="841743"/>
                </a:cubicBezTo>
                <a:cubicBezTo>
                  <a:pt x="4064528" y="841743"/>
                  <a:pt x="4035594" y="812788"/>
                  <a:pt x="4035594" y="777074"/>
                </a:cubicBezTo>
                <a:cubicBezTo>
                  <a:pt x="4035594" y="741363"/>
                  <a:pt x="4064528" y="712409"/>
                  <a:pt x="4100255" y="712409"/>
                </a:cubicBezTo>
                <a:close/>
                <a:moveTo>
                  <a:pt x="3947579" y="712409"/>
                </a:moveTo>
                <a:cubicBezTo>
                  <a:pt x="3983297" y="712409"/>
                  <a:pt x="4012257" y="741363"/>
                  <a:pt x="4012257" y="777074"/>
                </a:cubicBezTo>
                <a:cubicBezTo>
                  <a:pt x="4012257" y="812788"/>
                  <a:pt x="3983297" y="841743"/>
                  <a:pt x="3947579" y="841743"/>
                </a:cubicBezTo>
                <a:cubicBezTo>
                  <a:pt x="3912007" y="841743"/>
                  <a:pt x="3883058" y="812788"/>
                  <a:pt x="3883058" y="777074"/>
                </a:cubicBezTo>
                <a:cubicBezTo>
                  <a:pt x="3883058" y="741363"/>
                  <a:pt x="3912007" y="712409"/>
                  <a:pt x="3947579" y="712409"/>
                </a:cubicBezTo>
                <a:close/>
                <a:moveTo>
                  <a:pt x="3791150" y="712409"/>
                </a:moveTo>
                <a:cubicBezTo>
                  <a:pt x="3826861" y="712409"/>
                  <a:pt x="3855819" y="741363"/>
                  <a:pt x="3855819" y="777074"/>
                </a:cubicBezTo>
                <a:cubicBezTo>
                  <a:pt x="3855819" y="812788"/>
                  <a:pt x="3826861" y="841743"/>
                  <a:pt x="3791150" y="841743"/>
                </a:cubicBezTo>
                <a:cubicBezTo>
                  <a:pt x="3755431" y="841743"/>
                  <a:pt x="3726477" y="812788"/>
                  <a:pt x="3726477" y="777074"/>
                </a:cubicBezTo>
                <a:cubicBezTo>
                  <a:pt x="3726477" y="741363"/>
                  <a:pt x="3755431" y="712409"/>
                  <a:pt x="3791150" y="712409"/>
                </a:cubicBezTo>
                <a:close/>
                <a:moveTo>
                  <a:pt x="3012174" y="712409"/>
                </a:moveTo>
                <a:cubicBezTo>
                  <a:pt x="3047883" y="712409"/>
                  <a:pt x="3076841" y="741363"/>
                  <a:pt x="3076841" y="777074"/>
                </a:cubicBezTo>
                <a:cubicBezTo>
                  <a:pt x="3076841" y="812788"/>
                  <a:pt x="3047883" y="841743"/>
                  <a:pt x="3012174" y="841743"/>
                </a:cubicBezTo>
                <a:cubicBezTo>
                  <a:pt x="2976463" y="841743"/>
                  <a:pt x="2947515" y="812788"/>
                  <a:pt x="2947515" y="777074"/>
                </a:cubicBezTo>
                <a:cubicBezTo>
                  <a:pt x="2947515" y="741363"/>
                  <a:pt x="2976463" y="712409"/>
                  <a:pt x="3012174" y="712409"/>
                </a:cubicBezTo>
                <a:close/>
                <a:moveTo>
                  <a:pt x="2855626" y="712409"/>
                </a:moveTo>
                <a:cubicBezTo>
                  <a:pt x="2891329" y="712409"/>
                  <a:pt x="2920277" y="741363"/>
                  <a:pt x="2920277" y="777074"/>
                </a:cubicBezTo>
                <a:cubicBezTo>
                  <a:pt x="2920277" y="812788"/>
                  <a:pt x="2891329" y="841743"/>
                  <a:pt x="2855626" y="841743"/>
                </a:cubicBezTo>
                <a:cubicBezTo>
                  <a:pt x="2819918" y="841743"/>
                  <a:pt x="2790967" y="812788"/>
                  <a:pt x="2790967" y="777074"/>
                </a:cubicBezTo>
                <a:cubicBezTo>
                  <a:pt x="2790967" y="741363"/>
                  <a:pt x="2819918" y="712409"/>
                  <a:pt x="2855626" y="712409"/>
                </a:cubicBezTo>
                <a:close/>
                <a:moveTo>
                  <a:pt x="2699077" y="712409"/>
                </a:moveTo>
                <a:cubicBezTo>
                  <a:pt x="2734785" y="712409"/>
                  <a:pt x="2763730" y="741365"/>
                  <a:pt x="2763730" y="777074"/>
                </a:cubicBezTo>
                <a:cubicBezTo>
                  <a:pt x="2763730" y="812788"/>
                  <a:pt x="2734785" y="841743"/>
                  <a:pt x="2699077" y="841743"/>
                </a:cubicBezTo>
                <a:cubicBezTo>
                  <a:pt x="2663369" y="841743"/>
                  <a:pt x="2634422" y="812788"/>
                  <a:pt x="2634422" y="777074"/>
                </a:cubicBezTo>
                <a:cubicBezTo>
                  <a:pt x="2634422" y="741365"/>
                  <a:pt x="2663369" y="712409"/>
                  <a:pt x="2699077" y="712409"/>
                </a:cubicBezTo>
                <a:close/>
                <a:moveTo>
                  <a:pt x="2546443" y="712409"/>
                </a:moveTo>
                <a:cubicBezTo>
                  <a:pt x="2582152" y="712409"/>
                  <a:pt x="2611099" y="741365"/>
                  <a:pt x="2611099" y="777074"/>
                </a:cubicBezTo>
                <a:cubicBezTo>
                  <a:pt x="2611099" y="812788"/>
                  <a:pt x="2582152" y="841743"/>
                  <a:pt x="2546443" y="841743"/>
                </a:cubicBezTo>
                <a:cubicBezTo>
                  <a:pt x="2510718" y="841743"/>
                  <a:pt x="2481784" y="812788"/>
                  <a:pt x="2481784" y="777074"/>
                </a:cubicBezTo>
                <a:cubicBezTo>
                  <a:pt x="2481784" y="741365"/>
                  <a:pt x="2510718" y="712409"/>
                  <a:pt x="2546443" y="712409"/>
                </a:cubicBezTo>
                <a:close/>
                <a:moveTo>
                  <a:pt x="2389866" y="712409"/>
                </a:moveTo>
                <a:cubicBezTo>
                  <a:pt x="2425605" y="712409"/>
                  <a:pt x="2454550" y="741365"/>
                  <a:pt x="2454550" y="777074"/>
                </a:cubicBezTo>
                <a:cubicBezTo>
                  <a:pt x="2454550" y="812788"/>
                  <a:pt x="2425605" y="841743"/>
                  <a:pt x="2389866" y="841743"/>
                </a:cubicBezTo>
                <a:cubicBezTo>
                  <a:pt x="2354173" y="841743"/>
                  <a:pt x="2325211" y="812788"/>
                  <a:pt x="2325211" y="777074"/>
                </a:cubicBezTo>
                <a:cubicBezTo>
                  <a:pt x="2325211" y="741365"/>
                  <a:pt x="2354173" y="712409"/>
                  <a:pt x="2389866" y="712409"/>
                </a:cubicBezTo>
                <a:close/>
                <a:moveTo>
                  <a:pt x="2237188" y="712409"/>
                </a:moveTo>
                <a:cubicBezTo>
                  <a:pt x="2272914" y="712409"/>
                  <a:pt x="2301876" y="741365"/>
                  <a:pt x="2301876" y="777075"/>
                </a:cubicBezTo>
                <a:cubicBezTo>
                  <a:pt x="2301876" y="812788"/>
                  <a:pt x="2272914" y="841743"/>
                  <a:pt x="2237188" y="841743"/>
                </a:cubicBezTo>
                <a:cubicBezTo>
                  <a:pt x="2201464" y="841743"/>
                  <a:pt x="2172504" y="812788"/>
                  <a:pt x="2172504" y="777075"/>
                </a:cubicBezTo>
                <a:cubicBezTo>
                  <a:pt x="2172504" y="741365"/>
                  <a:pt x="2201464" y="712409"/>
                  <a:pt x="2237188" y="712409"/>
                </a:cubicBezTo>
                <a:close/>
                <a:moveTo>
                  <a:pt x="2084508" y="712409"/>
                </a:moveTo>
                <a:cubicBezTo>
                  <a:pt x="2120222" y="712409"/>
                  <a:pt x="2149169" y="741365"/>
                  <a:pt x="2149169" y="777075"/>
                </a:cubicBezTo>
                <a:cubicBezTo>
                  <a:pt x="2149169" y="812788"/>
                  <a:pt x="2120222" y="841743"/>
                  <a:pt x="2084508" y="841743"/>
                </a:cubicBezTo>
                <a:cubicBezTo>
                  <a:pt x="2048776" y="841743"/>
                  <a:pt x="2019865" y="812788"/>
                  <a:pt x="2019865" y="777075"/>
                </a:cubicBezTo>
                <a:cubicBezTo>
                  <a:pt x="2019865" y="741365"/>
                  <a:pt x="2048776" y="712409"/>
                  <a:pt x="2084508" y="712409"/>
                </a:cubicBezTo>
                <a:close/>
                <a:moveTo>
                  <a:pt x="1927912" y="712409"/>
                </a:moveTo>
                <a:cubicBezTo>
                  <a:pt x="1963627" y="712409"/>
                  <a:pt x="1992606" y="741365"/>
                  <a:pt x="1992606" y="777075"/>
                </a:cubicBezTo>
                <a:cubicBezTo>
                  <a:pt x="1992606" y="812788"/>
                  <a:pt x="1963627" y="841743"/>
                  <a:pt x="1927912" y="841743"/>
                </a:cubicBezTo>
                <a:cubicBezTo>
                  <a:pt x="1892243" y="841743"/>
                  <a:pt x="1863284" y="812788"/>
                  <a:pt x="1863284" y="777075"/>
                </a:cubicBezTo>
                <a:cubicBezTo>
                  <a:pt x="1863284" y="741365"/>
                  <a:pt x="1892243" y="712409"/>
                  <a:pt x="1927912" y="712409"/>
                </a:cubicBezTo>
                <a:close/>
                <a:moveTo>
                  <a:pt x="1775266" y="712409"/>
                </a:moveTo>
                <a:cubicBezTo>
                  <a:pt x="1810968" y="712409"/>
                  <a:pt x="1839957" y="741365"/>
                  <a:pt x="1839957" y="777075"/>
                </a:cubicBezTo>
                <a:cubicBezTo>
                  <a:pt x="1839957" y="812788"/>
                  <a:pt x="1810968" y="841743"/>
                  <a:pt x="1775266" y="841743"/>
                </a:cubicBezTo>
                <a:cubicBezTo>
                  <a:pt x="1739546" y="841743"/>
                  <a:pt x="1710593" y="812788"/>
                  <a:pt x="1710593" y="777075"/>
                </a:cubicBezTo>
                <a:cubicBezTo>
                  <a:pt x="1710593" y="741365"/>
                  <a:pt x="1739546" y="712409"/>
                  <a:pt x="1775266" y="712409"/>
                </a:cubicBezTo>
                <a:close/>
                <a:moveTo>
                  <a:pt x="1618680" y="712409"/>
                </a:moveTo>
                <a:cubicBezTo>
                  <a:pt x="1654401" y="712409"/>
                  <a:pt x="1683351" y="741365"/>
                  <a:pt x="1683351" y="777075"/>
                </a:cubicBezTo>
                <a:cubicBezTo>
                  <a:pt x="1683351" y="812788"/>
                  <a:pt x="1654401" y="841743"/>
                  <a:pt x="1618680" y="841743"/>
                </a:cubicBezTo>
                <a:cubicBezTo>
                  <a:pt x="1582969" y="841743"/>
                  <a:pt x="1554018" y="812788"/>
                  <a:pt x="1554018" y="777075"/>
                </a:cubicBezTo>
                <a:cubicBezTo>
                  <a:pt x="1554018" y="741365"/>
                  <a:pt x="1582969" y="712409"/>
                  <a:pt x="1618680" y="712409"/>
                </a:cubicBezTo>
                <a:close/>
                <a:moveTo>
                  <a:pt x="1466022" y="712409"/>
                </a:moveTo>
                <a:cubicBezTo>
                  <a:pt x="1501736" y="712409"/>
                  <a:pt x="1530689" y="741365"/>
                  <a:pt x="1530689" y="777075"/>
                </a:cubicBezTo>
                <a:cubicBezTo>
                  <a:pt x="1530689" y="812788"/>
                  <a:pt x="1501736" y="841743"/>
                  <a:pt x="1466022" y="841743"/>
                </a:cubicBezTo>
                <a:cubicBezTo>
                  <a:pt x="1430309" y="841743"/>
                  <a:pt x="1401359" y="812788"/>
                  <a:pt x="1401359" y="777075"/>
                </a:cubicBezTo>
                <a:cubicBezTo>
                  <a:pt x="1401359" y="741365"/>
                  <a:pt x="1430309" y="712409"/>
                  <a:pt x="1466022" y="712409"/>
                </a:cubicBezTo>
                <a:close/>
                <a:moveTo>
                  <a:pt x="6119999" y="712409"/>
                </a:moveTo>
                <a:cubicBezTo>
                  <a:pt x="6155713" y="712409"/>
                  <a:pt x="6184665" y="741363"/>
                  <a:pt x="6184665" y="777074"/>
                </a:cubicBezTo>
                <a:cubicBezTo>
                  <a:pt x="6184665" y="812788"/>
                  <a:pt x="6155713" y="841743"/>
                  <a:pt x="6119999" y="841743"/>
                </a:cubicBezTo>
                <a:cubicBezTo>
                  <a:pt x="6084285" y="841743"/>
                  <a:pt x="6055333" y="812788"/>
                  <a:pt x="6055333" y="777074"/>
                </a:cubicBezTo>
                <a:cubicBezTo>
                  <a:pt x="6055333" y="741363"/>
                  <a:pt x="6084285" y="712409"/>
                  <a:pt x="6119999" y="712409"/>
                </a:cubicBezTo>
                <a:close/>
                <a:moveTo>
                  <a:pt x="4722614" y="712409"/>
                </a:moveTo>
                <a:cubicBezTo>
                  <a:pt x="4758338" y="712409"/>
                  <a:pt x="4787277" y="741363"/>
                  <a:pt x="4787277" y="777074"/>
                </a:cubicBezTo>
                <a:cubicBezTo>
                  <a:pt x="4787277" y="812788"/>
                  <a:pt x="4758338" y="841743"/>
                  <a:pt x="4722614" y="841743"/>
                </a:cubicBezTo>
                <a:cubicBezTo>
                  <a:pt x="4686908" y="841743"/>
                  <a:pt x="4657957" y="812788"/>
                  <a:pt x="4657957" y="777074"/>
                </a:cubicBezTo>
                <a:cubicBezTo>
                  <a:pt x="4657957" y="741363"/>
                  <a:pt x="4686908" y="712409"/>
                  <a:pt x="4722614" y="712409"/>
                </a:cubicBezTo>
                <a:close/>
                <a:moveTo>
                  <a:pt x="4566030" y="712409"/>
                </a:moveTo>
                <a:cubicBezTo>
                  <a:pt x="4601751" y="712409"/>
                  <a:pt x="4630712" y="741363"/>
                  <a:pt x="4630712" y="777074"/>
                </a:cubicBezTo>
                <a:cubicBezTo>
                  <a:pt x="4630712" y="812788"/>
                  <a:pt x="4601751" y="841743"/>
                  <a:pt x="4566030" y="841743"/>
                </a:cubicBezTo>
                <a:cubicBezTo>
                  <a:pt x="4530304" y="841743"/>
                  <a:pt x="4501345" y="812788"/>
                  <a:pt x="4501345" y="777074"/>
                </a:cubicBezTo>
                <a:cubicBezTo>
                  <a:pt x="4501345" y="741363"/>
                  <a:pt x="4530304" y="712409"/>
                  <a:pt x="4566030" y="712409"/>
                </a:cubicBezTo>
                <a:close/>
                <a:moveTo>
                  <a:pt x="9541123" y="579326"/>
                </a:moveTo>
                <a:cubicBezTo>
                  <a:pt x="9576837" y="579326"/>
                  <a:pt x="9605789" y="608276"/>
                  <a:pt x="9605789" y="643991"/>
                </a:cubicBezTo>
                <a:cubicBezTo>
                  <a:pt x="9605789" y="679704"/>
                  <a:pt x="9576837" y="708656"/>
                  <a:pt x="9541123" y="708656"/>
                </a:cubicBezTo>
                <a:cubicBezTo>
                  <a:pt x="9505409" y="708656"/>
                  <a:pt x="9476457" y="679704"/>
                  <a:pt x="9476457" y="643991"/>
                </a:cubicBezTo>
                <a:cubicBezTo>
                  <a:pt x="9476457" y="608276"/>
                  <a:pt x="9505409" y="579326"/>
                  <a:pt x="9541123" y="579326"/>
                </a:cubicBezTo>
                <a:close/>
                <a:moveTo>
                  <a:pt x="9384550" y="579326"/>
                </a:moveTo>
                <a:cubicBezTo>
                  <a:pt x="9420264" y="579326"/>
                  <a:pt x="9449216" y="608276"/>
                  <a:pt x="9449216" y="643991"/>
                </a:cubicBezTo>
                <a:cubicBezTo>
                  <a:pt x="9449216" y="679704"/>
                  <a:pt x="9420264" y="708656"/>
                  <a:pt x="9384550" y="708656"/>
                </a:cubicBezTo>
                <a:cubicBezTo>
                  <a:pt x="9348836" y="708656"/>
                  <a:pt x="9319884" y="679704"/>
                  <a:pt x="9319884" y="643991"/>
                </a:cubicBezTo>
                <a:cubicBezTo>
                  <a:pt x="9319884" y="608276"/>
                  <a:pt x="9348836" y="579326"/>
                  <a:pt x="9384550" y="579326"/>
                </a:cubicBezTo>
                <a:close/>
                <a:moveTo>
                  <a:pt x="9227977" y="579326"/>
                </a:moveTo>
                <a:cubicBezTo>
                  <a:pt x="9263691" y="579326"/>
                  <a:pt x="9292643" y="608276"/>
                  <a:pt x="9292643" y="643991"/>
                </a:cubicBezTo>
                <a:cubicBezTo>
                  <a:pt x="9292643" y="679704"/>
                  <a:pt x="9263691" y="708656"/>
                  <a:pt x="9227977" y="708656"/>
                </a:cubicBezTo>
                <a:cubicBezTo>
                  <a:pt x="9192263" y="708656"/>
                  <a:pt x="9163311" y="679704"/>
                  <a:pt x="9163311" y="643991"/>
                </a:cubicBezTo>
                <a:cubicBezTo>
                  <a:pt x="9163311" y="608276"/>
                  <a:pt x="9192263" y="579326"/>
                  <a:pt x="9227977" y="579326"/>
                </a:cubicBezTo>
                <a:close/>
                <a:moveTo>
                  <a:pt x="9075319" y="579326"/>
                </a:moveTo>
                <a:cubicBezTo>
                  <a:pt x="9111033" y="579326"/>
                  <a:pt x="9139985" y="608276"/>
                  <a:pt x="9139985" y="643992"/>
                </a:cubicBezTo>
                <a:cubicBezTo>
                  <a:pt x="9139985" y="679704"/>
                  <a:pt x="9111033" y="708656"/>
                  <a:pt x="9075319" y="708656"/>
                </a:cubicBezTo>
                <a:cubicBezTo>
                  <a:pt x="9039605" y="708656"/>
                  <a:pt x="9010653" y="679704"/>
                  <a:pt x="9010653" y="643992"/>
                </a:cubicBezTo>
                <a:cubicBezTo>
                  <a:pt x="9010653" y="608276"/>
                  <a:pt x="9039605" y="579326"/>
                  <a:pt x="9075319" y="579326"/>
                </a:cubicBezTo>
                <a:close/>
                <a:moveTo>
                  <a:pt x="8914831" y="579326"/>
                </a:moveTo>
                <a:cubicBezTo>
                  <a:pt x="8950545" y="579326"/>
                  <a:pt x="8979497" y="608276"/>
                  <a:pt x="8979497" y="643992"/>
                </a:cubicBezTo>
                <a:cubicBezTo>
                  <a:pt x="8979497" y="679704"/>
                  <a:pt x="8950545" y="708656"/>
                  <a:pt x="8914831" y="708656"/>
                </a:cubicBezTo>
                <a:cubicBezTo>
                  <a:pt x="8879117" y="708656"/>
                  <a:pt x="8850165" y="679704"/>
                  <a:pt x="8850165" y="643992"/>
                </a:cubicBezTo>
                <a:cubicBezTo>
                  <a:pt x="8850165" y="608276"/>
                  <a:pt x="8879117" y="579326"/>
                  <a:pt x="8914831" y="579326"/>
                </a:cubicBezTo>
                <a:close/>
                <a:moveTo>
                  <a:pt x="8766086" y="579326"/>
                </a:moveTo>
                <a:cubicBezTo>
                  <a:pt x="8801800" y="579326"/>
                  <a:pt x="8830752" y="608276"/>
                  <a:pt x="8830752" y="643992"/>
                </a:cubicBezTo>
                <a:cubicBezTo>
                  <a:pt x="8830752" y="679704"/>
                  <a:pt x="8801800" y="708656"/>
                  <a:pt x="8766086" y="708656"/>
                </a:cubicBezTo>
                <a:cubicBezTo>
                  <a:pt x="8730372" y="708656"/>
                  <a:pt x="8701420" y="679704"/>
                  <a:pt x="8701420" y="643992"/>
                </a:cubicBezTo>
                <a:cubicBezTo>
                  <a:pt x="8701420" y="608276"/>
                  <a:pt x="8730372" y="579326"/>
                  <a:pt x="8766086" y="579326"/>
                </a:cubicBezTo>
                <a:close/>
                <a:moveTo>
                  <a:pt x="8601685" y="579326"/>
                </a:moveTo>
                <a:cubicBezTo>
                  <a:pt x="8637399" y="579326"/>
                  <a:pt x="8666351" y="608276"/>
                  <a:pt x="8666351" y="643992"/>
                </a:cubicBezTo>
                <a:cubicBezTo>
                  <a:pt x="8666351" y="679704"/>
                  <a:pt x="8637399" y="708656"/>
                  <a:pt x="8601685" y="708656"/>
                </a:cubicBezTo>
                <a:cubicBezTo>
                  <a:pt x="8565971" y="708656"/>
                  <a:pt x="8537019" y="679704"/>
                  <a:pt x="8537019" y="643992"/>
                </a:cubicBezTo>
                <a:cubicBezTo>
                  <a:pt x="8537019" y="608276"/>
                  <a:pt x="8565971" y="579326"/>
                  <a:pt x="8601685" y="579326"/>
                </a:cubicBezTo>
                <a:close/>
                <a:moveTo>
                  <a:pt x="8449025" y="579326"/>
                </a:moveTo>
                <a:cubicBezTo>
                  <a:pt x="8484739" y="579326"/>
                  <a:pt x="8513691" y="608276"/>
                  <a:pt x="8513691" y="643992"/>
                </a:cubicBezTo>
                <a:cubicBezTo>
                  <a:pt x="8513691" y="679704"/>
                  <a:pt x="8484739" y="708656"/>
                  <a:pt x="8449025" y="708656"/>
                </a:cubicBezTo>
                <a:cubicBezTo>
                  <a:pt x="8413311" y="708656"/>
                  <a:pt x="8384359" y="679704"/>
                  <a:pt x="8384359" y="643992"/>
                </a:cubicBezTo>
                <a:cubicBezTo>
                  <a:pt x="8384359" y="608276"/>
                  <a:pt x="8413311" y="579326"/>
                  <a:pt x="8449025" y="579326"/>
                </a:cubicBezTo>
                <a:close/>
                <a:moveTo>
                  <a:pt x="8296368" y="579326"/>
                </a:moveTo>
                <a:cubicBezTo>
                  <a:pt x="8332082" y="579326"/>
                  <a:pt x="8361034" y="608276"/>
                  <a:pt x="8361034" y="643992"/>
                </a:cubicBezTo>
                <a:cubicBezTo>
                  <a:pt x="8361034" y="679704"/>
                  <a:pt x="8332082" y="708656"/>
                  <a:pt x="8296368" y="708656"/>
                </a:cubicBezTo>
                <a:cubicBezTo>
                  <a:pt x="8260654" y="708656"/>
                  <a:pt x="8231702" y="679704"/>
                  <a:pt x="8231702" y="643992"/>
                </a:cubicBezTo>
                <a:cubicBezTo>
                  <a:pt x="8231702" y="608276"/>
                  <a:pt x="8260654" y="579326"/>
                  <a:pt x="8296368" y="579326"/>
                </a:cubicBezTo>
                <a:close/>
                <a:moveTo>
                  <a:pt x="8139793" y="579326"/>
                </a:moveTo>
                <a:cubicBezTo>
                  <a:pt x="8175507" y="579326"/>
                  <a:pt x="8204459" y="608276"/>
                  <a:pt x="8204459" y="643992"/>
                </a:cubicBezTo>
                <a:cubicBezTo>
                  <a:pt x="8204459" y="679704"/>
                  <a:pt x="8175507" y="708656"/>
                  <a:pt x="8139793" y="708656"/>
                </a:cubicBezTo>
                <a:cubicBezTo>
                  <a:pt x="8104079" y="708656"/>
                  <a:pt x="8075127" y="679704"/>
                  <a:pt x="8075127" y="643992"/>
                </a:cubicBezTo>
                <a:cubicBezTo>
                  <a:pt x="8075127" y="608276"/>
                  <a:pt x="8104079" y="579326"/>
                  <a:pt x="8139793" y="579326"/>
                </a:cubicBezTo>
                <a:close/>
                <a:moveTo>
                  <a:pt x="7368669" y="579326"/>
                </a:moveTo>
                <a:cubicBezTo>
                  <a:pt x="7404383" y="579326"/>
                  <a:pt x="7433335" y="608276"/>
                  <a:pt x="7433335" y="643992"/>
                </a:cubicBezTo>
                <a:cubicBezTo>
                  <a:pt x="7433335" y="679704"/>
                  <a:pt x="7404383" y="708658"/>
                  <a:pt x="7368669" y="708658"/>
                </a:cubicBezTo>
                <a:cubicBezTo>
                  <a:pt x="7332955" y="708658"/>
                  <a:pt x="7304003" y="679704"/>
                  <a:pt x="7304003" y="643992"/>
                </a:cubicBezTo>
                <a:cubicBezTo>
                  <a:pt x="7304003" y="608276"/>
                  <a:pt x="7332955" y="579326"/>
                  <a:pt x="7368669" y="579326"/>
                </a:cubicBezTo>
                <a:close/>
                <a:moveTo>
                  <a:pt x="4722614" y="579326"/>
                </a:moveTo>
                <a:cubicBezTo>
                  <a:pt x="4758338" y="579326"/>
                  <a:pt x="4787277" y="608276"/>
                  <a:pt x="4787277" y="643992"/>
                </a:cubicBezTo>
                <a:cubicBezTo>
                  <a:pt x="4787277" y="679704"/>
                  <a:pt x="4758338" y="708658"/>
                  <a:pt x="4722614" y="708658"/>
                </a:cubicBezTo>
                <a:cubicBezTo>
                  <a:pt x="4686908" y="708658"/>
                  <a:pt x="4657957" y="679704"/>
                  <a:pt x="4657957" y="643992"/>
                </a:cubicBezTo>
                <a:cubicBezTo>
                  <a:pt x="4657957" y="608276"/>
                  <a:pt x="4686908" y="579326"/>
                  <a:pt x="4722614" y="579326"/>
                </a:cubicBezTo>
                <a:close/>
                <a:moveTo>
                  <a:pt x="4566030" y="579326"/>
                </a:moveTo>
                <a:cubicBezTo>
                  <a:pt x="4601751" y="579326"/>
                  <a:pt x="4630712" y="608276"/>
                  <a:pt x="4630712" y="643992"/>
                </a:cubicBezTo>
                <a:cubicBezTo>
                  <a:pt x="4630712" y="679704"/>
                  <a:pt x="4601751" y="708658"/>
                  <a:pt x="4566030" y="708658"/>
                </a:cubicBezTo>
                <a:cubicBezTo>
                  <a:pt x="4530304" y="708658"/>
                  <a:pt x="4501345" y="679704"/>
                  <a:pt x="4501345" y="643992"/>
                </a:cubicBezTo>
                <a:cubicBezTo>
                  <a:pt x="4501345" y="608276"/>
                  <a:pt x="4530304" y="579326"/>
                  <a:pt x="4566030" y="579326"/>
                </a:cubicBezTo>
                <a:close/>
                <a:moveTo>
                  <a:pt x="4409471" y="579326"/>
                </a:moveTo>
                <a:cubicBezTo>
                  <a:pt x="4445169" y="579326"/>
                  <a:pt x="4474113" y="608276"/>
                  <a:pt x="4474113" y="643992"/>
                </a:cubicBezTo>
                <a:cubicBezTo>
                  <a:pt x="4474113" y="679704"/>
                  <a:pt x="4445169" y="708658"/>
                  <a:pt x="4409471" y="708658"/>
                </a:cubicBezTo>
                <a:cubicBezTo>
                  <a:pt x="4373772" y="708658"/>
                  <a:pt x="4344809" y="679704"/>
                  <a:pt x="4344809" y="643992"/>
                </a:cubicBezTo>
                <a:cubicBezTo>
                  <a:pt x="4344809" y="608276"/>
                  <a:pt x="4373772" y="579326"/>
                  <a:pt x="4409471" y="579326"/>
                </a:cubicBezTo>
                <a:close/>
                <a:moveTo>
                  <a:pt x="4256823" y="579326"/>
                </a:moveTo>
                <a:cubicBezTo>
                  <a:pt x="4292543" y="579326"/>
                  <a:pt x="4321471" y="608276"/>
                  <a:pt x="4321471" y="643992"/>
                </a:cubicBezTo>
                <a:cubicBezTo>
                  <a:pt x="4321471" y="679704"/>
                  <a:pt x="4292543" y="708658"/>
                  <a:pt x="4256823" y="708658"/>
                </a:cubicBezTo>
                <a:cubicBezTo>
                  <a:pt x="4221105" y="708658"/>
                  <a:pt x="4192125" y="679704"/>
                  <a:pt x="4192125" y="643992"/>
                </a:cubicBezTo>
                <a:cubicBezTo>
                  <a:pt x="4192125" y="608276"/>
                  <a:pt x="4221105" y="579326"/>
                  <a:pt x="4256823" y="579326"/>
                </a:cubicBezTo>
                <a:close/>
                <a:moveTo>
                  <a:pt x="4100255" y="579326"/>
                </a:moveTo>
                <a:cubicBezTo>
                  <a:pt x="4135957" y="579326"/>
                  <a:pt x="4164923" y="608276"/>
                  <a:pt x="4164923" y="643992"/>
                </a:cubicBezTo>
                <a:cubicBezTo>
                  <a:pt x="4164923" y="679704"/>
                  <a:pt x="4135957" y="708658"/>
                  <a:pt x="4100255" y="708658"/>
                </a:cubicBezTo>
                <a:cubicBezTo>
                  <a:pt x="4064528" y="708658"/>
                  <a:pt x="4035594" y="679704"/>
                  <a:pt x="4035594" y="643992"/>
                </a:cubicBezTo>
                <a:cubicBezTo>
                  <a:pt x="4035594" y="608276"/>
                  <a:pt x="4064528" y="579326"/>
                  <a:pt x="4100255" y="579326"/>
                </a:cubicBezTo>
                <a:close/>
                <a:moveTo>
                  <a:pt x="3947579" y="579326"/>
                </a:moveTo>
                <a:cubicBezTo>
                  <a:pt x="3983297" y="579326"/>
                  <a:pt x="4012257" y="608276"/>
                  <a:pt x="4012257" y="643992"/>
                </a:cubicBezTo>
                <a:cubicBezTo>
                  <a:pt x="4012257" y="679704"/>
                  <a:pt x="3983297" y="708658"/>
                  <a:pt x="3947579" y="708658"/>
                </a:cubicBezTo>
                <a:cubicBezTo>
                  <a:pt x="3912011" y="708658"/>
                  <a:pt x="3883063" y="679704"/>
                  <a:pt x="3883063" y="643992"/>
                </a:cubicBezTo>
                <a:cubicBezTo>
                  <a:pt x="3883063" y="608276"/>
                  <a:pt x="3912011" y="579326"/>
                  <a:pt x="3947579" y="579326"/>
                </a:cubicBezTo>
                <a:close/>
                <a:moveTo>
                  <a:pt x="3791157" y="579326"/>
                </a:moveTo>
                <a:cubicBezTo>
                  <a:pt x="3826864" y="579326"/>
                  <a:pt x="3855823" y="608276"/>
                  <a:pt x="3855823" y="643992"/>
                </a:cubicBezTo>
                <a:cubicBezTo>
                  <a:pt x="3855823" y="679704"/>
                  <a:pt x="3826864" y="708658"/>
                  <a:pt x="3791157" y="708658"/>
                </a:cubicBezTo>
                <a:cubicBezTo>
                  <a:pt x="3755435" y="708658"/>
                  <a:pt x="3726482" y="679704"/>
                  <a:pt x="3726482" y="643992"/>
                </a:cubicBezTo>
                <a:cubicBezTo>
                  <a:pt x="3726482" y="608276"/>
                  <a:pt x="3755435" y="579326"/>
                  <a:pt x="3791157" y="579326"/>
                </a:cubicBezTo>
                <a:close/>
                <a:moveTo>
                  <a:pt x="2855626" y="579326"/>
                </a:moveTo>
                <a:cubicBezTo>
                  <a:pt x="2891335" y="579326"/>
                  <a:pt x="2920280" y="608276"/>
                  <a:pt x="2920280" y="643992"/>
                </a:cubicBezTo>
                <a:cubicBezTo>
                  <a:pt x="2920280" y="679704"/>
                  <a:pt x="2891335" y="708658"/>
                  <a:pt x="2855626" y="708658"/>
                </a:cubicBezTo>
                <a:cubicBezTo>
                  <a:pt x="2819922" y="708658"/>
                  <a:pt x="2790969" y="679704"/>
                  <a:pt x="2790969" y="643992"/>
                </a:cubicBezTo>
                <a:cubicBezTo>
                  <a:pt x="2790969" y="608276"/>
                  <a:pt x="2819922" y="579326"/>
                  <a:pt x="2855626" y="579326"/>
                </a:cubicBezTo>
                <a:close/>
                <a:moveTo>
                  <a:pt x="2699081" y="579326"/>
                </a:moveTo>
                <a:cubicBezTo>
                  <a:pt x="2734789" y="579326"/>
                  <a:pt x="2763735" y="608276"/>
                  <a:pt x="2763735" y="643992"/>
                </a:cubicBezTo>
                <a:cubicBezTo>
                  <a:pt x="2763735" y="679704"/>
                  <a:pt x="2734789" y="708658"/>
                  <a:pt x="2699081" y="708658"/>
                </a:cubicBezTo>
                <a:cubicBezTo>
                  <a:pt x="2663374" y="708658"/>
                  <a:pt x="2634426" y="679704"/>
                  <a:pt x="2634426" y="643992"/>
                </a:cubicBezTo>
                <a:cubicBezTo>
                  <a:pt x="2634426" y="608276"/>
                  <a:pt x="2663374" y="579326"/>
                  <a:pt x="2699081" y="579326"/>
                </a:cubicBezTo>
                <a:close/>
                <a:moveTo>
                  <a:pt x="2546449" y="579326"/>
                </a:moveTo>
                <a:cubicBezTo>
                  <a:pt x="2582156" y="579326"/>
                  <a:pt x="2611104" y="608277"/>
                  <a:pt x="2611104" y="643992"/>
                </a:cubicBezTo>
                <a:cubicBezTo>
                  <a:pt x="2611104" y="679704"/>
                  <a:pt x="2582156" y="708658"/>
                  <a:pt x="2546449" y="708658"/>
                </a:cubicBezTo>
                <a:cubicBezTo>
                  <a:pt x="2510726" y="708658"/>
                  <a:pt x="2481790" y="679704"/>
                  <a:pt x="2481790" y="643992"/>
                </a:cubicBezTo>
                <a:cubicBezTo>
                  <a:pt x="2481790" y="608277"/>
                  <a:pt x="2510726" y="579326"/>
                  <a:pt x="2546449" y="579326"/>
                </a:cubicBezTo>
                <a:close/>
                <a:moveTo>
                  <a:pt x="2389866" y="579326"/>
                </a:moveTo>
                <a:cubicBezTo>
                  <a:pt x="2425606" y="579326"/>
                  <a:pt x="2454554" y="608277"/>
                  <a:pt x="2454554" y="643992"/>
                </a:cubicBezTo>
                <a:cubicBezTo>
                  <a:pt x="2454554" y="679704"/>
                  <a:pt x="2425606" y="708658"/>
                  <a:pt x="2389866" y="708658"/>
                </a:cubicBezTo>
                <a:cubicBezTo>
                  <a:pt x="2354175" y="708658"/>
                  <a:pt x="2325215" y="679704"/>
                  <a:pt x="2325215" y="643992"/>
                </a:cubicBezTo>
                <a:cubicBezTo>
                  <a:pt x="2325215" y="608277"/>
                  <a:pt x="2354175" y="579326"/>
                  <a:pt x="2389866" y="579326"/>
                </a:cubicBezTo>
                <a:close/>
                <a:moveTo>
                  <a:pt x="2237196" y="579326"/>
                </a:moveTo>
                <a:cubicBezTo>
                  <a:pt x="2272920" y="579326"/>
                  <a:pt x="2301879" y="608277"/>
                  <a:pt x="2301879" y="643992"/>
                </a:cubicBezTo>
                <a:cubicBezTo>
                  <a:pt x="2301879" y="679704"/>
                  <a:pt x="2272920" y="708658"/>
                  <a:pt x="2237196" y="708658"/>
                </a:cubicBezTo>
                <a:cubicBezTo>
                  <a:pt x="2201469" y="708658"/>
                  <a:pt x="2172508" y="679704"/>
                  <a:pt x="2172508" y="643992"/>
                </a:cubicBezTo>
                <a:cubicBezTo>
                  <a:pt x="2172508" y="608277"/>
                  <a:pt x="2201469" y="579326"/>
                  <a:pt x="2237196" y="579326"/>
                </a:cubicBezTo>
                <a:close/>
                <a:moveTo>
                  <a:pt x="2084510" y="579326"/>
                </a:moveTo>
                <a:cubicBezTo>
                  <a:pt x="2120226" y="579326"/>
                  <a:pt x="2149173" y="608277"/>
                  <a:pt x="2149173" y="643992"/>
                </a:cubicBezTo>
                <a:cubicBezTo>
                  <a:pt x="2149173" y="679704"/>
                  <a:pt x="2120226" y="708658"/>
                  <a:pt x="2084510" y="708658"/>
                </a:cubicBezTo>
                <a:cubicBezTo>
                  <a:pt x="2048780" y="708658"/>
                  <a:pt x="2019873" y="679704"/>
                  <a:pt x="2019873" y="643992"/>
                </a:cubicBezTo>
                <a:cubicBezTo>
                  <a:pt x="2019873" y="608277"/>
                  <a:pt x="2048780" y="579326"/>
                  <a:pt x="2084510" y="579326"/>
                </a:cubicBezTo>
                <a:close/>
                <a:moveTo>
                  <a:pt x="1927912" y="579326"/>
                </a:moveTo>
                <a:cubicBezTo>
                  <a:pt x="1963649" y="579326"/>
                  <a:pt x="1992614" y="608277"/>
                  <a:pt x="1992614" y="643992"/>
                </a:cubicBezTo>
                <a:cubicBezTo>
                  <a:pt x="1992614" y="679704"/>
                  <a:pt x="1963649" y="708658"/>
                  <a:pt x="1927912" y="708658"/>
                </a:cubicBezTo>
                <a:cubicBezTo>
                  <a:pt x="1892243" y="708658"/>
                  <a:pt x="1863289" y="679704"/>
                  <a:pt x="1863289" y="643992"/>
                </a:cubicBezTo>
                <a:cubicBezTo>
                  <a:pt x="1863289" y="608277"/>
                  <a:pt x="1892243" y="579326"/>
                  <a:pt x="1927912" y="579326"/>
                </a:cubicBezTo>
                <a:close/>
                <a:moveTo>
                  <a:pt x="1775269" y="579326"/>
                </a:moveTo>
                <a:cubicBezTo>
                  <a:pt x="1810972" y="579326"/>
                  <a:pt x="1839963" y="608277"/>
                  <a:pt x="1839963" y="643992"/>
                </a:cubicBezTo>
                <a:cubicBezTo>
                  <a:pt x="1839963" y="679704"/>
                  <a:pt x="1810972" y="708658"/>
                  <a:pt x="1775269" y="708658"/>
                </a:cubicBezTo>
                <a:cubicBezTo>
                  <a:pt x="1739546" y="708658"/>
                  <a:pt x="1710597" y="679704"/>
                  <a:pt x="1710597" y="643992"/>
                </a:cubicBezTo>
                <a:cubicBezTo>
                  <a:pt x="1710597" y="608277"/>
                  <a:pt x="1739546" y="579326"/>
                  <a:pt x="1775269" y="579326"/>
                </a:cubicBezTo>
                <a:close/>
                <a:moveTo>
                  <a:pt x="1618682" y="579326"/>
                </a:moveTo>
                <a:cubicBezTo>
                  <a:pt x="1654406" y="579326"/>
                  <a:pt x="1683355" y="608277"/>
                  <a:pt x="1683355" y="643992"/>
                </a:cubicBezTo>
                <a:cubicBezTo>
                  <a:pt x="1683355" y="679704"/>
                  <a:pt x="1654406" y="708658"/>
                  <a:pt x="1618682" y="708658"/>
                </a:cubicBezTo>
                <a:cubicBezTo>
                  <a:pt x="1582974" y="708658"/>
                  <a:pt x="1554022" y="679704"/>
                  <a:pt x="1554022" y="643992"/>
                </a:cubicBezTo>
                <a:cubicBezTo>
                  <a:pt x="1554022" y="608277"/>
                  <a:pt x="1582974" y="579326"/>
                  <a:pt x="1618682" y="579326"/>
                </a:cubicBezTo>
                <a:close/>
                <a:moveTo>
                  <a:pt x="1466025" y="579326"/>
                </a:moveTo>
                <a:cubicBezTo>
                  <a:pt x="1501741" y="579326"/>
                  <a:pt x="1530692" y="608277"/>
                  <a:pt x="1530692" y="643992"/>
                </a:cubicBezTo>
                <a:cubicBezTo>
                  <a:pt x="1530692" y="679704"/>
                  <a:pt x="1501741" y="708658"/>
                  <a:pt x="1466025" y="708658"/>
                </a:cubicBezTo>
                <a:cubicBezTo>
                  <a:pt x="1430312" y="708658"/>
                  <a:pt x="1401363" y="679704"/>
                  <a:pt x="1401363" y="643992"/>
                </a:cubicBezTo>
                <a:cubicBezTo>
                  <a:pt x="1401363" y="608277"/>
                  <a:pt x="1430312" y="579326"/>
                  <a:pt x="1466025" y="579326"/>
                </a:cubicBezTo>
                <a:close/>
                <a:moveTo>
                  <a:pt x="1466029" y="426670"/>
                </a:moveTo>
                <a:cubicBezTo>
                  <a:pt x="1501741" y="426670"/>
                  <a:pt x="1530694" y="455621"/>
                  <a:pt x="1530694" y="491334"/>
                </a:cubicBezTo>
                <a:cubicBezTo>
                  <a:pt x="1530694" y="527046"/>
                  <a:pt x="1501741" y="555998"/>
                  <a:pt x="1466029" y="555998"/>
                </a:cubicBezTo>
                <a:cubicBezTo>
                  <a:pt x="1430316" y="555998"/>
                  <a:pt x="1401363" y="527046"/>
                  <a:pt x="1401363" y="491334"/>
                </a:cubicBezTo>
                <a:cubicBezTo>
                  <a:pt x="1401363" y="455621"/>
                  <a:pt x="1430316" y="426670"/>
                  <a:pt x="1466029" y="426670"/>
                </a:cubicBezTo>
                <a:close/>
                <a:moveTo>
                  <a:pt x="2855634" y="426670"/>
                </a:moveTo>
                <a:cubicBezTo>
                  <a:pt x="2891335" y="426670"/>
                  <a:pt x="2920282" y="455621"/>
                  <a:pt x="2920282" y="491334"/>
                </a:cubicBezTo>
                <a:cubicBezTo>
                  <a:pt x="2920282" y="527046"/>
                  <a:pt x="2891335" y="555997"/>
                  <a:pt x="2855634" y="555997"/>
                </a:cubicBezTo>
                <a:cubicBezTo>
                  <a:pt x="2819922" y="555997"/>
                  <a:pt x="2790973" y="527046"/>
                  <a:pt x="2790973" y="491334"/>
                </a:cubicBezTo>
                <a:cubicBezTo>
                  <a:pt x="2790973" y="455621"/>
                  <a:pt x="2819922" y="426670"/>
                  <a:pt x="2855634" y="426670"/>
                </a:cubicBezTo>
                <a:close/>
                <a:moveTo>
                  <a:pt x="2699084" y="426670"/>
                </a:moveTo>
                <a:cubicBezTo>
                  <a:pt x="2734792" y="426670"/>
                  <a:pt x="2763736" y="455621"/>
                  <a:pt x="2763736" y="491334"/>
                </a:cubicBezTo>
                <a:cubicBezTo>
                  <a:pt x="2763736" y="527046"/>
                  <a:pt x="2734792" y="555997"/>
                  <a:pt x="2699084" y="555997"/>
                </a:cubicBezTo>
                <a:cubicBezTo>
                  <a:pt x="2663376" y="555997"/>
                  <a:pt x="2634429" y="527046"/>
                  <a:pt x="2634429" y="491334"/>
                </a:cubicBezTo>
                <a:cubicBezTo>
                  <a:pt x="2634429" y="455621"/>
                  <a:pt x="2663376" y="426670"/>
                  <a:pt x="2699084" y="426670"/>
                </a:cubicBezTo>
                <a:close/>
                <a:moveTo>
                  <a:pt x="2546449" y="426670"/>
                </a:moveTo>
                <a:cubicBezTo>
                  <a:pt x="2582156" y="426670"/>
                  <a:pt x="2611108" y="455621"/>
                  <a:pt x="2611108" y="491334"/>
                </a:cubicBezTo>
                <a:cubicBezTo>
                  <a:pt x="2611108" y="527046"/>
                  <a:pt x="2582156" y="555997"/>
                  <a:pt x="2546449" y="555997"/>
                </a:cubicBezTo>
                <a:cubicBezTo>
                  <a:pt x="2510726" y="555997"/>
                  <a:pt x="2481792" y="527046"/>
                  <a:pt x="2481792" y="491334"/>
                </a:cubicBezTo>
                <a:cubicBezTo>
                  <a:pt x="2481792" y="455621"/>
                  <a:pt x="2510726" y="426670"/>
                  <a:pt x="2546449" y="426670"/>
                </a:cubicBezTo>
                <a:close/>
                <a:moveTo>
                  <a:pt x="2389866" y="426670"/>
                </a:moveTo>
                <a:cubicBezTo>
                  <a:pt x="2425606" y="426670"/>
                  <a:pt x="2454554" y="455621"/>
                  <a:pt x="2454554" y="491334"/>
                </a:cubicBezTo>
                <a:cubicBezTo>
                  <a:pt x="2454554" y="527046"/>
                  <a:pt x="2425606" y="555997"/>
                  <a:pt x="2389866" y="555997"/>
                </a:cubicBezTo>
                <a:cubicBezTo>
                  <a:pt x="2354175" y="555997"/>
                  <a:pt x="2325217" y="527046"/>
                  <a:pt x="2325217" y="491334"/>
                </a:cubicBezTo>
                <a:cubicBezTo>
                  <a:pt x="2325217" y="455621"/>
                  <a:pt x="2354175" y="426670"/>
                  <a:pt x="2389866" y="426670"/>
                </a:cubicBezTo>
                <a:close/>
                <a:moveTo>
                  <a:pt x="2237196" y="426670"/>
                </a:moveTo>
                <a:cubicBezTo>
                  <a:pt x="2272921" y="426670"/>
                  <a:pt x="2301882" y="455621"/>
                  <a:pt x="2301882" y="491334"/>
                </a:cubicBezTo>
                <a:cubicBezTo>
                  <a:pt x="2301882" y="527046"/>
                  <a:pt x="2272921" y="555998"/>
                  <a:pt x="2237196" y="555998"/>
                </a:cubicBezTo>
                <a:cubicBezTo>
                  <a:pt x="2201472" y="555998"/>
                  <a:pt x="2172511" y="527046"/>
                  <a:pt x="2172511" y="491334"/>
                </a:cubicBezTo>
                <a:cubicBezTo>
                  <a:pt x="2172511" y="455621"/>
                  <a:pt x="2201472" y="426670"/>
                  <a:pt x="2237196" y="426670"/>
                </a:cubicBezTo>
                <a:close/>
                <a:moveTo>
                  <a:pt x="2084510" y="426670"/>
                </a:moveTo>
                <a:cubicBezTo>
                  <a:pt x="2120226" y="426670"/>
                  <a:pt x="2149176" y="455621"/>
                  <a:pt x="2149176" y="491334"/>
                </a:cubicBezTo>
                <a:cubicBezTo>
                  <a:pt x="2149176" y="527046"/>
                  <a:pt x="2120226" y="555998"/>
                  <a:pt x="2084510" y="555998"/>
                </a:cubicBezTo>
                <a:cubicBezTo>
                  <a:pt x="2048780" y="555998"/>
                  <a:pt x="2019873" y="527046"/>
                  <a:pt x="2019873" y="491334"/>
                </a:cubicBezTo>
                <a:cubicBezTo>
                  <a:pt x="2019873" y="455621"/>
                  <a:pt x="2048780" y="426670"/>
                  <a:pt x="2084510" y="426670"/>
                </a:cubicBezTo>
                <a:close/>
                <a:moveTo>
                  <a:pt x="1927912" y="426670"/>
                </a:moveTo>
                <a:cubicBezTo>
                  <a:pt x="1963649" y="426670"/>
                  <a:pt x="1992614" y="455621"/>
                  <a:pt x="1992614" y="491334"/>
                </a:cubicBezTo>
                <a:cubicBezTo>
                  <a:pt x="1992614" y="527046"/>
                  <a:pt x="1963649" y="555998"/>
                  <a:pt x="1927912" y="555998"/>
                </a:cubicBezTo>
                <a:cubicBezTo>
                  <a:pt x="1892243" y="555998"/>
                  <a:pt x="1863289" y="527046"/>
                  <a:pt x="1863289" y="491334"/>
                </a:cubicBezTo>
                <a:cubicBezTo>
                  <a:pt x="1863289" y="455621"/>
                  <a:pt x="1892243" y="426670"/>
                  <a:pt x="1927912" y="426670"/>
                </a:cubicBezTo>
                <a:close/>
                <a:moveTo>
                  <a:pt x="1775269" y="426670"/>
                </a:moveTo>
                <a:cubicBezTo>
                  <a:pt x="1810975" y="426670"/>
                  <a:pt x="1839963" y="455621"/>
                  <a:pt x="1839963" y="491334"/>
                </a:cubicBezTo>
                <a:cubicBezTo>
                  <a:pt x="1839963" y="527046"/>
                  <a:pt x="1810975" y="555998"/>
                  <a:pt x="1775269" y="555998"/>
                </a:cubicBezTo>
                <a:cubicBezTo>
                  <a:pt x="1739546" y="555998"/>
                  <a:pt x="1710597" y="527046"/>
                  <a:pt x="1710597" y="491334"/>
                </a:cubicBezTo>
                <a:cubicBezTo>
                  <a:pt x="1710597" y="455621"/>
                  <a:pt x="1739546" y="426670"/>
                  <a:pt x="1775269" y="426670"/>
                </a:cubicBezTo>
                <a:close/>
                <a:moveTo>
                  <a:pt x="1618685" y="426670"/>
                </a:moveTo>
                <a:cubicBezTo>
                  <a:pt x="1654407" y="426670"/>
                  <a:pt x="1683355" y="455621"/>
                  <a:pt x="1683355" y="491334"/>
                </a:cubicBezTo>
                <a:cubicBezTo>
                  <a:pt x="1683355" y="527046"/>
                  <a:pt x="1654407" y="555998"/>
                  <a:pt x="1618685" y="555998"/>
                </a:cubicBezTo>
                <a:cubicBezTo>
                  <a:pt x="1582975" y="555998"/>
                  <a:pt x="1554023" y="527046"/>
                  <a:pt x="1554023" y="491334"/>
                </a:cubicBezTo>
                <a:cubicBezTo>
                  <a:pt x="1554023" y="455621"/>
                  <a:pt x="1582975" y="426670"/>
                  <a:pt x="1618685" y="426670"/>
                </a:cubicBezTo>
                <a:close/>
                <a:moveTo>
                  <a:pt x="10312248" y="426669"/>
                </a:moveTo>
                <a:cubicBezTo>
                  <a:pt x="10347962" y="426669"/>
                  <a:pt x="10376914" y="455620"/>
                  <a:pt x="10376914" y="491332"/>
                </a:cubicBezTo>
                <a:cubicBezTo>
                  <a:pt x="10376914" y="527046"/>
                  <a:pt x="10347962" y="555997"/>
                  <a:pt x="10312248" y="555997"/>
                </a:cubicBezTo>
                <a:cubicBezTo>
                  <a:pt x="10276534" y="555997"/>
                  <a:pt x="10247582" y="527046"/>
                  <a:pt x="10247582" y="491332"/>
                </a:cubicBezTo>
                <a:cubicBezTo>
                  <a:pt x="10247582" y="455620"/>
                  <a:pt x="10276534" y="426669"/>
                  <a:pt x="10312248" y="426669"/>
                </a:cubicBezTo>
                <a:close/>
                <a:moveTo>
                  <a:pt x="10159588" y="426669"/>
                </a:moveTo>
                <a:cubicBezTo>
                  <a:pt x="10195302" y="426669"/>
                  <a:pt x="10224254" y="455620"/>
                  <a:pt x="10224254" y="491332"/>
                </a:cubicBezTo>
                <a:cubicBezTo>
                  <a:pt x="10224254" y="527046"/>
                  <a:pt x="10195302" y="555997"/>
                  <a:pt x="10159588" y="555997"/>
                </a:cubicBezTo>
                <a:cubicBezTo>
                  <a:pt x="10123874" y="555997"/>
                  <a:pt x="10094922" y="527046"/>
                  <a:pt x="10094922" y="491332"/>
                </a:cubicBezTo>
                <a:cubicBezTo>
                  <a:pt x="10094922" y="455620"/>
                  <a:pt x="10123874" y="426669"/>
                  <a:pt x="10159588" y="426669"/>
                </a:cubicBezTo>
                <a:close/>
                <a:moveTo>
                  <a:pt x="10003016" y="426669"/>
                </a:moveTo>
                <a:cubicBezTo>
                  <a:pt x="10038730" y="426669"/>
                  <a:pt x="10067682" y="455620"/>
                  <a:pt x="10067682" y="491332"/>
                </a:cubicBezTo>
                <a:cubicBezTo>
                  <a:pt x="10067682" y="527046"/>
                  <a:pt x="10038730" y="555997"/>
                  <a:pt x="10003016" y="555997"/>
                </a:cubicBezTo>
                <a:cubicBezTo>
                  <a:pt x="9967302" y="555997"/>
                  <a:pt x="9938350" y="527046"/>
                  <a:pt x="9938350" y="491332"/>
                </a:cubicBezTo>
                <a:cubicBezTo>
                  <a:pt x="9938350" y="455620"/>
                  <a:pt x="9967302" y="426669"/>
                  <a:pt x="10003016" y="426669"/>
                </a:cubicBezTo>
                <a:close/>
                <a:moveTo>
                  <a:pt x="9075319" y="426669"/>
                </a:moveTo>
                <a:cubicBezTo>
                  <a:pt x="9111033" y="426669"/>
                  <a:pt x="9139985" y="455620"/>
                  <a:pt x="9139985" y="491332"/>
                </a:cubicBezTo>
                <a:cubicBezTo>
                  <a:pt x="9139985" y="527046"/>
                  <a:pt x="9111033" y="555997"/>
                  <a:pt x="9075319" y="555997"/>
                </a:cubicBezTo>
                <a:cubicBezTo>
                  <a:pt x="9039605" y="555997"/>
                  <a:pt x="9010653" y="527046"/>
                  <a:pt x="9010653" y="491332"/>
                </a:cubicBezTo>
                <a:cubicBezTo>
                  <a:pt x="9010653" y="455620"/>
                  <a:pt x="9039605" y="426669"/>
                  <a:pt x="9075319" y="426669"/>
                </a:cubicBezTo>
                <a:close/>
                <a:moveTo>
                  <a:pt x="8914831" y="426669"/>
                </a:moveTo>
                <a:cubicBezTo>
                  <a:pt x="8950545" y="426669"/>
                  <a:pt x="8979497" y="455620"/>
                  <a:pt x="8979497" y="491332"/>
                </a:cubicBezTo>
                <a:cubicBezTo>
                  <a:pt x="8979497" y="527046"/>
                  <a:pt x="8950545" y="555997"/>
                  <a:pt x="8914831" y="555997"/>
                </a:cubicBezTo>
                <a:cubicBezTo>
                  <a:pt x="8879117" y="555997"/>
                  <a:pt x="8850165" y="527046"/>
                  <a:pt x="8850165" y="491332"/>
                </a:cubicBezTo>
                <a:cubicBezTo>
                  <a:pt x="8850165" y="455620"/>
                  <a:pt x="8879117" y="426669"/>
                  <a:pt x="8914831" y="426669"/>
                </a:cubicBezTo>
                <a:close/>
                <a:moveTo>
                  <a:pt x="8766086" y="426669"/>
                </a:moveTo>
                <a:cubicBezTo>
                  <a:pt x="8801800" y="426669"/>
                  <a:pt x="8830752" y="455620"/>
                  <a:pt x="8830752" y="491332"/>
                </a:cubicBezTo>
                <a:cubicBezTo>
                  <a:pt x="8830752" y="527046"/>
                  <a:pt x="8801800" y="555997"/>
                  <a:pt x="8766086" y="555997"/>
                </a:cubicBezTo>
                <a:cubicBezTo>
                  <a:pt x="8730372" y="555997"/>
                  <a:pt x="8701420" y="527046"/>
                  <a:pt x="8701420" y="491332"/>
                </a:cubicBezTo>
                <a:cubicBezTo>
                  <a:pt x="8701420" y="455620"/>
                  <a:pt x="8730372" y="426669"/>
                  <a:pt x="8766086" y="426669"/>
                </a:cubicBezTo>
                <a:close/>
                <a:moveTo>
                  <a:pt x="8601685" y="426669"/>
                </a:moveTo>
                <a:cubicBezTo>
                  <a:pt x="8637399" y="426669"/>
                  <a:pt x="8666351" y="455620"/>
                  <a:pt x="8666351" y="491332"/>
                </a:cubicBezTo>
                <a:cubicBezTo>
                  <a:pt x="8666351" y="527046"/>
                  <a:pt x="8637399" y="555997"/>
                  <a:pt x="8601685" y="555997"/>
                </a:cubicBezTo>
                <a:cubicBezTo>
                  <a:pt x="8565971" y="555997"/>
                  <a:pt x="8537019" y="527046"/>
                  <a:pt x="8537019" y="491332"/>
                </a:cubicBezTo>
                <a:cubicBezTo>
                  <a:pt x="8537019" y="455620"/>
                  <a:pt x="8565971" y="426669"/>
                  <a:pt x="8601685" y="426669"/>
                </a:cubicBezTo>
                <a:close/>
                <a:moveTo>
                  <a:pt x="7677904" y="426669"/>
                </a:moveTo>
                <a:cubicBezTo>
                  <a:pt x="7713618" y="426669"/>
                  <a:pt x="7742570" y="455620"/>
                  <a:pt x="7742570" y="491332"/>
                </a:cubicBezTo>
                <a:cubicBezTo>
                  <a:pt x="7742570" y="527046"/>
                  <a:pt x="7713618" y="555997"/>
                  <a:pt x="7677904" y="555997"/>
                </a:cubicBezTo>
                <a:cubicBezTo>
                  <a:pt x="7642190" y="555997"/>
                  <a:pt x="7613238" y="527046"/>
                  <a:pt x="7613238" y="491332"/>
                </a:cubicBezTo>
                <a:cubicBezTo>
                  <a:pt x="7613238" y="455620"/>
                  <a:pt x="7642190" y="426669"/>
                  <a:pt x="7677904" y="426669"/>
                </a:cubicBezTo>
                <a:close/>
                <a:moveTo>
                  <a:pt x="7521331" y="426669"/>
                </a:moveTo>
                <a:cubicBezTo>
                  <a:pt x="7557045" y="426669"/>
                  <a:pt x="7585997" y="455620"/>
                  <a:pt x="7585997" y="491332"/>
                </a:cubicBezTo>
                <a:cubicBezTo>
                  <a:pt x="7585997" y="527046"/>
                  <a:pt x="7557045" y="555997"/>
                  <a:pt x="7521331" y="555997"/>
                </a:cubicBezTo>
                <a:cubicBezTo>
                  <a:pt x="7485617" y="555997"/>
                  <a:pt x="7456665" y="527046"/>
                  <a:pt x="7456665" y="491332"/>
                </a:cubicBezTo>
                <a:cubicBezTo>
                  <a:pt x="7456665" y="455620"/>
                  <a:pt x="7485617" y="426669"/>
                  <a:pt x="7521331" y="426669"/>
                </a:cubicBezTo>
                <a:close/>
                <a:moveTo>
                  <a:pt x="4722614" y="426669"/>
                </a:moveTo>
                <a:cubicBezTo>
                  <a:pt x="4758338" y="426669"/>
                  <a:pt x="4787277" y="455621"/>
                  <a:pt x="4787277" y="491332"/>
                </a:cubicBezTo>
                <a:cubicBezTo>
                  <a:pt x="4787277" y="527046"/>
                  <a:pt x="4758338" y="555997"/>
                  <a:pt x="4722614" y="555997"/>
                </a:cubicBezTo>
                <a:cubicBezTo>
                  <a:pt x="4686908" y="555997"/>
                  <a:pt x="4657957" y="527046"/>
                  <a:pt x="4657957" y="491332"/>
                </a:cubicBezTo>
                <a:cubicBezTo>
                  <a:pt x="4657957" y="455621"/>
                  <a:pt x="4686908" y="426669"/>
                  <a:pt x="4722614" y="426669"/>
                </a:cubicBezTo>
                <a:close/>
                <a:moveTo>
                  <a:pt x="4566030" y="426669"/>
                </a:moveTo>
                <a:cubicBezTo>
                  <a:pt x="4601751" y="426669"/>
                  <a:pt x="4630712" y="455621"/>
                  <a:pt x="4630712" y="491332"/>
                </a:cubicBezTo>
                <a:cubicBezTo>
                  <a:pt x="4630712" y="527046"/>
                  <a:pt x="4601751" y="555997"/>
                  <a:pt x="4566030" y="555997"/>
                </a:cubicBezTo>
                <a:cubicBezTo>
                  <a:pt x="4530304" y="555997"/>
                  <a:pt x="4501345" y="527046"/>
                  <a:pt x="4501345" y="491332"/>
                </a:cubicBezTo>
                <a:cubicBezTo>
                  <a:pt x="4501345" y="455621"/>
                  <a:pt x="4530304" y="426669"/>
                  <a:pt x="4566030" y="426669"/>
                </a:cubicBezTo>
                <a:close/>
                <a:moveTo>
                  <a:pt x="4409471" y="426669"/>
                </a:moveTo>
                <a:cubicBezTo>
                  <a:pt x="4445169" y="426669"/>
                  <a:pt x="4474113" y="455621"/>
                  <a:pt x="4474113" y="491332"/>
                </a:cubicBezTo>
                <a:cubicBezTo>
                  <a:pt x="4474113" y="527046"/>
                  <a:pt x="4445169" y="555997"/>
                  <a:pt x="4409471" y="555997"/>
                </a:cubicBezTo>
                <a:cubicBezTo>
                  <a:pt x="4373772" y="555997"/>
                  <a:pt x="4344809" y="527046"/>
                  <a:pt x="4344809" y="491332"/>
                </a:cubicBezTo>
                <a:cubicBezTo>
                  <a:pt x="4344809" y="455621"/>
                  <a:pt x="4373772" y="426669"/>
                  <a:pt x="4409471" y="426669"/>
                </a:cubicBezTo>
                <a:close/>
                <a:moveTo>
                  <a:pt x="4256823" y="426669"/>
                </a:moveTo>
                <a:cubicBezTo>
                  <a:pt x="4292543" y="426669"/>
                  <a:pt x="4321471" y="455621"/>
                  <a:pt x="4321471" y="491332"/>
                </a:cubicBezTo>
                <a:cubicBezTo>
                  <a:pt x="4321471" y="527046"/>
                  <a:pt x="4292543" y="555997"/>
                  <a:pt x="4256823" y="555997"/>
                </a:cubicBezTo>
                <a:cubicBezTo>
                  <a:pt x="4221105" y="555997"/>
                  <a:pt x="4192125" y="527046"/>
                  <a:pt x="4192125" y="491332"/>
                </a:cubicBezTo>
                <a:cubicBezTo>
                  <a:pt x="4192125" y="455621"/>
                  <a:pt x="4221105" y="426669"/>
                  <a:pt x="4256823" y="426669"/>
                </a:cubicBezTo>
                <a:close/>
                <a:moveTo>
                  <a:pt x="4100255" y="426669"/>
                </a:moveTo>
                <a:cubicBezTo>
                  <a:pt x="4135957" y="426669"/>
                  <a:pt x="4164923" y="455621"/>
                  <a:pt x="4164923" y="491332"/>
                </a:cubicBezTo>
                <a:cubicBezTo>
                  <a:pt x="4164923" y="527046"/>
                  <a:pt x="4135957" y="555997"/>
                  <a:pt x="4100255" y="555997"/>
                </a:cubicBezTo>
                <a:cubicBezTo>
                  <a:pt x="4064528" y="555997"/>
                  <a:pt x="4035594" y="527046"/>
                  <a:pt x="4035594" y="491332"/>
                </a:cubicBezTo>
                <a:cubicBezTo>
                  <a:pt x="4035594" y="455621"/>
                  <a:pt x="4064528" y="426669"/>
                  <a:pt x="4100255" y="426669"/>
                </a:cubicBezTo>
                <a:close/>
                <a:moveTo>
                  <a:pt x="3947579" y="426669"/>
                </a:moveTo>
                <a:cubicBezTo>
                  <a:pt x="3983297" y="426669"/>
                  <a:pt x="4012257" y="455621"/>
                  <a:pt x="4012257" y="491332"/>
                </a:cubicBezTo>
                <a:cubicBezTo>
                  <a:pt x="4012257" y="527046"/>
                  <a:pt x="3983297" y="555997"/>
                  <a:pt x="3947579" y="555997"/>
                </a:cubicBezTo>
                <a:cubicBezTo>
                  <a:pt x="3912015" y="555997"/>
                  <a:pt x="3883064" y="527046"/>
                  <a:pt x="3883064" y="491332"/>
                </a:cubicBezTo>
                <a:cubicBezTo>
                  <a:pt x="3883064" y="455621"/>
                  <a:pt x="3912015" y="426669"/>
                  <a:pt x="3947579" y="426669"/>
                </a:cubicBezTo>
                <a:close/>
                <a:moveTo>
                  <a:pt x="3791161" y="426669"/>
                </a:moveTo>
                <a:cubicBezTo>
                  <a:pt x="3826868" y="426669"/>
                  <a:pt x="3855823" y="455621"/>
                  <a:pt x="3855823" y="491332"/>
                </a:cubicBezTo>
                <a:cubicBezTo>
                  <a:pt x="3855823" y="527046"/>
                  <a:pt x="3826868" y="555997"/>
                  <a:pt x="3791161" y="555997"/>
                </a:cubicBezTo>
                <a:cubicBezTo>
                  <a:pt x="3755440" y="555997"/>
                  <a:pt x="3726486" y="527046"/>
                  <a:pt x="3726486" y="491332"/>
                </a:cubicBezTo>
                <a:cubicBezTo>
                  <a:pt x="3726486" y="455621"/>
                  <a:pt x="3755440" y="426669"/>
                  <a:pt x="3791161" y="426669"/>
                </a:cubicBezTo>
                <a:close/>
                <a:moveTo>
                  <a:pt x="3630671" y="426669"/>
                </a:moveTo>
                <a:cubicBezTo>
                  <a:pt x="3666383" y="426669"/>
                  <a:pt x="3695344" y="455621"/>
                  <a:pt x="3695344" y="491332"/>
                </a:cubicBezTo>
                <a:cubicBezTo>
                  <a:pt x="3695344" y="527046"/>
                  <a:pt x="3666383" y="555997"/>
                  <a:pt x="3630671" y="555997"/>
                </a:cubicBezTo>
                <a:cubicBezTo>
                  <a:pt x="3594946" y="555997"/>
                  <a:pt x="3565990" y="527046"/>
                  <a:pt x="3565990" y="491332"/>
                </a:cubicBezTo>
                <a:cubicBezTo>
                  <a:pt x="3565990" y="455621"/>
                  <a:pt x="3594946" y="426669"/>
                  <a:pt x="3630671" y="426669"/>
                </a:cubicBezTo>
                <a:close/>
                <a:moveTo>
                  <a:pt x="3481916" y="426669"/>
                </a:moveTo>
                <a:cubicBezTo>
                  <a:pt x="3517633" y="426669"/>
                  <a:pt x="3546591" y="455621"/>
                  <a:pt x="3546591" y="491332"/>
                </a:cubicBezTo>
                <a:cubicBezTo>
                  <a:pt x="3546591" y="527046"/>
                  <a:pt x="3517633" y="555997"/>
                  <a:pt x="3481916" y="555997"/>
                </a:cubicBezTo>
                <a:cubicBezTo>
                  <a:pt x="3446210" y="555997"/>
                  <a:pt x="3417259" y="527046"/>
                  <a:pt x="3417259" y="491332"/>
                </a:cubicBezTo>
                <a:cubicBezTo>
                  <a:pt x="3417259" y="455621"/>
                  <a:pt x="3446210" y="426669"/>
                  <a:pt x="3481916" y="426669"/>
                </a:cubicBezTo>
                <a:close/>
                <a:moveTo>
                  <a:pt x="3321451" y="426669"/>
                </a:moveTo>
                <a:cubicBezTo>
                  <a:pt x="3357165" y="426669"/>
                  <a:pt x="3386094" y="455621"/>
                  <a:pt x="3386094" y="491334"/>
                </a:cubicBezTo>
                <a:cubicBezTo>
                  <a:pt x="3386094" y="527046"/>
                  <a:pt x="3357165" y="555997"/>
                  <a:pt x="3321451" y="555997"/>
                </a:cubicBezTo>
                <a:cubicBezTo>
                  <a:pt x="3285730" y="555997"/>
                  <a:pt x="3256791" y="527046"/>
                  <a:pt x="3256791" y="491334"/>
                </a:cubicBezTo>
                <a:cubicBezTo>
                  <a:pt x="3256791" y="455621"/>
                  <a:pt x="3285730" y="426669"/>
                  <a:pt x="3321451" y="426669"/>
                </a:cubicBezTo>
                <a:close/>
                <a:moveTo>
                  <a:pt x="2855634" y="289662"/>
                </a:moveTo>
                <a:cubicBezTo>
                  <a:pt x="2891335" y="289662"/>
                  <a:pt x="2920282" y="318614"/>
                  <a:pt x="2920282" y="354327"/>
                </a:cubicBezTo>
                <a:cubicBezTo>
                  <a:pt x="2920282" y="390040"/>
                  <a:pt x="2891335" y="419004"/>
                  <a:pt x="2855634" y="419004"/>
                </a:cubicBezTo>
                <a:cubicBezTo>
                  <a:pt x="2819922" y="419004"/>
                  <a:pt x="2790973" y="390040"/>
                  <a:pt x="2790973" y="354327"/>
                </a:cubicBezTo>
                <a:cubicBezTo>
                  <a:pt x="2790973" y="318614"/>
                  <a:pt x="2819922" y="289662"/>
                  <a:pt x="2855634" y="289662"/>
                </a:cubicBezTo>
                <a:close/>
                <a:moveTo>
                  <a:pt x="2699084" y="289662"/>
                </a:moveTo>
                <a:cubicBezTo>
                  <a:pt x="2734792" y="289662"/>
                  <a:pt x="2763736" y="318614"/>
                  <a:pt x="2763736" y="354327"/>
                </a:cubicBezTo>
                <a:cubicBezTo>
                  <a:pt x="2763736" y="390040"/>
                  <a:pt x="2734792" y="419004"/>
                  <a:pt x="2699084" y="419004"/>
                </a:cubicBezTo>
                <a:cubicBezTo>
                  <a:pt x="2663376" y="419004"/>
                  <a:pt x="2634429" y="390040"/>
                  <a:pt x="2634429" y="354327"/>
                </a:cubicBezTo>
                <a:cubicBezTo>
                  <a:pt x="2634429" y="318614"/>
                  <a:pt x="2663376" y="289662"/>
                  <a:pt x="2699084" y="289662"/>
                </a:cubicBezTo>
                <a:close/>
                <a:moveTo>
                  <a:pt x="2546449" y="289662"/>
                </a:moveTo>
                <a:cubicBezTo>
                  <a:pt x="2582162" y="289662"/>
                  <a:pt x="2611108" y="318614"/>
                  <a:pt x="2611108" y="354327"/>
                </a:cubicBezTo>
                <a:cubicBezTo>
                  <a:pt x="2611108" y="390040"/>
                  <a:pt x="2582162" y="419004"/>
                  <a:pt x="2546449" y="419004"/>
                </a:cubicBezTo>
                <a:cubicBezTo>
                  <a:pt x="2510726" y="419004"/>
                  <a:pt x="2481792" y="390040"/>
                  <a:pt x="2481792" y="354327"/>
                </a:cubicBezTo>
                <a:cubicBezTo>
                  <a:pt x="2481792" y="318614"/>
                  <a:pt x="2510726" y="289662"/>
                  <a:pt x="2546449" y="289662"/>
                </a:cubicBezTo>
                <a:close/>
                <a:moveTo>
                  <a:pt x="2237196" y="289662"/>
                </a:moveTo>
                <a:cubicBezTo>
                  <a:pt x="2272921" y="289662"/>
                  <a:pt x="2301882" y="318614"/>
                  <a:pt x="2301882" y="354327"/>
                </a:cubicBezTo>
                <a:cubicBezTo>
                  <a:pt x="2301882" y="390040"/>
                  <a:pt x="2272921" y="419004"/>
                  <a:pt x="2237196" y="419004"/>
                </a:cubicBezTo>
                <a:cubicBezTo>
                  <a:pt x="2201472" y="419004"/>
                  <a:pt x="2172511" y="390040"/>
                  <a:pt x="2172511" y="354327"/>
                </a:cubicBezTo>
                <a:cubicBezTo>
                  <a:pt x="2172511" y="318614"/>
                  <a:pt x="2201472" y="289662"/>
                  <a:pt x="2237196" y="289662"/>
                </a:cubicBezTo>
                <a:close/>
                <a:moveTo>
                  <a:pt x="2084510" y="289662"/>
                </a:moveTo>
                <a:cubicBezTo>
                  <a:pt x="2120230" y="289662"/>
                  <a:pt x="2149176" y="318614"/>
                  <a:pt x="2149176" y="354327"/>
                </a:cubicBezTo>
                <a:cubicBezTo>
                  <a:pt x="2149176" y="390041"/>
                  <a:pt x="2120230" y="419004"/>
                  <a:pt x="2084510" y="419004"/>
                </a:cubicBezTo>
                <a:cubicBezTo>
                  <a:pt x="2048783" y="419004"/>
                  <a:pt x="2019873" y="390041"/>
                  <a:pt x="2019873" y="354327"/>
                </a:cubicBezTo>
                <a:cubicBezTo>
                  <a:pt x="2019873" y="318614"/>
                  <a:pt x="2048783" y="289662"/>
                  <a:pt x="2084510" y="289662"/>
                </a:cubicBezTo>
                <a:close/>
                <a:moveTo>
                  <a:pt x="1927926" y="289662"/>
                </a:moveTo>
                <a:cubicBezTo>
                  <a:pt x="1963649" y="289662"/>
                  <a:pt x="1992616" y="318614"/>
                  <a:pt x="1992616" y="354327"/>
                </a:cubicBezTo>
                <a:cubicBezTo>
                  <a:pt x="1992616" y="390041"/>
                  <a:pt x="1963649" y="419004"/>
                  <a:pt x="1927926" y="419004"/>
                </a:cubicBezTo>
                <a:cubicBezTo>
                  <a:pt x="1892248" y="419004"/>
                  <a:pt x="1863292" y="390041"/>
                  <a:pt x="1863292" y="354327"/>
                </a:cubicBezTo>
                <a:cubicBezTo>
                  <a:pt x="1863292" y="318614"/>
                  <a:pt x="1892248" y="289662"/>
                  <a:pt x="1927926" y="289662"/>
                </a:cubicBezTo>
                <a:close/>
                <a:moveTo>
                  <a:pt x="1775272" y="289662"/>
                </a:moveTo>
                <a:cubicBezTo>
                  <a:pt x="1810975" y="289662"/>
                  <a:pt x="1839963" y="318614"/>
                  <a:pt x="1839963" y="354327"/>
                </a:cubicBezTo>
                <a:cubicBezTo>
                  <a:pt x="1839963" y="390041"/>
                  <a:pt x="1810975" y="419004"/>
                  <a:pt x="1775272" y="419004"/>
                </a:cubicBezTo>
                <a:cubicBezTo>
                  <a:pt x="1739556" y="419004"/>
                  <a:pt x="1710600" y="390041"/>
                  <a:pt x="1710600" y="354327"/>
                </a:cubicBezTo>
                <a:cubicBezTo>
                  <a:pt x="1710600" y="318614"/>
                  <a:pt x="1739556" y="289662"/>
                  <a:pt x="1775272" y="289662"/>
                </a:cubicBezTo>
                <a:close/>
                <a:moveTo>
                  <a:pt x="1618690" y="289662"/>
                </a:moveTo>
                <a:cubicBezTo>
                  <a:pt x="1654409" y="289662"/>
                  <a:pt x="1683360" y="318614"/>
                  <a:pt x="1683360" y="354327"/>
                </a:cubicBezTo>
                <a:cubicBezTo>
                  <a:pt x="1683360" y="390041"/>
                  <a:pt x="1654409" y="419004"/>
                  <a:pt x="1618690" y="419004"/>
                </a:cubicBezTo>
                <a:cubicBezTo>
                  <a:pt x="1582976" y="419004"/>
                  <a:pt x="1554023" y="390041"/>
                  <a:pt x="1554023" y="354327"/>
                </a:cubicBezTo>
                <a:cubicBezTo>
                  <a:pt x="1554023" y="318614"/>
                  <a:pt x="1582976" y="289662"/>
                  <a:pt x="1618690" y="289662"/>
                </a:cubicBezTo>
                <a:close/>
                <a:moveTo>
                  <a:pt x="3791161" y="289662"/>
                </a:moveTo>
                <a:cubicBezTo>
                  <a:pt x="3826868" y="289662"/>
                  <a:pt x="3855823" y="318614"/>
                  <a:pt x="3855823" y="354325"/>
                </a:cubicBezTo>
                <a:cubicBezTo>
                  <a:pt x="3855823" y="390040"/>
                  <a:pt x="3826868" y="419003"/>
                  <a:pt x="3791161" y="419003"/>
                </a:cubicBezTo>
                <a:cubicBezTo>
                  <a:pt x="3755440" y="419003"/>
                  <a:pt x="3726486" y="390040"/>
                  <a:pt x="3726486" y="354325"/>
                </a:cubicBezTo>
                <a:cubicBezTo>
                  <a:pt x="3726486" y="318614"/>
                  <a:pt x="3755440" y="289662"/>
                  <a:pt x="3791161" y="289662"/>
                </a:cubicBezTo>
                <a:close/>
                <a:moveTo>
                  <a:pt x="3630675" y="289662"/>
                </a:moveTo>
                <a:cubicBezTo>
                  <a:pt x="3666383" y="289662"/>
                  <a:pt x="3695344" y="318614"/>
                  <a:pt x="3695344" y="354325"/>
                </a:cubicBezTo>
                <a:cubicBezTo>
                  <a:pt x="3695344" y="390040"/>
                  <a:pt x="3666383" y="419003"/>
                  <a:pt x="3630675" y="419003"/>
                </a:cubicBezTo>
                <a:cubicBezTo>
                  <a:pt x="3594946" y="419003"/>
                  <a:pt x="3565992" y="390040"/>
                  <a:pt x="3565992" y="354325"/>
                </a:cubicBezTo>
                <a:cubicBezTo>
                  <a:pt x="3565992" y="318614"/>
                  <a:pt x="3594946" y="289662"/>
                  <a:pt x="3630675" y="289662"/>
                </a:cubicBezTo>
                <a:close/>
                <a:moveTo>
                  <a:pt x="3481916" y="289662"/>
                </a:moveTo>
                <a:cubicBezTo>
                  <a:pt x="3517633" y="289662"/>
                  <a:pt x="3546591" y="318614"/>
                  <a:pt x="3546591" y="354325"/>
                </a:cubicBezTo>
                <a:cubicBezTo>
                  <a:pt x="3546591" y="390040"/>
                  <a:pt x="3517633" y="419003"/>
                  <a:pt x="3481916" y="419003"/>
                </a:cubicBezTo>
                <a:cubicBezTo>
                  <a:pt x="3446210" y="419003"/>
                  <a:pt x="3417259" y="390040"/>
                  <a:pt x="3417259" y="354325"/>
                </a:cubicBezTo>
                <a:cubicBezTo>
                  <a:pt x="3417259" y="318614"/>
                  <a:pt x="3446210" y="289662"/>
                  <a:pt x="3481916" y="289662"/>
                </a:cubicBezTo>
                <a:close/>
                <a:moveTo>
                  <a:pt x="3321451" y="289662"/>
                </a:moveTo>
                <a:cubicBezTo>
                  <a:pt x="3357165" y="289662"/>
                  <a:pt x="3386094" y="318614"/>
                  <a:pt x="3386094" y="354325"/>
                </a:cubicBezTo>
                <a:cubicBezTo>
                  <a:pt x="3386094" y="390040"/>
                  <a:pt x="3357165" y="419003"/>
                  <a:pt x="3321451" y="419003"/>
                </a:cubicBezTo>
                <a:cubicBezTo>
                  <a:pt x="3285730" y="419003"/>
                  <a:pt x="3256791" y="390040"/>
                  <a:pt x="3256791" y="354325"/>
                </a:cubicBezTo>
                <a:cubicBezTo>
                  <a:pt x="3256791" y="318614"/>
                  <a:pt x="3285730" y="289662"/>
                  <a:pt x="3321451" y="289662"/>
                </a:cubicBezTo>
                <a:close/>
                <a:moveTo>
                  <a:pt x="3012178" y="289662"/>
                </a:moveTo>
                <a:cubicBezTo>
                  <a:pt x="3047889" y="289662"/>
                  <a:pt x="3076850" y="318614"/>
                  <a:pt x="3076850" y="354327"/>
                </a:cubicBezTo>
                <a:cubicBezTo>
                  <a:pt x="3076850" y="390040"/>
                  <a:pt x="3047889" y="419004"/>
                  <a:pt x="3012178" y="419004"/>
                </a:cubicBezTo>
                <a:cubicBezTo>
                  <a:pt x="2976470" y="419004"/>
                  <a:pt x="2947522" y="390040"/>
                  <a:pt x="2947522" y="354327"/>
                </a:cubicBezTo>
                <a:cubicBezTo>
                  <a:pt x="2947522" y="318614"/>
                  <a:pt x="2976470" y="289662"/>
                  <a:pt x="3012178" y="289662"/>
                </a:cubicBezTo>
                <a:close/>
                <a:moveTo>
                  <a:pt x="4722614" y="289661"/>
                </a:moveTo>
                <a:cubicBezTo>
                  <a:pt x="4758338" y="289661"/>
                  <a:pt x="4787277" y="318614"/>
                  <a:pt x="4787277" y="354325"/>
                </a:cubicBezTo>
                <a:cubicBezTo>
                  <a:pt x="4787277" y="390040"/>
                  <a:pt x="4758338" y="419003"/>
                  <a:pt x="4722614" y="419003"/>
                </a:cubicBezTo>
                <a:cubicBezTo>
                  <a:pt x="4686908" y="419003"/>
                  <a:pt x="4657957" y="390040"/>
                  <a:pt x="4657957" y="354325"/>
                </a:cubicBezTo>
                <a:cubicBezTo>
                  <a:pt x="4657957" y="318614"/>
                  <a:pt x="4686908" y="289661"/>
                  <a:pt x="4722614" y="289661"/>
                </a:cubicBezTo>
                <a:close/>
                <a:moveTo>
                  <a:pt x="4566033" y="289661"/>
                </a:moveTo>
                <a:cubicBezTo>
                  <a:pt x="4601754" y="289661"/>
                  <a:pt x="4630719" y="318614"/>
                  <a:pt x="4630719" y="354325"/>
                </a:cubicBezTo>
                <a:cubicBezTo>
                  <a:pt x="4630719" y="390040"/>
                  <a:pt x="4601754" y="419003"/>
                  <a:pt x="4566033" y="419003"/>
                </a:cubicBezTo>
                <a:cubicBezTo>
                  <a:pt x="4530305" y="419003"/>
                  <a:pt x="4501349" y="390040"/>
                  <a:pt x="4501349" y="354325"/>
                </a:cubicBezTo>
                <a:cubicBezTo>
                  <a:pt x="4501349" y="318614"/>
                  <a:pt x="4530305" y="289661"/>
                  <a:pt x="4566033" y="289661"/>
                </a:cubicBezTo>
                <a:close/>
                <a:moveTo>
                  <a:pt x="4409471" y="289661"/>
                </a:moveTo>
                <a:cubicBezTo>
                  <a:pt x="4445169" y="289661"/>
                  <a:pt x="4474113" y="318614"/>
                  <a:pt x="4474113" y="354325"/>
                </a:cubicBezTo>
                <a:cubicBezTo>
                  <a:pt x="4474113" y="390040"/>
                  <a:pt x="4445169" y="419003"/>
                  <a:pt x="4409471" y="419003"/>
                </a:cubicBezTo>
                <a:cubicBezTo>
                  <a:pt x="4373772" y="419003"/>
                  <a:pt x="4344809" y="390040"/>
                  <a:pt x="4344809" y="354325"/>
                </a:cubicBezTo>
                <a:cubicBezTo>
                  <a:pt x="4344809" y="318614"/>
                  <a:pt x="4373772" y="289661"/>
                  <a:pt x="4409471" y="289661"/>
                </a:cubicBezTo>
                <a:close/>
                <a:moveTo>
                  <a:pt x="4256823" y="289661"/>
                </a:moveTo>
                <a:cubicBezTo>
                  <a:pt x="4292543" y="289661"/>
                  <a:pt x="4321471" y="318614"/>
                  <a:pt x="4321471" y="354325"/>
                </a:cubicBezTo>
                <a:cubicBezTo>
                  <a:pt x="4321471" y="390040"/>
                  <a:pt x="4292543" y="419003"/>
                  <a:pt x="4256823" y="419003"/>
                </a:cubicBezTo>
                <a:cubicBezTo>
                  <a:pt x="4221105" y="419003"/>
                  <a:pt x="4192125" y="390040"/>
                  <a:pt x="4192125" y="354325"/>
                </a:cubicBezTo>
                <a:cubicBezTo>
                  <a:pt x="4192125" y="318614"/>
                  <a:pt x="4221105" y="289661"/>
                  <a:pt x="4256823" y="289661"/>
                </a:cubicBezTo>
                <a:close/>
                <a:moveTo>
                  <a:pt x="4100255" y="289661"/>
                </a:moveTo>
                <a:cubicBezTo>
                  <a:pt x="4135957" y="289661"/>
                  <a:pt x="4164923" y="318614"/>
                  <a:pt x="4164923" y="354325"/>
                </a:cubicBezTo>
                <a:cubicBezTo>
                  <a:pt x="4164923" y="390040"/>
                  <a:pt x="4135957" y="419003"/>
                  <a:pt x="4100255" y="419003"/>
                </a:cubicBezTo>
                <a:cubicBezTo>
                  <a:pt x="4064528" y="419003"/>
                  <a:pt x="4035594" y="390040"/>
                  <a:pt x="4035594" y="354325"/>
                </a:cubicBezTo>
                <a:cubicBezTo>
                  <a:pt x="4035594" y="318614"/>
                  <a:pt x="4064528" y="289661"/>
                  <a:pt x="4100255" y="289661"/>
                </a:cubicBezTo>
                <a:close/>
                <a:moveTo>
                  <a:pt x="3947579" y="289661"/>
                </a:moveTo>
                <a:cubicBezTo>
                  <a:pt x="3983297" y="289661"/>
                  <a:pt x="4012257" y="318614"/>
                  <a:pt x="4012257" y="354325"/>
                </a:cubicBezTo>
                <a:cubicBezTo>
                  <a:pt x="4012257" y="390040"/>
                  <a:pt x="3983297" y="419003"/>
                  <a:pt x="3947579" y="419003"/>
                </a:cubicBezTo>
                <a:cubicBezTo>
                  <a:pt x="3912017" y="419003"/>
                  <a:pt x="3883069" y="390040"/>
                  <a:pt x="3883069" y="354325"/>
                </a:cubicBezTo>
                <a:cubicBezTo>
                  <a:pt x="3883069" y="318614"/>
                  <a:pt x="3912017" y="289661"/>
                  <a:pt x="3947579" y="289661"/>
                </a:cubicBezTo>
                <a:close/>
                <a:moveTo>
                  <a:pt x="8914831" y="289661"/>
                </a:moveTo>
                <a:cubicBezTo>
                  <a:pt x="8950545" y="289661"/>
                  <a:pt x="8979497" y="318614"/>
                  <a:pt x="8979497" y="354325"/>
                </a:cubicBezTo>
                <a:cubicBezTo>
                  <a:pt x="8979497" y="390040"/>
                  <a:pt x="8950545" y="419003"/>
                  <a:pt x="8914831" y="419003"/>
                </a:cubicBezTo>
                <a:cubicBezTo>
                  <a:pt x="8879117" y="419003"/>
                  <a:pt x="8850165" y="390040"/>
                  <a:pt x="8850165" y="354325"/>
                </a:cubicBezTo>
                <a:cubicBezTo>
                  <a:pt x="8850165" y="318614"/>
                  <a:pt x="8879117" y="289661"/>
                  <a:pt x="8914831" y="289661"/>
                </a:cubicBezTo>
                <a:close/>
                <a:moveTo>
                  <a:pt x="8766087" y="289661"/>
                </a:moveTo>
                <a:cubicBezTo>
                  <a:pt x="8801801" y="289661"/>
                  <a:pt x="8830753" y="318614"/>
                  <a:pt x="8830753" y="354325"/>
                </a:cubicBezTo>
                <a:cubicBezTo>
                  <a:pt x="8830753" y="390040"/>
                  <a:pt x="8801801" y="419003"/>
                  <a:pt x="8766087" y="419003"/>
                </a:cubicBezTo>
                <a:cubicBezTo>
                  <a:pt x="8730373" y="419003"/>
                  <a:pt x="8701421" y="390040"/>
                  <a:pt x="8701421" y="354325"/>
                </a:cubicBezTo>
                <a:cubicBezTo>
                  <a:pt x="8701421" y="318614"/>
                  <a:pt x="8730373" y="289661"/>
                  <a:pt x="8766087" y="289661"/>
                </a:cubicBezTo>
                <a:close/>
                <a:moveTo>
                  <a:pt x="5967339" y="289661"/>
                </a:moveTo>
                <a:cubicBezTo>
                  <a:pt x="6003053" y="289661"/>
                  <a:pt x="6032005" y="318614"/>
                  <a:pt x="6032005" y="354325"/>
                </a:cubicBezTo>
                <a:cubicBezTo>
                  <a:pt x="6032005" y="390040"/>
                  <a:pt x="6003053" y="419003"/>
                  <a:pt x="5967339" y="419003"/>
                </a:cubicBezTo>
                <a:cubicBezTo>
                  <a:pt x="5931625" y="419003"/>
                  <a:pt x="5902673" y="390040"/>
                  <a:pt x="5902673" y="354325"/>
                </a:cubicBezTo>
                <a:cubicBezTo>
                  <a:pt x="5902673" y="318614"/>
                  <a:pt x="5931625" y="289661"/>
                  <a:pt x="5967339" y="289661"/>
                </a:cubicBezTo>
                <a:close/>
                <a:moveTo>
                  <a:pt x="2546449" y="140925"/>
                </a:moveTo>
                <a:cubicBezTo>
                  <a:pt x="2582162" y="140925"/>
                  <a:pt x="2611108" y="169880"/>
                  <a:pt x="2611108" y="205590"/>
                </a:cubicBezTo>
                <a:cubicBezTo>
                  <a:pt x="2611108" y="241304"/>
                  <a:pt x="2582162" y="270252"/>
                  <a:pt x="2546449" y="270252"/>
                </a:cubicBezTo>
                <a:cubicBezTo>
                  <a:pt x="2510726" y="270252"/>
                  <a:pt x="2481792" y="241304"/>
                  <a:pt x="2481792" y="205590"/>
                </a:cubicBezTo>
                <a:cubicBezTo>
                  <a:pt x="2481792" y="169880"/>
                  <a:pt x="2510726" y="140925"/>
                  <a:pt x="2546449" y="140925"/>
                </a:cubicBezTo>
                <a:close/>
                <a:moveTo>
                  <a:pt x="4100255" y="140924"/>
                </a:moveTo>
                <a:cubicBezTo>
                  <a:pt x="4135957" y="140924"/>
                  <a:pt x="4164923" y="169878"/>
                  <a:pt x="4164923" y="205590"/>
                </a:cubicBezTo>
                <a:cubicBezTo>
                  <a:pt x="4164923" y="241304"/>
                  <a:pt x="4135957" y="270252"/>
                  <a:pt x="4100255" y="270252"/>
                </a:cubicBezTo>
                <a:cubicBezTo>
                  <a:pt x="4064528" y="270252"/>
                  <a:pt x="4035594" y="241304"/>
                  <a:pt x="4035594" y="205590"/>
                </a:cubicBezTo>
                <a:cubicBezTo>
                  <a:pt x="4035594" y="169878"/>
                  <a:pt x="4064528" y="140924"/>
                  <a:pt x="4100255" y="140924"/>
                </a:cubicBezTo>
                <a:close/>
                <a:moveTo>
                  <a:pt x="3947579" y="140924"/>
                </a:moveTo>
                <a:cubicBezTo>
                  <a:pt x="3983297" y="140924"/>
                  <a:pt x="4012257" y="169879"/>
                  <a:pt x="4012257" y="205590"/>
                </a:cubicBezTo>
                <a:cubicBezTo>
                  <a:pt x="4012257" y="241304"/>
                  <a:pt x="3983297" y="270252"/>
                  <a:pt x="3947579" y="270252"/>
                </a:cubicBezTo>
                <a:cubicBezTo>
                  <a:pt x="3912018" y="270252"/>
                  <a:pt x="3883072" y="241304"/>
                  <a:pt x="3883072" y="205590"/>
                </a:cubicBezTo>
                <a:cubicBezTo>
                  <a:pt x="3883072" y="169879"/>
                  <a:pt x="3912018" y="140924"/>
                  <a:pt x="3947579" y="140924"/>
                </a:cubicBezTo>
                <a:close/>
                <a:moveTo>
                  <a:pt x="3791164" y="140924"/>
                </a:moveTo>
                <a:cubicBezTo>
                  <a:pt x="3826868" y="140924"/>
                  <a:pt x="3855828" y="169879"/>
                  <a:pt x="3855828" y="205590"/>
                </a:cubicBezTo>
                <a:cubicBezTo>
                  <a:pt x="3855828" y="241304"/>
                  <a:pt x="3826868" y="270252"/>
                  <a:pt x="3791164" y="270252"/>
                </a:cubicBezTo>
                <a:cubicBezTo>
                  <a:pt x="3755441" y="270252"/>
                  <a:pt x="3726486" y="241304"/>
                  <a:pt x="3726486" y="205590"/>
                </a:cubicBezTo>
                <a:cubicBezTo>
                  <a:pt x="3726486" y="169879"/>
                  <a:pt x="3755441" y="140924"/>
                  <a:pt x="3791164" y="140924"/>
                </a:cubicBezTo>
                <a:close/>
                <a:moveTo>
                  <a:pt x="3630675" y="140924"/>
                </a:moveTo>
                <a:cubicBezTo>
                  <a:pt x="3666383" y="140924"/>
                  <a:pt x="3695344" y="169879"/>
                  <a:pt x="3695344" y="205590"/>
                </a:cubicBezTo>
                <a:cubicBezTo>
                  <a:pt x="3695344" y="241304"/>
                  <a:pt x="3666383" y="270252"/>
                  <a:pt x="3630675" y="270252"/>
                </a:cubicBezTo>
                <a:cubicBezTo>
                  <a:pt x="3594946" y="270252"/>
                  <a:pt x="3565995" y="241304"/>
                  <a:pt x="3565995" y="205590"/>
                </a:cubicBezTo>
                <a:cubicBezTo>
                  <a:pt x="3565995" y="169879"/>
                  <a:pt x="3594946" y="140924"/>
                  <a:pt x="3630675" y="140924"/>
                </a:cubicBezTo>
                <a:close/>
                <a:moveTo>
                  <a:pt x="3481918" y="140924"/>
                </a:moveTo>
                <a:cubicBezTo>
                  <a:pt x="3517633" y="140924"/>
                  <a:pt x="3546591" y="169879"/>
                  <a:pt x="3546591" y="205590"/>
                </a:cubicBezTo>
                <a:cubicBezTo>
                  <a:pt x="3546591" y="241304"/>
                  <a:pt x="3517633" y="270252"/>
                  <a:pt x="3481918" y="270252"/>
                </a:cubicBezTo>
                <a:cubicBezTo>
                  <a:pt x="3446210" y="270252"/>
                  <a:pt x="3417264" y="241304"/>
                  <a:pt x="3417264" y="205590"/>
                </a:cubicBezTo>
                <a:cubicBezTo>
                  <a:pt x="3417264" y="169879"/>
                  <a:pt x="3446210" y="140924"/>
                  <a:pt x="3481918" y="140924"/>
                </a:cubicBezTo>
                <a:close/>
                <a:moveTo>
                  <a:pt x="3172703" y="140924"/>
                </a:moveTo>
                <a:cubicBezTo>
                  <a:pt x="3208428" y="140924"/>
                  <a:pt x="3237377" y="169879"/>
                  <a:pt x="3237377" y="205590"/>
                </a:cubicBezTo>
                <a:cubicBezTo>
                  <a:pt x="3237377" y="241304"/>
                  <a:pt x="3208428" y="270252"/>
                  <a:pt x="3172703" y="270252"/>
                </a:cubicBezTo>
                <a:cubicBezTo>
                  <a:pt x="3136978" y="270252"/>
                  <a:pt x="3108016" y="241304"/>
                  <a:pt x="3108016" y="205590"/>
                </a:cubicBezTo>
                <a:cubicBezTo>
                  <a:pt x="3108016" y="169879"/>
                  <a:pt x="3136978" y="140924"/>
                  <a:pt x="3172703" y="140924"/>
                </a:cubicBezTo>
                <a:close/>
                <a:moveTo>
                  <a:pt x="3012181" y="140924"/>
                </a:moveTo>
                <a:cubicBezTo>
                  <a:pt x="3047889" y="140924"/>
                  <a:pt x="3076850" y="169879"/>
                  <a:pt x="3076850" y="205590"/>
                </a:cubicBezTo>
                <a:cubicBezTo>
                  <a:pt x="3076850" y="241304"/>
                  <a:pt x="3047889" y="270252"/>
                  <a:pt x="3012181" y="270252"/>
                </a:cubicBezTo>
                <a:cubicBezTo>
                  <a:pt x="2976470" y="270252"/>
                  <a:pt x="2947522" y="241304"/>
                  <a:pt x="2947522" y="205590"/>
                </a:cubicBezTo>
                <a:cubicBezTo>
                  <a:pt x="2947522" y="169879"/>
                  <a:pt x="2976470" y="140924"/>
                  <a:pt x="3012181" y="140924"/>
                </a:cubicBezTo>
                <a:close/>
                <a:moveTo>
                  <a:pt x="2855634" y="140924"/>
                </a:moveTo>
                <a:cubicBezTo>
                  <a:pt x="2891335" y="140924"/>
                  <a:pt x="2920282" y="169879"/>
                  <a:pt x="2920282" y="205590"/>
                </a:cubicBezTo>
                <a:cubicBezTo>
                  <a:pt x="2920282" y="241304"/>
                  <a:pt x="2891335" y="270252"/>
                  <a:pt x="2855634" y="270252"/>
                </a:cubicBezTo>
                <a:cubicBezTo>
                  <a:pt x="2819922" y="270252"/>
                  <a:pt x="2790973" y="241304"/>
                  <a:pt x="2790973" y="205590"/>
                </a:cubicBezTo>
                <a:cubicBezTo>
                  <a:pt x="2790973" y="169879"/>
                  <a:pt x="2819922" y="140924"/>
                  <a:pt x="2855634" y="140924"/>
                </a:cubicBezTo>
                <a:close/>
                <a:moveTo>
                  <a:pt x="2699084" y="140924"/>
                </a:moveTo>
                <a:cubicBezTo>
                  <a:pt x="2734792" y="140924"/>
                  <a:pt x="2763737" y="169879"/>
                  <a:pt x="2763737" y="205590"/>
                </a:cubicBezTo>
                <a:cubicBezTo>
                  <a:pt x="2763737" y="241304"/>
                  <a:pt x="2734792" y="270252"/>
                  <a:pt x="2699084" y="270252"/>
                </a:cubicBezTo>
                <a:cubicBezTo>
                  <a:pt x="2663379" y="270252"/>
                  <a:pt x="2634431" y="241304"/>
                  <a:pt x="2634431" y="205590"/>
                </a:cubicBezTo>
                <a:cubicBezTo>
                  <a:pt x="2634431" y="169879"/>
                  <a:pt x="2663379" y="140924"/>
                  <a:pt x="2699084" y="140924"/>
                </a:cubicBezTo>
                <a:close/>
                <a:moveTo>
                  <a:pt x="8601685" y="140924"/>
                </a:moveTo>
                <a:cubicBezTo>
                  <a:pt x="8637399" y="140924"/>
                  <a:pt x="8666351" y="169878"/>
                  <a:pt x="8666351" y="205588"/>
                </a:cubicBezTo>
                <a:cubicBezTo>
                  <a:pt x="8666351" y="241303"/>
                  <a:pt x="8637399" y="270252"/>
                  <a:pt x="8601685" y="270252"/>
                </a:cubicBezTo>
                <a:cubicBezTo>
                  <a:pt x="8565971" y="270252"/>
                  <a:pt x="8537019" y="241303"/>
                  <a:pt x="8537019" y="205588"/>
                </a:cubicBezTo>
                <a:cubicBezTo>
                  <a:pt x="8537019" y="169878"/>
                  <a:pt x="8565971" y="140924"/>
                  <a:pt x="8601685" y="140924"/>
                </a:cubicBezTo>
                <a:close/>
                <a:moveTo>
                  <a:pt x="8449026" y="140924"/>
                </a:moveTo>
                <a:cubicBezTo>
                  <a:pt x="8484740" y="140924"/>
                  <a:pt x="8513692" y="169878"/>
                  <a:pt x="8513692" y="205588"/>
                </a:cubicBezTo>
                <a:cubicBezTo>
                  <a:pt x="8513692" y="241303"/>
                  <a:pt x="8484740" y="270252"/>
                  <a:pt x="8449026" y="270252"/>
                </a:cubicBezTo>
                <a:cubicBezTo>
                  <a:pt x="8413312" y="270252"/>
                  <a:pt x="8384360" y="241303"/>
                  <a:pt x="8384360" y="205588"/>
                </a:cubicBezTo>
                <a:cubicBezTo>
                  <a:pt x="8384360" y="169878"/>
                  <a:pt x="8413312" y="140924"/>
                  <a:pt x="8449026" y="140924"/>
                </a:cubicBezTo>
                <a:close/>
                <a:moveTo>
                  <a:pt x="6120001" y="140924"/>
                </a:moveTo>
                <a:cubicBezTo>
                  <a:pt x="6155715" y="140924"/>
                  <a:pt x="6184667" y="169878"/>
                  <a:pt x="6184667" y="205588"/>
                </a:cubicBezTo>
                <a:cubicBezTo>
                  <a:pt x="6184667" y="241303"/>
                  <a:pt x="6155715" y="270252"/>
                  <a:pt x="6120001" y="270252"/>
                </a:cubicBezTo>
                <a:cubicBezTo>
                  <a:pt x="6084287" y="270252"/>
                  <a:pt x="6055335" y="241303"/>
                  <a:pt x="6055335" y="205588"/>
                </a:cubicBezTo>
                <a:cubicBezTo>
                  <a:pt x="6055335" y="169878"/>
                  <a:pt x="6084287" y="140924"/>
                  <a:pt x="6120001" y="140924"/>
                </a:cubicBezTo>
                <a:close/>
                <a:moveTo>
                  <a:pt x="5967339" y="140924"/>
                </a:moveTo>
                <a:cubicBezTo>
                  <a:pt x="6003053" y="140924"/>
                  <a:pt x="6032005" y="169878"/>
                  <a:pt x="6032005" y="205588"/>
                </a:cubicBezTo>
                <a:cubicBezTo>
                  <a:pt x="6032005" y="241304"/>
                  <a:pt x="6003053" y="270252"/>
                  <a:pt x="5967339" y="270252"/>
                </a:cubicBezTo>
                <a:cubicBezTo>
                  <a:pt x="5931625" y="270252"/>
                  <a:pt x="5902673" y="241304"/>
                  <a:pt x="5902673" y="205588"/>
                </a:cubicBezTo>
                <a:cubicBezTo>
                  <a:pt x="5902673" y="169878"/>
                  <a:pt x="5931625" y="140924"/>
                  <a:pt x="5967339" y="140924"/>
                </a:cubicBezTo>
                <a:close/>
                <a:moveTo>
                  <a:pt x="4875265" y="140924"/>
                </a:moveTo>
                <a:cubicBezTo>
                  <a:pt x="4910983" y="140924"/>
                  <a:pt x="4939942" y="169878"/>
                  <a:pt x="4939942" y="205588"/>
                </a:cubicBezTo>
                <a:cubicBezTo>
                  <a:pt x="4939942" y="241304"/>
                  <a:pt x="4910983" y="270252"/>
                  <a:pt x="4875265" y="270252"/>
                </a:cubicBezTo>
                <a:cubicBezTo>
                  <a:pt x="4839542" y="270252"/>
                  <a:pt x="4810599" y="241304"/>
                  <a:pt x="4810599" y="205588"/>
                </a:cubicBezTo>
                <a:cubicBezTo>
                  <a:pt x="4810599" y="169878"/>
                  <a:pt x="4839542" y="140924"/>
                  <a:pt x="4875265" y="140924"/>
                </a:cubicBezTo>
                <a:close/>
                <a:moveTo>
                  <a:pt x="4722614" y="140924"/>
                </a:moveTo>
                <a:cubicBezTo>
                  <a:pt x="4758338" y="140924"/>
                  <a:pt x="4787277" y="169878"/>
                  <a:pt x="4787277" y="205588"/>
                </a:cubicBezTo>
                <a:cubicBezTo>
                  <a:pt x="4787277" y="241304"/>
                  <a:pt x="4758338" y="270252"/>
                  <a:pt x="4722614" y="270252"/>
                </a:cubicBezTo>
                <a:cubicBezTo>
                  <a:pt x="4686908" y="270252"/>
                  <a:pt x="4657957" y="241304"/>
                  <a:pt x="4657957" y="205588"/>
                </a:cubicBezTo>
                <a:cubicBezTo>
                  <a:pt x="4657957" y="169878"/>
                  <a:pt x="4686908" y="140924"/>
                  <a:pt x="4722614" y="140924"/>
                </a:cubicBezTo>
                <a:close/>
                <a:moveTo>
                  <a:pt x="4566033" y="140924"/>
                </a:moveTo>
                <a:cubicBezTo>
                  <a:pt x="4601754" y="140924"/>
                  <a:pt x="4630719" y="169878"/>
                  <a:pt x="4630719" y="205590"/>
                </a:cubicBezTo>
                <a:cubicBezTo>
                  <a:pt x="4630719" y="241304"/>
                  <a:pt x="4601754" y="270252"/>
                  <a:pt x="4566033" y="270252"/>
                </a:cubicBezTo>
                <a:cubicBezTo>
                  <a:pt x="4530305" y="270252"/>
                  <a:pt x="4501349" y="241304"/>
                  <a:pt x="4501349" y="205590"/>
                </a:cubicBezTo>
                <a:cubicBezTo>
                  <a:pt x="4501349" y="169878"/>
                  <a:pt x="4530305" y="140924"/>
                  <a:pt x="4566033" y="140924"/>
                </a:cubicBezTo>
                <a:close/>
                <a:moveTo>
                  <a:pt x="4409471" y="140924"/>
                </a:moveTo>
                <a:cubicBezTo>
                  <a:pt x="4445169" y="140924"/>
                  <a:pt x="4474113" y="169878"/>
                  <a:pt x="4474113" y="205590"/>
                </a:cubicBezTo>
                <a:cubicBezTo>
                  <a:pt x="4474113" y="241304"/>
                  <a:pt x="4445169" y="270252"/>
                  <a:pt x="4409471" y="270252"/>
                </a:cubicBezTo>
                <a:cubicBezTo>
                  <a:pt x="4373772" y="270252"/>
                  <a:pt x="4344809" y="241304"/>
                  <a:pt x="4344809" y="205590"/>
                </a:cubicBezTo>
                <a:cubicBezTo>
                  <a:pt x="4344809" y="169878"/>
                  <a:pt x="4373772" y="140924"/>
                  <a:pt x="4409471" y="140924"/>
                </a:cubicBezTo>
                <a:close/>
                <a:moveTo>
                  <a:pt x="4256823" y="140924"/>
                </a:moveTo>
                <a:cubicBezTo>
                  <a:pt x="4292543" y="140924"/>
                  <a:pt x="4321471" y="169878"/>
                  <a:pt x="4321471" y="205590"/>
                </a:cubicBezTo>
                <a:cubicBezTo>
                  <a:pt x="4321471" y="241304"/>
                  <a:pt x="4292543" y="270252"/>
                  <a:pt x="4256823" y="270252"/>
                </a:cubicBezTo>
                <a:cubicBezTo>
                  <a:pt x="4221105" y="270252"/>
                  <a:pt x="4192125" y="241304"/>
                  <a:pt x="4192125" y="205590"/>
                </a:cubicBezTo>
                <a:cubicBezTo>
                  <a:pt x="4192125" y="169878"/>
                  <a:pt x="4221105" y="140924"/>
                  <a:pt x="4256823" y="140924"/>
                </a:cubicBezTo>
                <a:close/>
                <a:moveTo>
                  <a:pt x="8766087" y="140923"/>
                </a:moveTo>
                <a:cubicBezTo>
                  <a:pt x="8801801" y="140923"/>
                  <a:pt x="8830753" y="169878"/>
                  <a:pt x="8830753" y="205588"/>
                </a:cubicBezTo>
                <a:cubicBezTo>
                  <a:pt x="8830753" y="241303"/>
                  <a:pt x="8801801" y="270252"/>
                  <a:pt x="8766087" y="270252"/>
                </a:cubicBezTo>
                <a:cubicBezTo>
                  <a:pt x="8730373" y="270252"/>
                  <a:pt x="8701421" y="241303"/>
                  <a:pt x="8701421" y="205588"/>
                </a:cubicBezTo>
                <a:cubicBezTo>
                  <a:pt x="8701421" y="169878"/>
                  <a:pt x="8730373" y="140923"/>
                  <a:pt x="8766087" y="140923"/>
                </a:cubicBezTo>
                <a:close/>
                <a:moveTo>
                  <a:pt x="3172703" y="0"/>
                </a:moveTo>
                <a:cubicBezTo>
                  <a:pt x="3208428" y="0"/>
                  <a:pt x="3237377" y="28951"/>
                  <a:pt x="3237377" y="64665"/>
                </a:cubicBezTo>
                <a:cubicBezTo>
                  <a:pt x="3237377" y="100379"/>
                  <a:pt x="3208428" y="129330"/>
                  <a:pt x="3172703" y="129330"/>
                </a:cubicBezTo>
                <a:cubicBezTo>
                  <a:pt x="3136978" y="129330"/>
                  <a:pt x="3108016" y="100379"/>
                  <a:pt x="3108016" y="64665"/>
                </a:cubicBezTo>
                <a:cubicBezTo>
                  <a:pt x="3108016" y="28951"/>
                  <a:pt x="3136978" y="0"/>
                  <a:pt x="3172703" y="0"/>
                </a:cubicBezTo>
                <a:close/>
                <a:moveTo>
                  <a:pt x="3012181" y="0"/>
                </a:moveTo>
                <a:cubicBezTo>
                  <a:pt x="3047889" y="0"/>
                  <a:pt x="3076850" y="28952"/>
                  <a:pt x="3076850" y="64665"/>
                </a:cubicBezTo>
                <a:cubicBezTo>
                  <a:pt x="3076850" y="100379"/>
                  <a:pt x="3047889" y="129330"/>
                  <a:pt x="3012181" y="129330"/>
                </a:cubicBezTo>
                <a:cubicBezTo>
                  <a:pt x="2976470" y="129330"/>
                  <a:pt x="2947522" y="100379"/>
                  <a:pt x="2947522" y="64665"/>
                </a:cubicBezTo>
                <a:cubicBezTo>
                  <a:pt x="2947522" y="28952"/>
                  <a:pt x="2976470" y="0"/>
                  <a:pt x="3012181" y="0"/>
                </a:cubicBezTo>
                <a:close/>
                <a:moveTo>
                  <a:pt x="2855634" y="0"/>
                </a:moveTo>
                <a:cubicBezTo>
                  <a:pt x="2891335" y="0"/>
                  <a:pt x="2920282" y="28952"/>
                  <a:pt x="2920282" y="64665"/>
                </a:cubicBezTo>
                <a:cubicBezTo>
                  <a:pt x="2920282" y="100379"/>
                  <a:pt x="2891335" y="129330"/>
                  <a:pt x="2855634" y="129330"/>
                </a:cubicBezTo>
                <a:cubicBezTo>
                  <a:pt x="2819922" y="129330"/>
                  <a:pt x="2790973" y="100379"/>
                  <a:pt x="2790973" y="64665"/>
                </a:cubicBezTo>
                <a:cubicBezTo>
                  <a:pt x="2790973" y="28952"/>
                  <a:pt x="2819922" y="0"/>
                  <a:pt x="2855634" y="0"/>
                </a:cubicBezTo>
                <a:close/>
                <a:moveTo>
                  <a:pt x="4100255" y="0"/>
                </a:moveTo>
                <a:cubicBezTo>
                  <a:pt x="4135957" y="0"/>
                  <a:pt x="4164923" y="28951"/>
                  <a:pt x="4164923" y="64665"/>
                </a:cubicBezTo>
                <a:cubicBezTo>
                  <a:pt x="4164923" y="100378"/>
                  <a:pt x="4135957" y="129330"/>
                  <a:pt x="4100255" y="129330"/>
                </a:cubicBezTo>
                <a:cubicBezTo>
                  <a:pt x="4064528" y="129330"/>
                  <a:pt x="4035594" y="100378"/>
                  <a:pt x="4035594" y="64665"/>
                </a:cubicBezTo>
                <a:cubicBezTo>
                  <a:pt x="4035594" y="28951"/>
                  <a:pt x="4064528" y="0"/>
                  <a:pt x="4100255" y="0"/>
                </a:cubicBezTo>
                <a:close/>
                <a:moveTo>
                  <a:pt x="3947579" y="0"/>
                </a:moveTo>
                <a:cubicBezTo>
                  <a:pt x="3983297" y="0"/>
                  <a:pt x="4012257" y="28951"/>
                  <a:pt x="4012257" y="64665"/>
                </a:cubicBezTo>
                <a:cubicBezTo>
                  <a:pt x="4012257" y="100378"/>
                  <a:pt x="3983297" y="129330"/>
                  <a:pt x="3947579" y="129330"/>
                </a:cubicBezTo>
                <a:cubicBezTo>
                  <a:pt x="3912018" y="129330"/>
                  <a:pt x="3883072" y="100378"/>
                  <a:pt x="3883072" y="64665"/>
                </a:cubicBezTo>
                <a:cubicBezTo>
                  <a:pt x="3883072" y="28951"/>
                  <a:pt x="3912018" y="0"/>
                  <a:pt x="3947579" y="0"/>
                </a:cubicBezTo>
                <a:close/>
                <a:moveTo>
                  <a:pt x="3791164" y="0"/>
                </a:moveTo>
                <a:cubicBezTo>
                  <a:pt x="3826868" y="0"/>
                  <a:pt x="3855828" y="28951"/>
                  <a:pt x="3855828" y="64665"/>
                </a:cubicBezTo>
                <a:cubicBezTo>
                  <a:pt x="3855828" y="100378"/>
                  <a:pt x="3826868" y="129330"/>
                  <a:pt x="3791164" y="129330"/>
                </a:cubicBezTo>
                <a:cubicBezTo>
                  <a:pt x="3755441" y="129330"/>
                  <a:pt x="3726486" y="100378"/>
                  <a:pt x="3726486" y="64665"/>
                </a:cubicBezTo>
                <a:cubicBezTo>
                  <a:pt x="3726486" y="28951"/>
                  <a:pt x="3755441" y="0"/>
                  <a:pt x="3791164" y="0"/>
                </a:cubicBezTo>
                <a:close/>
                <a:moveTo>
                  <a:pt x="3321453" y="0"/>
                </a:moveTo>
                <a:cubicBezTo>
                  <a:pt x="3357165" y="0"/>
                  <a:pt x="3386097" y="28951"/>
                  <a:pt x="3386097" y="64665"/>
                </a:cubicBezTo>
                <a:cubicBezTo>
                  <a:pt x="3386097" y="100378"/>
                  <a:pt x="3357165" y="129330"/>
                  <a:pt x="3321453" y="129330"/>
                </a:cubicBezTo>
                <a:cubicBezTo>
                  <a:pt x="3285730" y="129330"/>
                  <a:pt x="3256791" y="100378"/>
                  <a:pt x="3256791" y="64665"/>
                </a:cubicBezTo>
                <a:cubicBezTo>
                  <a:pt x="3256791" y="28951"/>
                  <a:pt x="3285730" y="0"/>
                  <a:pt x="3321453" y="0"/>
                </a:cubicBezTo>
                <a:close/>
                <a:moveTo>
                  <a:pt x="4722614" y="0"/>
                </a:moveTo>
                <a:cubicBezTo>
                  <a:pt x="4758338" y="0"/>
                  <a:pt x="4787277" y="28951"/>
                  <a:pt x="4787277" y="64665"/>
                </a:cubicBezTo>
                <a:cubicBezTo>
                  <a:pt x="4787277" y="100378"/>
                  <a:pt x="4758338" y="129329"/>
                  <a:pt x="4722614" y="129329"/>
                </a:cubicBezTo>
                <a:cubicBezTo>
                  <a:pt x="4686908" y="129329"/>
                  <a:pt x="4657957" y="100378"/>
                  <a:pt x="4657957" y="64665"/>
                </a:cubicBezTo>
                <a:cubicBezTo>
                  <a:pt x="4657957" y="28951"/>
                  <a:pt x="4686908" y="0"/>
                  <a:pt x="4722614" y="0"/>
                </a:cubicBezTo>
                <a:close/>
                <a:moveTo>
                  <a:pt x="4566033" y="0"/>
                </a:moveTo>
                <a:cubicBezTo>
                  <a:pt x="4601754" y="0"/>
                  <a:pt x="4630719" y="28951"/>
                  <a:pt x="4630719" y="64665"/>
                </a:cubicBezTo>
                <a:cubicBezTo>
                  <a:pt x="4630719" y="100378"/>
                  <a:pt x="4601754" y="129329"/>
                  <a:pt x="4566033" y="129329"/>
                </a:cubicBezTo>
                <a:cubicBezTo>
                  <a:pt x="4530305" y="129329"/>
                  <a:pt x="4501349" y="100378"/>
                  <a:pt x="4501349" y="64665"/>
                </a:cubicBezTo>
                <a:cubicBezTo>
                  <a:pt x="4501349" y="28951"/>
                  <a:pt x="4530305" y="0"/>
                  <a:pt x="4566033" y="0"/>
                </a:cubicBezTo>
                <a:close/>
                <a:moveTo>
                  <a:pt x="4409471" y="0"/>
                </a:moveTo>
                <a:cubicBezTo>
                  <a:pt x="4445169" y="0"/>
                  <a:pt x="4474113" y="28951"/>
                  <a:pt x="4474113" y="64665"/>
                </a:cubicBezTo>
                <a:cubicBezTo>
                  <a:pt x="4474113" y="100378"/>
                  <a:pt x="4445169" y="129329"/>
                  <a:pt x="4409471" y="129329"/>
                </a:cubicBezTo>
                <a:cubicBezTo>
                  <a:pt x="4373772" y="129329"/>
                  <a:pt x="4344809" y="100378"/>
                  <a:pt x="4344809" y="64665"/>
                </a:cubicBezTo>
                <a:cubicBezTo>
                  <a:pt x="4344809" y="28951"/>
                  <a:pt x="4373772" y="0"/>
                  <a:pt x="4409471" y="0"/>
                </a:cubicBezTo>
                <a:close/>
                <a:moveTo>
                  <a:pt x="4256823" y="0"/>
                </a:moveTo>
                <a:cubicBezTo>
                  <a:pt x="4292543" y="0"/>
                  <a:pt x="4321471" y="28951"/>
                  <a:pt x="4321471" y="64665"/>
                </a:cubicBezTo>
                <a:cubicBezTo>
                  <a:pt x="4321471" y="100378"/>
                  <a:pt x="4292543" y="129330"/>
                  <a:pt x="4256823" y="129330"/>
                </a:cubicBezTo>
                <a:cubicBezTo>
                  <a:pt x="4221105" y="129330"/>
                  <a:pt x="4192125" y="100378"/>
                  <a:pt x="4192125" y="64665"/>
                </a:cubicBezTo>
                <a:cubicBezTo>
                  <a:pt x="4192125" y="28951"/>
                  <a:pt x="4221105" y="0"/>
                  <a:pt x="4256823" y="0"/>
                </a:cubicBezTo>
                <a:close/>
                <a:moveTo>
                  <a:pt x="8601685" y="0"/>
                </a:moveTo>
                <a:cubicBezTo>
                  <a:pt x="8637399" y="0"/>
                  <a:pt x="8666351" y="28951"/>
                  <a:pt x="8666351" y="64665"/>
                </a:cubicBezTo>
                <a:cubicBezTo>
                  <a:pt x="8666351" y="100378"/>
                  <a:pt x="8637399" y="129329"/>
                  <a:pt x="8601685" y="129329"/>
                </a:cubicBezTo>
                <a:cubicBezTo>
                  <a:pt x="8565971" y="129329"/>
                  <a:pt x="8537019" y="100378"/>
                  <a:pt x="8537019" y="64665"/>
                </a:cubicBezTo>
                <a:cubicBezTo>
                  <a:pt x="8537019" y="28951"/>
                  <a:pt x="8565971" y="0"/>
                  <a:pt x="8601685" y="0"/>
                </a:cubicBezTo>
                <a:close/>
                <a:moveTo>
                  <a:pt x="5031854" y="0"/>
                </a:moveTo>
                <a:cubicBezTo>
                  <a:pt x="5067557" y="0"/>
                  <a:pt x="5096512" y="28951"/>
                  <a:pt x="5096512" y="64665"/>
                </a:cubicBezTo>
                <a:cubicBezTo>
                  <a:pt x="5096512" y="100378"/>
                  <a:pt x="5067557" y="129329"/>
                  <a:pt x="5031854" y="129329"/>
                </a:cubicBezTo>
                <a:cubicBezTo>
                  <a:pt x="4996117" y="129329"/>
                  <a:pt x="4967176" y="100378"/>
                  <a:pt x="4967176" y="64665"/>
                </a:cubicBezTo>
                <a:cubicBezTo>
                  <a:pt x="4967176" y="28951"/>
                  <a:pt x="4996117" y="0"/>
                  <a:pt x="5031854" y="0"/>
                </a:cubicBezTo>
                <a:close/>
                <a:moveTo>
                  <a:pt x="4875265" y="0"/>
                </a:moveTo>
                <a:cubicBezTo>
                  <a:pt x="4910983" y="0"/>
                  <a:pt x="4939942" y="28951"/>
                  <a:pt x="4939942" y="64665"/>
                </a:cubicBezTo>
                <a:cubicBezTo>
                  <a:pt x="4939942" y="100378"/>
                  <a:pt x="4910983" y="129329"/>
                  <a:pt x="4875265" y="129329"/>
                </a:cubicBezTo>
                <a:cubicBezTo>
                  <a:pt x="4839542" y="129329"/>
                  <a:pt x="4810599" y="100378"/>
                  <a:pt x="4810599" y="64665"/>
                </a:cubicBezTo>
                <a:cubicBezTo>
                  <a:pt x="4810599" y="28951"/>
                  <a:pt x="4839542" y="0"/>
                  <a:pt x="4875265" y="0"/>
                </a:cubicBezTo>
                <a:close/>
              </a:path>
            </a:pathLst>
          </a:custGeom>
          <a:solidFill>
            <a:srgbClr val="D2D2D2"/>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 name="Oval 8">
            <a:extLst>
              <a:ext uri="{FF2B5EF4-FFF2-40B4-BE49-F238E27FC236}">
                <a16:creationId xmlns:a16="http://schemas.microsoft.com/office/drawing/2014/main" id="{27F0EFA6-7FD2-4977-AA80-31376DE5DCEF}"/>
              </a:ext>
            </a:extLst>
          </p:cNvPr>
          <p:cNvSpPr/>
          <p:nvPr/>
        </p:nvSpPr>
        <p:spPr bwMode="auto">
          <a:xfrm>
            <a:off x="6413778" y="2617314"/>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0" name="Oval 9">
            <a:extLst>
              <a:ext uri="{FF2B5EF4-FFF2-40B4-BE49-F238E27FC236}">
                <a16:creationId xmlns:a16="http://schemas.microsoft.com/office/drawing/2014/main" id="{605F293C-FCC8-43DD-AFB6-66895335272A}"/>
              </a:ext>
            </a:extLst>
          </p:cNvPr>
          <p:cNvSpPr/>
          <p:nvPr/>
        </p:nvSpPr>
        <p:spPr bwMode="auto">
          <a:xfrm>
            <a:off x="6788821" y="2830847"/>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a:extLst>
              <a:ext uri="{FF2B5EF4-FFF2-40B4-BE49-F238E27FC236}">
                <a16:creationId xmlns:a16="http://schemas.microsoft.com/office/drawing/2014/main" id="{50EC1260-D595-41FF-BC79-D12FD1634A65}"/>
              </a:ext>
            </a:extLst>
          </p:cNvPr>
          <p:cNvSpPr/>
          <p:nvPr/>
        </p:nvSpPr>
        <p:spPr bwMode="auto">
          <a:xfrm>
            <a:off x="7058920" y="2366933"/>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2" name="Oval 11">
            <a:extLst>
              <a:ext uri="{FF2B5EF4-FFF2-40B4-BE49-F238E27FC236}">
                <a16:creationId xmlns:a16="http://schemas.microsoft.com/office/drawing/2014/main" id="{7F1D176A-B802-47E6-9475-6C2D76C2BBE3}"/>
              </a:ext>
            </a:extLst>
          </p:cNvPr>
          <p:cNvSpPr/>
          <p:nvPr/>
        </p:nvSpPr>
        <p:spPr bwMode="auto">
          <a:xfrm>
            <a:off x="7328317" y="2543160"/>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3" name="Oval 12">
            <a:extLst>
              <a:ext uri="{FF2B5EF4-FFF2-40B4-BE49-F238E27FC236}">
                <a16:creationId xmlns:a16="http://schemas.microsoft.com/office/drawing/2014/main" id="{C63AE5AF-632B-463B-8DC5-6F2661624135}"/>
              </a:ext>
            </a:extLst>
          </p:cNvPr>
          <p:cNvSpPr/>
          <p:nvPr/>
        </p:nvSpPr>
        <p:spPr bwMode="auto">
          <a:xfrm>
            <a:off x="10785384" y="4159240"/>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44E63FF6-6F13-4904-A6DB-711E30ACDDCD}"/>
              </a:ext>
            </a:extLst>
          </p:cNvPr>
          <p:cNvSpPr/>
          <p:nvPr/>
        </p:nvSpPr>
        <p:spPr bwMode="auto">
          <a:xfrm>
            <a:off x="10720935" y="3806340"/>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5" name="Oval 14">
            <a:extLst>
              <a:ext uri="{FF2B5EF4-FFF2-40B4-BE49-F238E27FC236}">
                <a16:creationId xmlns:a16="http://schemas.microsoft.com/office/drawing/2014/main" id="{CC3A063E-EFF0-4665-8517-D98A779185D8}"/>
              </a:ext>
            </a:extLst>
          </p:cNvPr>
          <p:cNvSpPr/>
          <p:nvPr/>
        </p:nvSpPr>
        <p:spPr bwMode="auto">
          <a:xfrm>
            <a:off x="10262894" y="3453959"/>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6" name="Oval 15">
            <a:extLst>
              <a:ext uri="{FF2B5EF4-FFF2-40B4-BE49-F238E27FC236}">
                <a16:creationId xmlns:a16="http://schemas.microsoft.com/office/drawing/2014/main" id="{7DCD7093-361B-4C4C-89F5-A089F62C83EE}"/>
              </a:ext>
            </a:extLst>
          </p:cNvPr>
          <p:cNvSpPr/>
          <p:nvPr/>
        </p:nvSpPr>
        <p:spPr bwMode="auto">
          <a:xfrm>
            <a:off x="10644010" y="2751948"/>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E19193EB-5672-4DE5-8B08-542B79688052}"/>
              </a:ext>
            </a:extLst>
          </p:cNvPr>
          <p:cNvSpPr/>
          <p:nvPr/>
        </p:nvSpPr>
        <p:spPr bwMode="auto">
          <a:xfrm>
            <a:off x="10185998" y="2614789"/>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8" name="Oval 17">
            <a:extLst>
              <a:ext uri="{FF2B5EF4-FFF2-40B4-BE49-F238E27FC236}">
                <a16:creationId xmlns:a16="http://schemas.microsoft.com/office/drawing/2014/main" id="{E7EB9489-2A63-4F8B-AD68-360D606BFF2E}"/>
              </a:ext>
            </a:extLst>
          </p:cNvPr>
          <p:cNvSpPr/>
          <p:nvPr/>
        </p:nvSpPr>
        <p:spPr bwMode="auto">
          <a:xfrm>
            <a:off x="11034858" y="2271860"/>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9" name="Oval 18">
            <a:extLst>
              <a:ext uri="{FF2B5EF4-FFF2-40B4-BE49-F238E27FC236}">
                <a16:creationId xmlns:a16="http://schemas.microsoft.com/office/drawing/2014/main" id="{CB975C1C-F13A-4E80-9639-9CDAE123FF5A}"/>
              </a:ext>
            </a:extLst>
          </p:cNvPr>
          <p:cNvSpPr/>
          <p:nvPr/>
        </p:nvSpPr>
        <p:spPr bwMode="auto">
          <a:xfrm>
            <a:off x="10714742" y="2342559"/>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0ADC8817-3BEE-4DB5-92B8-A10D0ECF3379}"/>
              </a:ext>
            </a:extLst>
          </p:cNvPr>
          <p:cNvSpPr/>
          <p:nvPr/>
        </p:nvSpPr>
        <p:spPr bwMode="auto">
          <a:xfrm>
            <a:off x="10339702" y="2129014"/>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E1E81136-57CB-4E43-9B32-EAD87AA6ED29}"/>
              </a:ext>
            </a:extLst>
          </p:cNvPr>
          <p:cNvSpPr/>
          <p:nvPr/>
        </p:nvSpPr>
        <p:spPr bwMode="auto">
          <a:xfrm>
            <a:off x="7642210" y="3739852"/>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2" name="Oval 21">
            <a:extLst>
              <a:ext uri="{FF2B5EF4-FFF2-40B4-BE49-F238E27FC236}">
                <a16:creationId xmlns:a16="http://schemas.microsoft.com/office/drawing/2014/main" id="{9EDDDEFB-871C-4977-87B6-4E9FC890A6B5}"/>
              </a:ext>
            </a:extLst>
          </p:cNvPr>
          <p:cNvSpPr/>
          <p:nvPr/>
        </p:nvSpPr>
        <p:spPr bwMode="auto">
          <a:xfrm>
            <a:off x="6455695" y="2659230"/>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3" name="Oval 22">
            <a:extLst>
              <a:ext uri="{FF2B5EF4-FFF2-40B4-BE49-F238E27FC236}">
                <a16:creationId xmlns:a16="http://schemas.microsoft.com/office/drawing/2014/main" id="{54BC0967-A7BE-4632-891C-2782B852AC68}"/>
              </a:ext>
            </a:extLst>
          </p:cNvPr>
          <p:cNvSpPr/>
          <p:nvPr/>
        </p:nvSpPr>
        <p:spPr bwMode="auto">
          <a:xfrm>
            <a:off x="6830737" y="2872763"/>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4" name="Oval 23">
            <a:extLst>
              <a:ext uri="{FF2B5EF4-FFF2-40B4-BE49-F238E27FC236}">
                <a16:creationId xmlns:a16="http://schemas.microsoft.com/office/drawing/2014/main" id="{49EFFB44-729F-46AC-A29E-8426803A659E}"/>
              </a:ext>
            </a:extLst>
          </p:cNvPr>
          <p:cNvSpPr/>
          <p:nvPr/>
        </p:nvSpPr>
        <p:spPr bwMode="auto">
          <a:xfrm>
            <a:off x="7100836" y="2408849"/>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5" name="Oval 24">
            <a:extLst>
              <a:ext uri="{FF2B5EF4-FFF2-40B4-BE49-F238E27FC236}">
                <a16:creationId xmlns:a16="http://schemas.microsoft.com/office/drawing/2014/main" id="{308347A0-1118-4A5D-8B74-26572D619CD0}"/>
              </a:ext>
            </a:extLst>
          </p:cNvPr>
          <p:cNvSpPr/>
          <p:nvPr/>
        </p:nvSpPr>
        <p:spPr bwMode="auto">
          <a:xfrm>
            <a:off x="7370233" y="2585076"/>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6" name="Oval 25">
            <a:extLst>
              <a:ext uri="{FF2B5EF4-FFF2-40B4-BE49-F238E27FC236}">
                <a16:creationId xmlns:a16="http://schemas.microsoft.com/office/drawing/2014/main" id="{937FE991-C467-49AC-8E46-9090FB172199}"/>
              </a:ext>
            </a:extLst>
          </p:cNvPr>
          <p:cNvSpPr/>
          <p:nvPr/>
        </p:nvSpPr>
        <p:spPr bwMode="auto">
          <a:xfrm>
            <a:off x="10827300" y="4201157"/>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7" name="Oval 26">
            <a:extLst>
              <a:ext uri="{FF2B5EF4-FFF2-40B4-BE49-F238E27FC236}">
                <a16:creationId xmlns:a16="http://schemas.microsoft.com/office/drawing/2014/main" id="{FFA6C37D-ED11-495D-AD1B-271BDDC033BA}"/>
              </a:ext>
            </a:extLst>
          </p:cNvPr>
          <p:cNvSpPr/>
          <p:nvPr/>
        </p:nvSpPr>
        <p:spPr bwMode="auto">
          <a:xfrm>
            <a:off x="10762851" y="3848257"/>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8" name="Oval 27">
            <a:extLst>
              <a:ext uri="{FF2B5EF4-FFF2-40B4-BE49-F238E27FC236}">
                <a16:creationId xmlns:a16="http://schemas.microsoft.com/office/drawing/2014/main" id="{781246E4-A621-4D24-B41E-A1D3A89A20F1}"/>
              </a:ext>
            </a:extLst>
          </p:cNvPr>
          <p:cNvSpPr/>
          <p:nvPr/>
        </p:nvSpPr>
        <p:spPr bwMode="auto">
          <a:xfrm>
            <a:off x="10304810" y="3495876"/>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9" name="Oval 28">
            <a:extLst>
              <a:ext uri="{FF2B5EF4-FFF2-40B4-BE49-F238E27FC236}">
                <a16:creationId xmlns:a16="http://schemas.microsoft.com/office/drawing/2014/main" id="{F9402741-328F-43A0-B183-961E015DAB7B}"/>
              </a:ext>
            </a:extLst>
          </p:cNvPr>
          <p:cNvSpPr/>
          <p:nvPr/>
        </p:nvSpPr>
        <p:spPr bwMode="auto">
          <a:xfrm>
            <a:off x="10685927" y="2793865"/>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4DE5A536-2C3D-4926-A509-6287E964E425}"/>
              </a:ext>
            </a:extLst>
          </p:cNvPr>
          <p:cNvSpPr/>
          <p:nvPr/>
        </p:nvSpPr>
        <p:spPr bwMode="auto">
          <a:xfrm>
            <a:off x="10227915" y="2656705"/>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1" name="Oval 30">
            <a:extLst>
              <a:ext uri="{FF2B5EF4-FFF2-40B4-BE49-F238E27FC236}">
                <a16:creationId xmlns:a16="http://schemas.microsoft.com/office/drawing/2014/main" id="{0FC5C75D-ECE0-41EE-A430-494E7E8801F1}"/>
              </a:ext>
            </a:extLst>
          </p:cNvPr>
          <p:cNvSpPr/>
          <p:nvPr/>
        </p:nvSpPr>
        <p:spPr bwMode="auto">
          <a:xfrm>
            <a:off x="11076774" y="2313776"/>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2" name="Oval 31">
            <a:extLst>
              <a:ext uri="{FF2B5EF4-FFF2-40B4-BE49-F238E27FC236}">
                <a16:creationId xmlns:a16="http://schemas.microsoft.com/office/drawing/2014/main" id="{735B8E5E-0212-46F7-BB6E-2B03A9C24F17}"/>
              </a:ext>
            </a:extLst>
          </p:cNvPr>
          <p:cNvSpPr/>
          <p:nvPr/>
        </p:nvSpPr>
        <p:spPr bwMode="auto">
          <a:xfrm>
            <a:off x="10756659" y="2384475"/>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3" name="Oval 32">
            <a:extLst>
              <a:ext uri="{FF2B5EF4-FFF2-40B4-BE49-F238E27FC236}">
                <a16:creationId xmlns:a16="http://schemas.microsoft.com/office/drawing/2014/main" id="{4231DB3F-6877-4B23-B470-874FE1290E5F}"/>
              </a:ext>
            </a:extLst>
          </p:cNvPr>
          <p:cNvSpPr/>
          <p:nvPr/>
        </p:nvSpPr>
        <p:spPr bwMode="auto">
          <a:xfrm>
            <a:off x="10381618" y="2170930"/>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4" name="Oval 33">
            <a:extLst>
              <a:ext uri="{FF2B5EF4-FFF2-40B4-BE49-F238E27FC236}">
                <a16:creationId xmlns:a16="http://schemas.microsoft.com/office/drawing/2014/main" id="{3901F710-174E-4D79-927C-E11283354EC3}"/>
              </a:ext>
            </a:extLst>
          </p:cNvPr>
          <p:cNvSpPr/>
          <p:nvPr/>
        </p:nvSpPr>
        <p:spPr bwMode="auto">
          <a:xfrm>
            <a:off x="7684127" y="3781768"/>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5" name="Oval 34">
            <a:extLst>
              <a:ext uri="{FF2B5EF4-FFF2-40B4-BE49-F238E27FC236}">
                <a16:creationId xmlns:a16="http://schemas.microsoft.com/office/drawing/2014/main" id="{BF8DD85A-3CEB-47BE-BE7D-2FC2E98B093D}"/>
              </a:ext>
            </a:extLst>
          </p:cNvPr>
          <p:cNvSpPr/>
          <p:nvPr/>
        </p:nvSpPr>
        <p:spPr bwMode="auto">
          <a:xfrm>
            <a:off x="8466346" y="2140247"/>
            <a:ext cx="683826" cy="683826"/>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6" name="Cylinder 513">
            <a:extLst>
              <a:ext uri="{FF2B5EF4-FFF2-40B4-BE49-F238E27FC236}">
                <a16:creationId xmlns:a16="http://schemas.microsoft.com/office/drawing/2014/main" id="{3B44DA2A-628A-4A9F-B0B9-AC44853EA7C2}"/>
              </a:ext>
            </a:extLst>
          </p:cNvPr>
          <p:cNvSpPr/>
          <p:nvPr/>
        </p:nvSpPr>
        <p:spPr bwMode="auto">
          <a:xfrm>
            <a:off x="10984444" y="4082881"/>
            <a:ext cx="235859" cy="309861"/>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37" name="Group 36">
            <a:extLst>
              <a:ext uri="{FF2B5EF4-FFF2-40B4-BE49-F238E27FC236}">
                <a16:creationId xmlns:a16="http://schemas.microsoft.com/office/drawing/2014/main" id="{248F09DD-B05E-4FA6-BD07-8CA900C86996}"/>
              </a:ext>
            </a:extLst>
          </p:cNvPr>
          <p:cNvGrpSpPr/>
          <p:nvPr/>
        </p:nvGrpSpPr>
        <p:grpSpPr>
          <a:xfrm>
            <a:off x="11262966" y="4098394"/>
            <a:ext cx="292523" cy="262441"/>
            <a:chOff x="1275510" y="6072184"/>
            <a:chExt cx="508602" cy="456298"/>
          </a:xfrm>
        </p:grpSpPr>
        <p:grpSp>
          <p:nvGrpSpPr>
            <p:cNvPr id="38" name="Group 37">
              <a:extLst>
                <a:ext uri="{FF2B5EF4-FFF2-40B4-BE49-F238E27FC236}">
                  <a16:creationId xmlns:a16="http://schemas.microsoft.com/office/drawing/2014/main" id="{E05D256C-C61B-4904-B902-10F6A989256D}"/>
                </a:ext>
              </a:extLst>
            </p:cNvPr>
            <p:cNvGrpSpPr/>
            <p:nvPr/>
          </p:nvGrpSpPr>
          <p:grpSpPr>
            <a:xfrm>
              <a:off x="1275510" y="6224584"/>
              <a:ext cx="508602" cy="151498"/>
              <a:chOff x="551886" y="4945335"/>
              <a:chExt cx="508602" cy="151498"/>
            </a:xfrm>
          </p:grpSpPr>
          <p:sp>
            <p:nvSpPr>
              <p:cNvPr id="47" name="Rectangle 46">
                <a:extLst>
                  <a:ext uri="{FF2B5EF4-FFF2-40B4-BE49-F238E27FC236}">
                    <a16:creationId xmlns:a16="http://schemas.microsoft.com/office/drawing/2014/main" id="{30E454F6-C8D3-46F6-94BD-9CC626F78FCD}"/>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a:extLst>
                  <a:ext uri="{FF2B5EF4-FFF2-40B4-BE49-F238E27FC236}">
                    <a16:creationId xmlns:a16="http://schemas.microsoft.com/office/drawing/2014/main" id="{E45EA759-A5AD-4915-91F7-D66642B28184}"/>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9" name="Straight Connector 48">
                <a:extLst>
                  <a:ext uri="{FF2B5EF4-FFF2-40B4-BE49-F238E27FC236}">
                    <a16:creationId xmlns:a16="http://schemas.microsoft.com/office/drawing/2014/main" id="{C7DA0D0A-F491-4BF8-ACAC-F5929D4EE509}"/>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39" name="Group 38">
              <a:extLst>
                <a:ext uri="{FF2B5EF4-FFF2-40B4-BE49-F238E27FC236}">
                  <a16:creationId xmlns:a16="http://schemas.microsoft.com/office/drawing/2014/main" id="{FC83585E-FCDA-421D-98D7-2B6D7A9A271F}"/>
                </a:ext>
              </a:extLst>
            </p:cNvPr>
            <p:cNvGrpSpPr/>
            <p:nvPr/>
          </p:nvGrpSpPr>
          <p:grpSpPr>
            <a:xfrm>
              <a:off x="1275510" y="6376984"/>
              <a:ext cx="508602" cy="151498"/>
              <a:chOff x="551886" y="4945335"/>
              <a:chExt cx="508602" cy="151498"/>
            </a:xfrm>
          </p:grpSpPr>
          <p:sp>
            <p:nvSpPr>
              <p:cNvPr id="44" name="Rectangle 43">
                <a:extLst>
                  <a:ext uri="{FF2B5EF4-FFF2-40B4-BE49-F238E27FC236}">
                    <a16:creationId xmlns:a16="http://schemas.microsoft.com/office/drawing/2014/main" id="{BD7034B4-A0CE-4435-BDCD-E68184DDD772}"/>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5" name="Oval 44">
                <a:extLst>
                  <a:ext uri="{FF2B5EF4-FFF2-40B4-BE49-F238E27FC236}">
                    <a16:creationId xmlns:a16="http://schemas.microsoft.com/office/drawing/2014/main" id="{FF8CC95C-EECA-4E9D-9DC6-049B30AF4828}"/>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B8A15628-5CBF-4565-BE06-AC725B0911AD}"/>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40" name="Group 39">
              <a:extLst>
                <a:ext uri="{FF2B5EF4-FFF2-40B4-BE49-F238E27FC236}">
                  <a16:creationId xmlns:a16="http://schemas.microsoft.com/office/drawing/2014/main" id="{1D63B572-99FF-4934-8783-14164B5F36D6}"/>
                </a:ext>
              </a:extLst>
            </p:cNvPr>
            <p:cNvGrpSpPr/>
            <p:nvPr/>
          </p:nvGrpSpPr>
          <p:grpSpPr>
            <a:xfrm>
              <a:off x="1275510" y="6072184"/>
              <a:ext cx="508602" cy="151498"/>
              <a:chOff x="551886" y="4945335"/>
              <a:chExt cx="508602" cy="151498"/>
            </a:xfrm>
          </p:grpSpPr>
          <p:sp>
            <p:nvSpPr>
              <p:cNvPr id="41" name="Rectangle 40">
                <a:extLst>
                  <a:ext uri="{FF2B5EF4-FFF2-40B4-BE49-F238E27FC236}">
                    <a16:creationId xmlns:a16="http://schemas.microsoft.com/office/drawing/2014/main" id="{7419C8BE-FD0C-46A9-A4BB-7EE0CC9F29EB}"/>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D231118F-FFC9-46FB-94ED-BFDB5BE6CB6B}"/>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04B3F90B-973E-456B-874C-12F79C170746}"/>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grpSp>
        <p:nvGrpSpPr>
          <p:cNvPr id="50" name="Group 49">
            <a:extLst>
              <a:ext uri="{FF2B5EF4-FFF2-40B4-BE49-F238E27FC236}">
                <a16:creationId xmlns:a16="http://schemas.microsoft.com/office/drawing/2014/main" id="{B3B3A983-3B7B-4666-BA83-7CF3EF64A835}"/>
              </a:ext>
            </a:extLst>
          </p:cNvPr>
          <p:cNvGrpSpPr/>
          <p:nvPr/>
        </p:nvGrpSpPr>
        <p:grpSpPr>
          <a:xfrm>
            <a:off x="8413691" y="2279131"/>
            <a:ext cx="844678" cy="458340"/>
            <a:chOff x="7423022" y="3558638"/>
            <a:chExt cx="571045" cy="309861"/>
          </a:xfrm>
        </p:grpSpPr>
        <p:sp>
          <p:nvSpPr>
            <p:cNvPr id="51" name="Cylinder 513">
              <a:extLst>
                <a:ext uri="{FF2B5EF4-FFF2-40B4-BE49-F238E27FC236}">
                  <a16:creationId xmlns:a16="http://schemas.microsoft.com/office/drawing/2014/main" id="{03EE758C-98F9-4807-8411-A77A9F7F5F96}"/>
                </a:ext>
              </a:extLst>
            </p:cNvPr>
            <p:cNvSpPr/>
            <p:nvPr/>
          </p:nvSpPr>
          <p:spPr bwMode="auto">
            <a:xfrm>
              <a:off x="7423022" y="3558638"/>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52" name="Group 51">
              <a:extLst>
                <a:ext uri="{FF2B5EF4-FFF2-40B4-BE49-F238E27FC236}">
                  <a16:creationId xmlns:a16="http://schemas.microsoft.com/office/drawing/2014/main" id="{9FAC7BB6-B90E-4FA1-9C73-3D85781A99C8}"/>
                </a:ext>
              </a:extLst>
            </p:cNvPr>
            <p:cNvGrpSpPr/>
            <p:nvPr/>
          </p:nvGrpSpPr>
          <p:grpSpPr>
            <a:xfrm>
              <a:off x="7701544" y="3574151"/>
              <a:ext cx="292523" cy="262441"/>
              <a:chOff x="1275510" y="6072184"/>
              <a:chExt cx="508602" cy="456298"/>
            </a:xfrm>
            <a:solidFill>
              <a:srgbClr val="FFFFFF">
                <a:lumMod val="95000"/>
              </a:srgbClr>
            </a:solidFill>
          </p:grpSpPr>
          <p:grpSp>
            <p:nvGrpSpPr>
              <p:cNvPr id="53" name="Group 52">
                <a:extLst>
                  <a:ext uri="{FF2B5EF4-FFF2-40B4-BE49-F238E27FC236}">
                    <a16:creationId xmlns:a16="http://schemas.microsoft.com/office/drawing/2014/main" id="{D46A7C44-07CC-4EE9-9634-0ACF2AA09246}"/>
                  </a:ext>
                </a:extLst>
              </p:cNvPr>
              <p:cNvGrpSpPr/>
              <p:nvPr/>
            </p:nvGrpSpPr>
            <p:grpSpPr>
              <a:xfrm>
                <a:off x="1275510" y="6224584"/>
                <a:ext cx="508602" cy="151498"/>
                <a:chOff x="551886" y="4945335"/>
                <a:chExt cx="508602" cy="151498"/>
              </a:xfrm>
              <a:grpFill/>
            </p:grpSpPr>
            <p:sp>
              <p:nvSpPr>
                <p:cNvPr id="62" name="Rectangle 61">
                  <a:extLst>
                    <a:ext uri="{FF2B5EF4-FFF2-40B4-BE49-F238E27FC236}">
                      <a16:creationId xmlns:a16="http://schemas.microsoft.com/office/drawing/2014/main" id="{E04B57DE-D190-4B55-8EB6-E8268D8F723F}"/>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63" name="Oval 62">
                  <a:extLst>
                    <a:ext uri="{FF2B5EF4-FFF2-40B4-BE49-F238E27FC236}">
                      <a16:creationId xmlns:a16="http://schemas.microsoft.com/office/drawing/2014/main" id="{C9A84EA0-7650-4220-9BD2-C5DD87ECEE5C}"/>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69CA4476-E4B3-4866-BB3B-79381B369EB5}"/>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54" name="Group 53">
                <a:extLst>
                  <a:ext uri="{FF2B5EF4-FFF2-40B4-BE49-F238E27FC236}">
                    <a16:creationId xmlns:a16="http://schemas.microsoft.com/office/drawing/2014/main" id="{76AAA43D-03AF-4F76-A837-A2B6E9C0D7FD}"/>
                  </a:ext>
                </a:extLst>
              </p:cNvPr>
              <p:cNvGrpSpPr/>
              <p:nvPr/>
            </p:nvGrpSpPr>
            <p:grpSpPr>
              <a:xfrm>
                <a:off x="1275510" y="6376984"/>
                <a:ext cx="508602" cy="151498"/>
                <a:chOff x="551886" y="4945335"/>
                <a:chExt cx="508602" cy="151498"/>
              </a:xfrm>
              <a:grpFill/>
            </p:grpSpPr>
            <p:sp>
              <p:nvSpPr>
                <p:cNvPr id="59" name="Rectangle 58">
                  <a:extLst>
                    <a:ext uri="{FF2B5EF4-FFF2-40B4-BE49-F238E27FC236}">
                      <a16:creationId xmlns:a16="http://schemas.microsoft.com/office/drawing/2014/main" id="{EEC46AAB-AD90-4E69-8EDF-A44E9B1D3251}"/>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60" name="Oval 59">
                  <a:extLst>
                    <a:ext uri="{FF2B5EF4-FFF2-40B4-BE49-F238E27FC236}">
                      <a16:creationId xmlns:a16="http://schemas.microsoft.com/office/drawing/2014/main" id="{29ABB24B-5CC2-4681-A40D-4A6753990B57}"/>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61" name="Straight Connector 60">
                  <a:extLst>
                    <a:ext uri="{FF2B5EF4-FFF2-40B4-BE49-F238E27FC236}">
                      <a16:creationId xmlns:a16="http://schemas.microsoft.com/office/drawing/2014/main" id="{38D654E5-A174-49C6-BCBB-33F78E01E1BA}"/>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55" name="Group 54">
                <a:extLst>
                  <a:ext uri="{FF2B5EF4-FFF2-40B4-BE49-F238E27FC236}">
                    <a16:creationId xmlns:a16="http://schemas.microsoft.com/office/drawing/2014/main" id="{EAD99B23-6646-461A-A1A5-4168C818183C}"/>
                  </a:ext>
                </a:extLst>
              </p:cNvPr>
              <p:cNvGrpSpPr/>
              <p:nvPr/>
            </p:nvGrpSpPr>
            <p:grpSpPr>
              <a:xfrm>
                <a:off x="1275510" y="6072184"/>
                <a:ext cx="508602" cy="151498"/>
                <a:chOff x="551886" y="4945335"/>
                <a:chExt cx="508602" cy="151498"/>
              </a:xfrm>
              <a:grpFill/>
            </p:grpSpPr>
            <p:sp>
              <p:nvSpPr>
                <p:cNvPr id="56" name="Rectangle 55">
                  <a:extLst>
                    <a:ext uri="{FF2B5EF4-FFF2-40B4-BE49-F238E27FC236}">
                      <a16:creationId xmlns:a16="http://schemas.microsoft.com/office/drawing/2014/main" id="{90E92C6C-E2C1-4053-A627-1369A53B618F}"/>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57" name="Oval 56">
                  <a:extLst>
                    <a:ext uri="{FF2B5EF4-FFF2-40B4-BE49-F238E27FC236}">
                      <a16:creationId xmlns:a16="http://schemas.microsoft.com/office/drawing/2014/main" id="{0957E3B6-F09E-4E5F-AE43-84AC91DF738D}"/>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58" name="Straight Connector 57">
                  <a:extLst>
                    <a:ext uri="{FF2B5EF4-FFF2-40B4-BE49-F238E27FC236}">
                      <a16:creationId xmlns:a16="http://schemas.microsoft.com/office/drawing/2014/main" id="{E61F6761-02F8-4418-9DF2-5E4F4A9F5D52}"/>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sp>
        <p:nvSpPr>
          <p:cNvPr id="65" name="Cylinder 513">
            <a:extLst>
              <a:ext uri="{FF2B5EF4-FFF2-40B4-BE49-F238E27FC236}">
                <a16:creationId xmlns:a16="http://schemas.microsoft.com/office/drawing/2014/main" id="{B8DFF742-3D08-4355-A29B-7D3C31548AF4}"/>
              </a:ext>
            </a:extLst>
          </p:cNvPr>
          <p:cNvSpPr/>
          <p:nvPr/>
        </p:nvSpPr>
        <p:spPr bwMode="auto">
          <a:xfrm>
            <a:off x="9977371" y="3058466"/>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66" name="Group 65">
            <a:extLst>
              <a:ext uri="{FF2B5EF4-FFF2-40B4-BE49-F238E27FC236}">
                <a16:creationId xmlns:a16="http://schemas.microsoft.com/office/drawing/2014/main" id="{1EEC8164-8217-47BF-A527-1E0197C155F0}"/>
              </a:ext>
            </a:extLst>
          </p:cNvPr>
          <p:cNvGrpSpPr/>
          <p:nvPr/>
        </p:nvGrpSpPr>
        <p:grpSpPr>
          <a:xfrm>
            <a:off x="10255893" y="3073979"/>
            <a:ext cx="292523" cy="262441"/>
            <a:chOff x="1275510" y="6072184"/>
            <a:chExt cx="508602" cy="456298"/>
          </a:xfrm>
          <a:solidFill>
            <a:srgbClr val="FFFFFF">
              <a:lumMod val="95000"/>
            </a:srgbClr>
          </a:solidFill>
        </p:grpSpPr>
        <p:grpSp>
          <p:nvGrpSpPr>
            <p:cNvPr id="67" name="Group 66">
              <a:extLst>
                <a:ext uri="{FF2B5EF4-FFF2-40B4-BE49-F238E27FC236}">
                  <a16:creationId xmlns:a16="http://schemas.microsoft.com/office/drawing/2014/main" id="{A41FACB5-F089-461D-A313-4F259DB38897}"/>
                </a:ext>
              </a:extLst>
            </p:cNvPr>
            <p:cNvGrpSpPr/>
            <p:nvPr/>
          </p:nvGrpSpPr>
          <p:grpSpPr>
            <a:xfrm>
              <a:off x="1275510" y="6224584"/>
              <a:ext cx="508602" cy="151498"/>
              <a:chOff x="551886" y="4945335"/>
              <a:chExt cx="508602" cy="151498"/>
            </a:xfrm>
            <a:grpFill/>
          </p:grpSpPr>
          <p:sp>
            <p:nvSpPr>
              <p:cNvPr id="76" name="Rectangle 75">
                <a:extLst>
                  <a:ext uri="{FF2B5EF4-FFF2-40B4-BE49-F238E27FC236}">
                    <a16:creationId xmlns:a16="http://schemas.microsoft.com/office/drawing/2014/main" id="{0F12C1C4-CE6C-4417-A4EB-41B702EC8606}"/>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7" name="Oval 76">
                <a:extLst>
                  <a:ext uri="{FF2B5EF4-FFF2-40B4-BE49-F238E27FC236}">
                    <a16:creationId xmlns:a16="http://schemas.microsoft.com/office/drawing/2014/main" id="{3B77431E-A034-49A4-BE98-116CD3511D85}"/>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8" name="Straight Connector 77">
                <a:extLst>
                  <a:ext uri="{FF2B5EF4-FFF2-40B4-BE49-F238E27FC236}">
                    <a16:creationId xmlns:a16="http://schemas.microsoft.com/office/drawing/2014/main" id="{0FC63851-C9C4-4CDB-93B4-9699479FCBE0}"/>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68" name="Group 67">
              <a:extLst>
                <a:ext uri="{FF2B5EF4-FFF2-40B4-BE49-F238E27FC236}">
                  <a16:creationId xmlns:a16="http://schemas.microsoft.com/office/drawing/2014/main" id="{BAE983B2-3B66-4107-B1E4-4C5715C80880}"/>
                </a:ext>
              </a:extLst>
            </p:cNvPr>
            <p:cNvGrpSpPr/>
            <p:nvPr/>
          </p:nvGrpSpPr>
          <p:grpSpPr>
            <a:xfrm>
              <a:off x="1275510" y="6376984"/>
              <a:ext cx="508602" cy="151498"/>
              <a:chOff x="551886" y="4945335"/>
              <a:chExt cx="508602" cy="151498"/>
            </a:xfrm>
            <a:grpFill/>
          </p:grpSpPr>
          <p:sp>
            <p:nvSpPr>
              <p:cNvPr id="73" name="Rectangle 72">
                <a:extLst>
                  <a:ext uri="{FF2B5EF4-FFF2-40B4-BE49-F238E27FC236}">
                    <a16:creationId xmlns:a16="http://schemas.microsoft.com/office/drawing/2014/main" id="{78BB4E36-B0BB-46B2-BEC5-16EF8B5E1F13}"/>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4" name="Oval 73">
                <a:extLst>
                  <a:ext uri="{FF2B5EF4-FFF2-40B4-BE49-F238E27FC236}">
                    <a16:creationId xmlns:a16="http://schemas.microsoft.com/office/drawing/2014/main" id="{A4BEAFDE-5B71-41C2-B401-7E7AB6E15C49}"/>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5" name="Straight Connector 74">
                <a:extLst>
                  <a:ext uri="{FF2B5EF4-FFF2-40B4-BE49-F238E27FC236}">
                    <a16:creationId xmlns:a16="http://schemas.microsoft.com/office/drawing/2014/main" id="{24967C58-3326-4813-8CF8-8597DEAF8289}"/>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69" name="Group 68">
              <a:extLst>
                <a:ext uri="{FF2B5EF4-FFF2-40B4-BE49-F238E27FC236}">
                  <a16:creationId xmlns:a16="http://schemas.microsoft.com/office/drawing/2014/main" id="{B7DFE5E9-166B-49ED-AAB0-5BAA7A65D6B3}"/>
                </a:ext>
              </a:extLst>
            </p:cNvPr>
            <p:cNvGrpSpPr/>
            <p:nvPr/>
          </p:nvGrpSpPr>
          <p:grpSpPr>
            <a:xfrm>
              <a:off x="1275510" y="6072184"/>
              <a:ext cx="508602" cy="151498"/>
              <a:chOff x="551886" y="4945335"/>
              <a:chExt cx="508602" cy="151498"/>
            </a:xfrm>
            <a:grpFill/>
          </p:grpSpPr>
          <p:sp>
            <p:nvSpPr>
              <p:cNvPr id="70" name="Rectangle 69">
                <a:extLst>
                  <a:ext uri="{FF2B5EF4-FFF2-40B4-BE49-F238E27FC236}">
                    <a16:creationId xmlns:a16="http://schemas.microsoft.com/office/drawing/2014/main" id="{B09DE4C5-C147-47D6-82BA-BAE1193B71BA}"/>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1" name="Oval 70">
                <a:extLst>
                  <a:ext uri="{FF2B5EF4-FFF2-40B4-BE49-F238E27FC236}">
                    <a16:creationId xmlns:a16="http://schemas.microsoft.com/office/drawing/2014/main" id="{73E9102C-2D42-4F90-A9D1-58A80C20B409}"/>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C85253DA-46A5-41D0-976B-9D85502F74DF}"/>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sp>
        <p:nvSpPr>
          <p:cNvPr id="79" name="Cylinder 513">
            <a:extLst>
              <a:ext uri="{FF2B5EF4-FFF2-40B4-BE49-F238E27FC236}">
                <a16:creationId xmlns:a16="http://schemas.microsoft.com/office/drawing/2014/main" id="{B660AA73-C63F-4AF6-BCD9-DBFD427303A9}"/>
              </a:ext>
            </a:extLst>
          </p:cNvPr>
          <p:cNvSpPr/>
          <p:nvPr/>
        </p:nvSpPr>
        <p:spPr bwMode="auto">
          <a:xfrm>
            <a:off x="10935325" y="2771933"/>
            <a:ext cx="235859" cy="309861"/>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80" name="Group 79">
            <a:extLst>
              <a:ext uri="{FF2B5EF4-FFF2-40B4-BE49-F238E27FC236}">
                <a16:creationId xmlns:a16="http://schemas.microsoft.com/office/drawing/2014/main" id="{666D41ED-B0C0-4947-881E-F249CB0DBEEA}"/>
              </a:ext>
            </a:extLst>
          </p:cNvPr>
          <p:cNvGrpSpPr/>
          <p:nvPr/>
        </p:nvGrpSpPr>
        <p:grpSpPr>
          <a:xfrm>
            <a:off x="11213847" y="2787446"/>
            <a:ext cx="292523" cy="262441"/>
            <a:chOff x="1275510" y="6072184"/>
            <a:chExt cx="508602" cy="456298"/>
          </a:xfrm>
        </p:grpSpPr>
        <p:grpSp>
          <p:nvGrpSpPr>
            <p:cNvPr id="81" name="Group 80">
              <a:extLst>
                <a:ext uri="{FF2B5EF4-FFF2-40B4-BE49-F238E27FC236}">
                  <a16:creationId xmlns:a16="http://schemas.microsoft.com/office/drawing/2014/main" id="{D1AFD993-6925-4884-8D81-0E4F09AD3D1A}"/>
                </a:ext>
              </a:extLst>
            </p:cNvPr>
            <p:cNvGrpSpPr/>
            <p:nvPr/>
          </p:nvGrpSpPr>
          <p:grpSpPr>
            <a:xfrm>
              <a:off x="1275510" y="6224584"/>
              <a:ext cx="508602" cy="151498"/>
              <a:chOff x="551886" y="4945335"/>
              <a:chExt cx="508602" cy="151498"/>
            </a:xfrm>
          </p:grpSpPr>
          <p:sp>
            <p:nvSpPr>
              <p:cNvPr id="90" name="Rectangle 89">
                <a:extLst>
                  <a:ext uri="{FF2B5EF4-FFF2-40B4-BE49-F238E27FC236}">
                    <a16:creationId xmlns:a16="http://schemas.microsoft.com/office/drawing/2014/main" id="{DB52AA92-EE5B-4CE1-89FB-529C2689A418}"/>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91" name="Oval 90">
                <a:extLst>
                  <a:ext uri="{FF2B5EF4-FFF2-40B4-BE49-F238E27FC236}">
                    <a16:creationId xmlns:a16="http://schemas.microsoft.com/office/drawing/2014/main" id="{E18D4999-DF5B-4D25-AC6B-AFE14F42DC7F}"/>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92" name="Straight Connector 91">
                <a:extLst>
                  <a:ext uri="{FF2B5EF4-FFF2-40B4-BE49-F238E27FC236}">
                    <a16:creationId xmlns:a16="http://schemas.microsoft.com/office/drawing/2014/main" id="{C9976CD1-0CD2-4005-874F-8BB1CF8F467C}"/>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82" name="Group 81">
              <a:extLst>
                <a:ext uri="{FF2B5EF4-FFF2-40B4-BE49-F238E27FC236}">
                  <a16:creationId xmlns:a16="http://schemas.microsoft.com/office/drawing/2014/main" id="{9AEDCA38-41C9-4965-8CC7-DF791FAADABE}"/>
                </a:ext>
              </a:extLst>
            </p:cNvPr>
            <p:cNvGrpSpPr/>
            <p:nvPr/>
          </p:nvGrpSpPr>
          <p:grpSpPr>
            <a:xfrm>
              <a:off x="1275510" y="6376984"/>
              <a:ext cx="508602" cy="151498"/>
              <a:chOff x="551886" y="4945335"/>
              <a:chExt cx="508602" cy="151498"/>
            </a:xfrm>
          </p:grpSpPr>
          <p:sp>
            <p:nvSpPr>
              <p:cNvPr id="87" name="Rectangle 86">
                <a:extLst>
                  <a:ext uri="{FF2B5EF4-FFF2-40B4-BE49-F238E27FC236}">
                    <a16:creationId xmlns:a16="http://schemas.microsoft.com/office/drawing/2014/main" id="{96076F1C-3661-413B-B8CB-FFEF76C5FB02}"/>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88" name="Oval 87">
                <a:extLst>
                  <a:ext uri="{FF2B5EF4-FFF2-40B4-BE49-F238E27FC236}">
                    <a16:creationId xmlns:a16="http://schemas.microsoft.com/office/drawing/2014/main" id="{CBCBCCD3-30C6-49E7-8641-13F676AC2F7A}"/>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4E62FF79-65E2-46C8-8B36-64F7F854269C}"/>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83" name="Group 82">
              <a:extLst>
                <a:ext uri="{FF2B5EF4-FFF2-40B4-BE49-F238E27FC236}">
                  <a16:creationId xmlns:a16="http://schemas.microsoft.com/office/drawing/2014/main" id="{AFBBEECB-7303-4A1E-B5C9-EAA7B0C26C08}"/>
                </a:ext>
              </a:extLst>
            </p:cNvPr>
            <p:cNvGrpSpPr/>
            <p:nvPr/>
          </p:nvGrpSpPr>
          <p:grpSpPr>
            <a:xfrm>
              <a:off x="1275510" y="6072184"/>
              <a:ext cx="508602" cy="151498"/>
              <a:chOff x="551886" y="4945335"/>
              <a:chExt cx="508602" cy="151498"/>
            </a:xfrm>
          </p:grpSpPr>
          <p:sp>
            <p:nvSpPr>
              <p:cNvPr id="84" name="Rectangle 83">
                <a:extLst>
                  <a:ext uri="{FF2B5EF4-FFF2-40B4-BE49-F238E27FC236}">
                    <a16:creationId xmlns:a16="http://schemas.microsoft.com/office/drawing/2014/main" id="{22BE2C9D-E2C5-426D-B22D-91A86B44D6B2}"/>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85" name="Oval 84">
                <a:extLst>
                  <a:ext uri="{FF2B5EF4-FFF2-40B4-BE49-F238E27FC236}">
                    <a16:creationId xmlns:a16="http://schemas.microsoft.com/office/drawing/2014/main" id="{47691FE1-5AC5-4580-BA09-9957033E4331}"/>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86" name="Straight Connector 85">
                <a:extLst>
                  <a:ext uri="{FF2B5EF4-FFF2-40B4-BE49-F238E27FC236}">
                    <a16:creationId xmlns:a16="http://schemas.microsoft.com/office/drawing/2014/main" id="{A19766C6-BEE7-41A1-AF78-C045A9351C72}"/>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sp>
        <p:nvSpPr>
          <p:cNvPr id="93" name="Cylinder 513">
            <a:extLst>
              <a:ext uri="{FF2B5EF4-FFF2-40B4-BE49-F238E27FC236}">
                <a16:creationId xmlns:a16="http://schemas.microsoft.com/office/drawing/2014/main" id="{855972FB-953E-4ECF-A05C-38D24CF15FCE}"/>
              </a:ext>
            </a:extLst>
          </p:cNvPr>
          <p:cNvSpPr/>
          <p:nvPr/>
        </p:nvSpPr>
        <p:spPr bwMode="auto">
          <a:xfrm>
            <a:off x="10649258" y="1943699"/>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94" name="Group 93">
            <a:extLst>
              <a:ext uri="{FF2B5EF4-FFF2-40B4-BE49-F238E27FC236}">
                <a16:creationId xmlns:a16="http://schemas.microsoft.com/office/drawing/2014/main" id="{CAC1167B-CD2F-4182-85F0-C5B0899505EB}"/>
              </a:ext>
            </a:extLst>
          </p:cNvPr>
          <p:cNvGrpSpPr/>
          <p:nvPr/>
        </p:nvGrpSpPr>
        <p:grpSpPr>
          <a:xfrm>
            <a:off x="10927780" y="1959212"/>
            <a:ext cx="292523" cy="262441"/>
            <a:chOff x="1275510" y="6072184"/>
            <a:chExt cx="508602" cy="456298"/>
          </a:xfrm>
          <a:solidFill>
            <a:srgbClr val="FFFFFF">
              <a:lumMod val="95000"/>
            </a:srgbClr>
          </a:solidFill>
        </p:grpSpPr>
        <p:grpSp>
          <p:nvGrpSpPr>
            <p:cNvPr id="95" name="Group 94">
              <a:extLst>
                <a:ext uri="{FF2B5EF4-FFF2-40B4-BE49-F238E27FC236}">
                  <a16:creationId xmlns:a16="http://schemas.microsoft.com/office/drawing/2014/main" id="{93FE15E6-E4BF-4321-BC79-C8072E2F33E6}"/>
                </a:ext>
              </a:extLst>
            </p:cNvPr>
            <p:cNvGrpSpPr/>
            <p:nvPr/>
          </p:nvGrpSpPr>
          <p:grpSpPr>
            <a:xfrm>
              <a:off x="1275510" y="6224584"/>
              <a:ext cx="508602" cy="151498"/>
              <a:chOff x="551886" y="4945335"/>
              <a:chExt cx="508602" cy="151498"/>
            </a:xfrm>
            <a:grpFill/>
          </p:grpSpPr>
          <p:sp>
            <p:nvSpPr>
              <p:cNvPr id="104" name="Rectangle 103">
                <a:extLst>
                  <a:ext uri="{FF2B5EF4-FFF2-40B4-BE49-F238E27FC236}">
                    <a16:creationId xmlns:a16="http://schemas.microsoft.com/office/drawing/2014/main" id="{AF7B1DCD-639D-4094-928C-D6EAEBDC5A0D}"/>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a:extLst>
                  <a:ext uri="{FF2B5EF4-FFF2-40B4-BE49-F238E27FC236}">
                    <a16:creationId xmlns:a16="http://schemas.microsoft.com/office/drawing/2014/main" id="{27D1E9E3-70E8-4002-942D-422EB0808B35}"/>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06" name="Straight Connector 105">
                <a:extLst>
                  <a:ext uri="{FF2B5EF4-FFF2-40B4-BE49-F238E27FC236}">
                    <a16:creationId xmlns:a16="http://schemas.microsoft.com/office/drawing/2014/main" id="{55B33E1B-C779-4AE6-A72C-5E0E061269C9}"/>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96" name="Group 95">
              <a:extLst>
                <a:ext uri="{FF2B5EF4-FFF2-40B4-BE49-F238E27FC236}">
                  <a16:creationId xmlns:a16="http://schemas.microsoft.com/office/drawing/2014/main" id="{F9676F30-A541-4A67-A7A2-39B32767D59F}"/>
                </a:ext>
              </a:extLst>
            </p:cNvPr>
            <p:cNvGrpSpPr/>
            <p:nvPr/>
          </p:nvGrpSpPr>
          <p:grpSpPr>
            <a:xfrm>
              <a:off x="1275510" y="6376984"/>
              <a:ext cx="508602" cy="151498"/>
              <a:chOff x="551886" y="4945335"/>
              <a:chExt cx="508602" cy="151498"/>
            </a:xfrm>
            <a:grpFill/>
          </p:grpSpPr>
          <p:sp>
            <p:nvSpPr>
              <p:cNvPr id="101" name="Rectangle 100">
                <a:extLst>
                  <a:ext uri="{FF2B5EF4-FFF2-40B4-BE49-F238E27FC236}">
                    <a16:creationId xmlns:a16="http://schemas.microsoft.com/office/drawing/2014/main" id="{7B5F5E6B-D5FC-4791-99EC-6985430AC5EA}"/>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102" name="Oval 101">
                <a:extLst>
                  <a:ext uri="{FF2B5EF4-FFF2-40B4-BE49-F238E27FC236}">
                    <a16:creationId xmlns:a16="http://schemas.microsoft.com/office/drawing/2014/main" id="{E1AF809E-E5FC-499A-81D9-948836961F35}"/>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03" name="Straight Connector 102">
                <a:extLst>
                  <a:ext uri="{FF2B5EF4-FFF2-40B4-BE49-F238E27FC236}">
                    <a16:creationId xmlns:a16="http://schemas.microsoft.com/office/drawing/2014/main" id="{50D87523-528F-4173-92B6-6D83C9022B9D}"/>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97" name="Group 96">
              <a:extLst>
                <a:ext uri="{FF2B5EF4-FFF2-40B4-BE49-F238E27FC236}">
                  <a16:creationId xmlns:a16="http://schemas.microsoft.com/office/drawing/2014/main" id="{26689B80-30FA-437B-9A89-EE6E8DA7DA42}"/>
                </a:ext>
              </a:extLst>
            </p:cNvPr>
            <p:cNvGrpSpPr/>
            <p:nvPr/>
          </p:nvGrpSpPr>
          <p:grpSpPr>
            <a:xfrm>
              <a:off x="1275510" y="6072184"/>
              <a:ext cx="508602" cy="151498"/>
              <a:chOff x="551886" y="4945335"/>
              <a:chExt cx="508602" cy="151498"/>
            </a:xfrm>
            <a:grpFill/>
          </p:grpSpPr>
          <p:sp>
            <p:nvSpPr>
              <p:cNvPr id="98" name="Rectangle 97">
                <a:extLst>
                  <a:ext uri="{FF2B5EF4-FFF2-40B4-BE49-F238E27FC236}">
                    <a16:creationId xmlns:a16="http://schemas.microsoft.com/office/drawing/2014/main" id="{0AE1D66D-44AB-4A26-A454-D94A6382E0F7}"/>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99" name="Oval 98">
                <a:extLst>
                  <a:ext uri="{FF2B5EF4-FFF2-40B4-BE49-F238E27FC236}">
                    <a16:creationId xmlns:a16="http://schemas.microsoft.com/office/drawing/2014/main" id="{5CA07895-E740-4200-B850-131756975607}"/>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00" name="Straight Connector 99">
                <a:extLst>
                  <a:ext uri="{FF2B5EF4-FFF2-40B4-BE49-F238E27FC236}">
                    <a16:creationId xmlns:a16="http://schemas.microsoft.com/office/drawing/2014/main" id="{5B931499-1E2B-478D-9BF0-AFDE2EC8C8CE}"/>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nvGrpSpPr>
          <p:cNvPr id="107" name="Group 106">
            <a:extLst>
              <a:ext uri="{FF2B5EF4-FFF2-40B4-BE49-F238E27FC236}">
                <a16:creationId xmlns:a16="http://schemas.microsoft.com/office/drawing/2014/main" id="{9CB610CE-8208-43ED-9DAF-DE31D1CCDA13}"/>
              </a:ext>
            </a:extLst>
          </p:cNvPr>
          <p:cNvGrpSpPr/>
          <p:nvPr/>
        </p:nvGrpSpPr>
        <p:grpSpPr>
          <a:xfrm>
            <a:off x="8808259" y="2098629"/>
            <a:ext cx="2176184" cy="2139183"/>
            <a:chOff x="8808259" y="2098629"/>
            <a:chExt cx="2176184" cy="2139183"/>
          </a:xfrm>
        </p:grpSpPr>
        <p:cxnSp>
          <p:nvCxnSpPr>
            <p:cNvPr id="108" name="Connector: Elbow 107">
              <a:extLst>
                <a:ext uri="{FF2B5EF4-FFF2-40B4-BE49-F238E27FC236}">
                  <a16:creationId xmlns:a16="http://schemas.microsoft.com/office/drawing/2014/main" id="{16B57009-3AE5-4C21-B856-6A61BE32700C}"/>
                </a:ext>
              </a:extLst>
            </p:cNvPr>
            <p:cNvCxnSpPr>
              <a:cxnSpLocks/>
              <a:stCxn id="93" idx="2"/>
              <a:endCxn id="65" idx="2"/>
            </p:cNvCxnSpPr>
            <p:nvPr/>
          </p:nvCxnSpPr>
          <p:spPr>
            <a:xfrm rot="10800000" flipV="1">
              <a:off x="9977372" y="2098629"/>
              <a:ext cx="671887" cy="1114767"/>
            </a:xfrm>
            <a:prstGeom prst="bentConnector3">
              <a:avLst>
                <a:gd name="adj1" fmla="val 134024"/>
              </a:avLst>
            </a:prstGeom>
            <a:noFill/>
            <a:ln w="12700" cap="flat" cmpd="sng" algn="ctr">
              <a:solidFill>
                <a:srgbClr val="0078D7"/>
              </a:solidFill>
              <a:prstDash val="solid"/>
              <a:headEnd type="none"/>
              <a:tailEnd type="none"/>
            </a:ln>
            <a:effectLst/>
          </p:spPr>
        </p:cxnSp>
        <p:cxnSp>
          <p:nvCxnSpPr>
            <p:cNvPr id="109" name="Connector: Elbow 108">
              <a:extLst>
                <a:ext uri="{FF2B5EF4-FFF2-40B4-BE49-F238E27FC236}">
                  <a16:creationId xmlns:a16="http://schemas.microsoft.com/office/drawing/2014/main" id="{59098D82-A564-4D86-9671-39222FBA1A37}"/>
                </a:ext>
              </a:extLst>
            </p:cNvPr>
            <p:cNvCxnSpPr>
              <a:cxnSpLocks/>
              <a:stCxn id="79" idx="2"/>
              <a:endCxn id="36" idx="2"/>
            </p:cNvCxnSpPr>
            <p:nvPr/>
          </p:nvCxnSpPr>
          <p:spPr>
            <a:xfrm rot="10800000" flipH="1" flipV="1">
              <a:off x="10935324" y="2926864"/>
              <a:ext cx="49119" cy="1310948"/>
            </a:xfrm>
            <a:prstGeom prst="bentConnector3">
              <a:avLst>
                <a:gd name="adj1" fmla="val -465400"/>
              </a:avLst>
            </a:prstGeom>
            <a:noFill/>
            <a:ln w="12700" cap="flat" cmpd="sng" algn="ctr">
              <a:solidFill>
                <a:srgbClr val="0078D7"/>
              </a:solidFill>
              <a:prstDash val="solid"/>
              <a:headEnd type="none"/>
              <a:tailEnd type="none"/>
            </a:ln>
            <a:effectLst/>
          </p:spPr>
        </p:cxnSp>
        <p:cxnSp>
          <p:nvCxnSpPr>
            <p:cNvPr id="110" name="Connector: Elbow 109">
              <a:extLst>
                <a:ext uri="{FF2B5EF4-FFF2-40B4-BE49-F238E27FC236}">
                  <a16:creationId xmlns:a16="http://schemas.microsoft.com/office/drawing/2014/main" id="{42D36006-503C-461B-B15E-BF6AF8C64937}"/>
                </a:ext>
              </a:extLst>
            </p:cNvPr>
            <p:cNvCxnSpPr>
              <a:cxnSpLocks/>
              <a:stCxn id="35" idx="4"/>
            </p:cNvCxnSpPr>
            <p:nvPr/>
          </p:nvCxnSpPr>
          <p:spPr>
            <a:xfrm rot="16200000" flipH="1">
              <a:off x="9159651" y="2472680"/>
              <a:ext cx="234393" cy="937177"/>
            </a:xfrm>
            <a:prstGeom prst="bentConnector2">
              <a:avLst/>
            </a:prstGeom>
            <a:noFill/>
            <a:ln w="12700" cap="flat" cmpd="sng" algn="ctr">
              <a:solidFill>
                <a:srgbClr val="0078D7"/>
              </a:solidFill>
              <a:prstDash val="solid"/>
              <a:headEnd type="none"/>
              <a:tailEnd type="none"/>
            </a:ln>
            <a:effectLst/>
          </p:spPr>
        </p:cxnSp>
      </p:grpSp>
    </p:spTree>
    <p:extLst>
      <p:ext uri="{BB962C8B-B14F-4D97-AF65-F5344CB8AC3E}">
        <p14:creationId xmlns:p14="http://schemas.microsoft.com/office/powerpoint/2010/main" val="2138308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wipe(left)">
                                      <p:cBhvr>
                                        <p:cTn id="7" dur="750"/>
                                        <p:tgtEl>
                                          <p:spTgt spid="107"/>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79"/>
                                        </p:tgtEl>
                                        <p:attrNameLst>
                                          <p:attrName>style.visibility</p:attrName>
                                        </p:attrNameLst>
                                      </p:cBhvr>
                                      <p:to>
                                        <p:strVal val="visible"/>
                                      </p:to>
                                    </p:set>
                                    <p:animEffect transition="in" filter="fade">
                                      <p:cBhvr>
                                        <p:cTn id="14" dur="500"/>
                                        <p:tgtEl>
                                          <p:spTgt spid="7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65"/>
                                        </p:tgtEl>
                                        <p:attrNameLst>
                                          <p:attrName>style.visibility</p:attrName>
                                        </p:attrNameLst>
                                      </p:cBhvr>
                                      <p:to>
                                        <p:strVal val="visible"/>
                                      </p:to>
                                    </p:set>
                                    <p:animEffect transition="in" filter="fade">
                                      <p:cBhvr>
                                        <p:cTn id="17" dur="500"/>
                                        <p:tgtEl>
                                          <p:spTgt spid="6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93"/>
                                        </p:tgtEl>
                                        <p:attrNameLst>
                                          <p:attrName>style.visibility</p:attrName>
                                        </p:attrNameLst>
                                      </p:cBhvr>
                                      <p:to>
                                        <p:strVal val="visible"/>
                                      </p:to>
                                    </p:set>
                                    <p:animEffect transition="in" filter="fade">
                                      <p:cBhvr>
                                        <p:cTn id="20"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65" grpId="0" animBg="1"/>
      <p:bldP spid="79" grpId="0" animBg="1"/>
      <p:bldP spid="9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a:lstStyle/>
          <a:p>
            <a:r>
              <a:rPr lang="en-US" dirty="0"/>
              <a:t>Failover groups extend geo-replication</a:t>
            </a:r>
          </a:p>
        </p:txBody>
      </p:sp>
      <p:graphicFrame>
        <p:nvGraphicFramePr>
          <p:cNvPr id="120" name="Content Placeholder 119">
            <a:extLst>
              <a:ext uri="{FF2B5EF4-FFF2-40B4-BE49-F238E27FC236}">
                <a16:creationId xmlns:a16="http://schemas.microsoft.com/office/drawing/2014/main" id="{4B8EB191-1A42-41BE-803F-34D19A3384DC}"/>
              </a:ext>
            </a:extLst>
          </p:cNvPr>
          <p:cNvGraphicFramePr>
            <a:graphicFrameLocks noGrp="1"/>
          </p:cNvGraphicFramePr>
          <p:nvPr>
            <p:ph sz="quarter" idx="13"/>
            <p:extLst>
              <p:ext uri="{D42A27DB-BD31-4B8C-83A1-F6EECF244321}">
                <p14:modId xmlns:p14="http://schemas.microsoft.com/office/powerpoint/2010/main" val="3567446527"/>
              </p:ext>
            </p:extLst>
          </p:nvPr>
        </p:nvGraphicFramePr>
        <p:xfrm>
          <a:off x="745314" y="1089961"/>
          <a:ext cx="49831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FDF69E26-4C95-48CC-B97C-68586B55BB2A}"/>
              </a:ext>
            </a:extLst>
          </p:cNvPr>
          <p:cNvSpPr txBox="1"/>
          <p:nvPr/>
        </p:nvSpPr>
        <p:spPr>
          <a:xfrm>
            <a:off x="8453895" y="1996502"/>
            <a:ext cx="2721200" cy="276999"/>
          </a:xfrm>
          <a:prstGeom prst="rect">
            <a:avLst/>
          </a:prstGeom>
        </p:spPr>
        <p:txBody>
          <a:bodyPr wrap="square" rtlCol="0">
            <a:spAutoFit/>
          </a:bodyPr>
          <a:lstStyle>
            <a:defPPr>
              <a:defRPr lang="en-US"/>
            </a:defPPr>
            <a:lvl1pPr marR="0" lvl="0" indent="0" algn="ctr" defTabSz="914554" fontAlgn="auto">
              <a:lnSpc>
                <a:spcPct val="100000"/>
              </a:lnSpc>
              <a:spcBef>
                <a:spcPts val="0"/>
              </a:spcBef>
              <a:spcAft>
                <a:spcPts val="0"/>
              </a:spcAft>
              <a:buClrTx/>
              <a:buSzTx/>
              <a:buFontTx/>
              <a:buNone/>
              <a:tabLst/>
              <a:defRPr kumimoji="0" sz="1200" b="0" i="0" u="none" strike="noStrike" kern="0" cap="none" spc="0" normalizeH="0" baseline="0">
                <a:ln>
                  <a:noFill/>
                </a:ln>
                <a:solidFill>
                  <a:schemeClr val="tx2"/>
                </a:solidFill>
                <a:effectLst/>
                <a:uLnTx/>
                <a:uFillTx/>
                <a:latin typeface="Segoe UI Semilight" panose="020B0402040204020203" pitchFamily="34" charset="0"/>
                <a:cs typeface="Segoe UI Semilight" panose="020B0402040204020203" pitchFamily="34" charset="0"/>
              </a:defRPr>
            </a:lvl1pPr>
          </a:lstStyle>
          <a:p>
            <a:pPr marL="0" marR="0" lvl="0" indent="0" algn="ctr" defTabSz="914554"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cs typeface="Segoe UI Semilight" panose="020B0402040204020203" pitchFamily="34" charset="0"/>
              </a:rPr>
              <a:t>mydb.myserver.windows.database.net</a:t>
            </a:r>
          </a:p>
        </p:txBody>
      </p:sp>
      <p:sp>
        <p:nvSpPr>
          <p:cNvPr id="6" name="Rectangle: Rounded Corners 67">
            <a:extLst>
              <a:ext uri="{FF2B5EF4-FFF2-40B4-BE49-F238E27FC236}">
                <a16:creationId xmlns:a16="http://schemas.microsoft.com/office/drawing/2014/main" id="{0BE26B01-A8C4-417C-9FC7-7646287EEA22}"/>
              </a:ext>
            </a:extLst>
          </p:cNvPr>
          <p:cNvSpPr/>
          <p:nvPr/>
        </p:nvSpPr>
        <p:spPr bwMode="auto">
          <a:xfrm>
            <a:off x="9818812" y="1648535"/>
            <a:ext cx="465467" cy="276999"/>
          </a:xfrm>
          <a:prstGeom prst="rect">
            <a:avLst/>
          </a:prstGeom>
          <a:ln>
            <a:noFill/>
          </a:ln>
        </p:spPr>
        <p:txBody>
          <a:bodyPr wrap="square" rtlCol="0">
            <a:spAutoFit/>
          </a:bodyPr>
          <a:lstStyle/>
          <a:p>
            <a:pPr algn="ctr" defTabSz="914554">
              <a:defRPr/>
            </a:pPr>
            <a:r>
              <a:rPr lang="en-US" sz="1200" kern="0">
                <a:solidFill>
                  <a:srgbClr val="0078D7"/>
                </a:solidFill>
                <a:latin typeface="Segoe UI Semilight" panose="020B0402040204020203" pitchFamily="34" charset="0"/>
                <a:cs typeface="Segoe UI Semilight" panose="020B0402040204020203" pitchFamily="34" charset="0"/>
              </a:rPr>
              <a:t>alias</a:t>
            </a:r>
          </a:p>
        </p:txBody>
      </p:sp>
      <p:grpSp>
        <p:nvGrpSpPr>
          <p:cNvPr id="8" name="Group 7">
            <a:extLst>
              <a:ext uri="{FF2B5EF4-FFF2-40B4-BE49-F238E27FC236}">
                <a16:creationId xmlns:a16="http://schemas.microsoft.com/office/drawing/2014/main" id="{0BE7EF4D-DC4E-43DB-813C-20FFD87DF30E}"/>
              </a:ext>
            </a:extLst>
          </p:cNvPr>
          <p:cNvGrpSpPr/>
          <p:nvPr/>
        </p:nvGrpSpPr>
        <p:grpSpPr>
          <a:xfrm>
            <a:off x="9515827" y="1102101"/>
            <a:ext cx="654710" cy="493858"/>
            <a:chOff x="2067517" y="1575258"/>
            <a:chExt cx="350721" cy="264555"/>
          </a:xfrm>
        </p:grpSpPr>
        <p:grpSp>
          <p:nvGrpSpPr>
            <p:cNvPr id="9" name="Group 8">
              <a:extLst>
                <a:ext uri="{FF2B5EF4-FFF2-40B4-BE49-F238E27FC236}">
                  <a16:creationId xmlns:a16="http://schemas.microsoft.com/office/drawing/2014/main" id="{447C390E-EF3B-4772-ABD6-64FE3BFBA21A}"/>
                </a:ext>
              </a:extLst>
            </p:cNvPr>
            <p:cNvGrpSpPr/>
            <p:nvPr/>
          </p:nvGrpSpPr>
          <p:grpSpPr>
            <a:xfrm>
              <a:off x="2067517" y="1575258"/>
              <a:ext cx="350721" cy="264555"/>
              <a:chOff x="2067517" y="1575258"/>
              <a:chExt cx="350721" cy="264555"/>
            </a:xfrm>
          </p:grpSpPr>
          <p:sp>
            <p:nvSpPr>
              <p:cNvPr id="17" name="Rectangle 9">
                <a:extLst>
                  <a:ext uri="{FF2B5EF4-FFF2-40B4-BE49-F238E27FC236}">
                    <a16:creationId xmlns:a16="http://schemas.microsoft.com/office/drawing/2014/main" id="{F43432A7-53E1-4E30-8EDF-6485422EF0B3}"/>
                  </a:ext>
                </a:extLst>
              </p:cNvPr>
              <p:cNvSpPr>
                <a:spLocks noChangeArrowheads="1"/>
              </p:cNvSpPr>
              <p:nvPr/>
            </p:nvSpPr>
            <p:spPr bwMode="auto">
              <a:xfrm>
                <a:off x="2067518" y="1575258"/>
                <a:ext cx="350720" cy="264555"/>
              </a:xfrm>
              <a:prstGeom prst="rect">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8" name="Line 10">
                <a:extLst>
                  <a:ext uri="{FF2B5EF4-FFF2-40B4-BE49-F238E27FC236}">
                    <a16:creationId xmlns:a16="http://schemas.microsoft.com/office/drawing/2014/main" id="{5FF92834-CD51-4CA3-93CF-8F6C1E4B93D8}"/>
                  </a:ext>
                </a:extLst>
              </p:cNvPr>
              <p:cNvSpPr>
                <a:spLocks noChangeShapeType="1"/>
              </p:cNvSpPr>
              <p:nvPr/>
            </p:nvSpPr>
            <p:spPr bwMode="auto">
              <a:xfrm flipH="1">
                <a:off x="2067517" y="1647026"/>
                <a:ext cx="35072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10" name="Group 9">
              <a:extLst>
                <a:ext uri="{FF2B5EF4-FFF2-40B4-BE49-F238E27FC236}">
                  <a16:creationId xmlns:a16="http://schemas.microsoft.com/office/drawing/2014/main" id="{9027B8C9-4726-4F9E-BF39-0B1FA52B6FA0}"/>
                </a:ext>
              </a:extLst>
            </p:cNvPr>
            <p:cNvGrpSpPr/>
            <p:nvPr/>
          </p:nvGrpSpPr>
          <p:grpSpPr>
            <a:xfrm>
              <a:off x="2287367" y="1599181"/>
              <a:ext cx="95690" cy="23923"/>
              <a:chOff x="2287367" y="1599181"/>
              <a:chExt cx="95690" cy="23923"/>
            </a:xfrm>
          </p:grpSpPr>
          <p:sp>
            <p:nvSpPr>
              <p:cNvPr id="14" name="Oval 11">
                <a:extLst>
                  <a:ext uri="{FF2B5EF4-FFF2-40B4-BE49-F238E27FC236}">
                    <a16:creationId xmlns:a16="http://schemas.microsoft.com/office/drawing/2014/main" id="{7E206B0C-CF5A-4E10-889E-125FA18788CD}"/>
                  </a:ext>
                </a:extLst>
              </p:cNvPr>
              <p:cNvSpPr>
                <a:spLocks noChangeArrowheads="1"/>
              </p:cNvSpPr>
              <p:nvPr/>
            </p:nvSpPr>
            <p:spPr bwMode="auto">
              <a:xfrm>
                <a:off x="2287367" y="1599181"/>
                <a:ext cx="23923" cy="23923"/>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5" name="Oval 12">
                <a:extLst>
                  <a:ext uri="{FF2B5EF4-FFF2-40B4-BE49-F238E27FC236}">
                    <a16:creationId xmlns:a16="http://schemas.microsoft.com/office/drawing/2014/main" id="{C5F5D7D9-2D7E-47C7-8A77-9A4A5B81D51E}"/>
                  </a:ext>
                </a:extLst>
              </p:cNvPr>
              <p:cNvSpPr>
                <a:spLocks noChangeArrowheads="1"/>
              </p:cNvSpPr>
              <p:nvPr/>
            </p:nvSpPr>
            <p:spPr bwMode="auto">
              <a:xfrm>
                <a:off x="2322547" y="1599181"/>
                <a:ext cx="23923" cy="23923"/>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6" name="Oval 13">
                <a:extLst>
                  <a:ext uri="{FF2B5EF4-FFF2-40B4-BE49-F238E27FC236}">
                    <a16:creationId xmlns:a16="http://schemas.microsoft.com/office/drawing/2014/main" id="{FE3D5D00-6E6F-4055-A36A-F433EF33A670}"/>
                  </a:ext>
                </a:extLst>
              </p:cNvPr>
              <p:cNvSpPr>
                <a:spLocks noChangeArrowheads="1"/>
              </p:cNvSpPr>
              <p:nvPr/>
            </p:nvSpPr>
            <p:spPr bwMode="auto">
              <a:xfrm>
                <a:off x="2359134" y="1599181"/>
                <a:ext cx="23923" cy="23923"/>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11" name="Group 10">
              <a:extLst>
                <a:ext uri="{FF2B5EF4-FFF2-40B4-BE49-F238E27FC236}">
                  <a16:creationId xmlns:a16="http://schemas.microsoft.com/office/drawing/2014/main" id="{6BAFAE30-99D9-46EC-B3FE-2D681BAA65D4}"/>
                </a:ext>
              </a:extLst>
            </p:cNvPr>
            <p:cNvGrpSpPr/>
            <p:nvPr/>
          </p:nvGrpSpPr>
          <p:grpSpPr>
            <a:xfrm>
              <a:off x="2191677" y="1701907"/>
              <a:ext cx="95690" cy="90061"/>
              <a:chOff x="2191677" y="1701907"/>
              <a:chExt cx="95690" cy="90061"/>
            </a:xfrm>
          </p:grpSpPr>
          <p:sp>
            <p:nvSpPr>
              <p:cNvPr id="12" name="Freeform 14">
                <a:extLst>
                  <a:ext uri="{FF2B5EF4-FFF2-40B4-BE49-F238E27FC236}">
                    <a16:creationId xmlns:a16="http://schemas.microsoft.com/office/drawing/2014/main" id="{24637980-8074-4432-A6F4-7C9FF515C398}"/>
                  </a:ext>
                </a:extLst>
              </p:cNvPr>
              <p:cNvSpPr>
                <a:spLocks/>
              </p:cNvSpPr>
              <p:nvPr/>
            </p:nvSpPr>
            <p:spPr bwMode="auto">
              <a:xfrm>
                <a:off x="2191677"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3" name="Line 15">
                <a:extLst>
                  <a:ext uri="{FF2B5EF4-FFF2-40B4-BE49-F238E27FC236}">
                    <a16:creationId xmlns:a16="http://schemas.microsoft.com/office/drawing/2014/main" id="{77743CDA-249B-4092-AEF1-B8C48DBE6C9F}"/>
                  </a:ext>
                </a:extLst>
              </p:cNvPr>
              <p:cNvSpPr>
                <a:spLocks noChangeShapeType="1"/>
              </p:cNvSpPr>
              <p:nvPr/>
            </p:nvSpPr>
            <p:spPr bwMode="auto">
              <a:xfrm>
                <a:off x="2241860" y="1755381"/>
                <a:ext cx="0" cy="36587"/>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cxnSp>
        <p:nvCxnSpPr>
          <p:cNvPr id="19" name="Straight Arrow Connector 18">
            <a:extLst>
              <a:ext uri="{FF2B5EF4-FFF2-40B4-BE49-F238E27FC236}">
                <a16:creationId xmlns:a16="http://schemas.microsoft.com/office/drawing/2014/main" id="{15EFD559-7F02-4372-B747-1B792AB8709E}"/>
              </a:ext>
            </a:extLst>
          </p:cNvPr>
          <p:cNvCxnSpPr>
            <a:cxnSpLocks/>
          </p:cNvCxnSpPr>
          <p:nvPr/>
        </p:nvCxnSpPr>
        <p:spPr>
          <a:xfrm>
            <a:off x="9817700" y="1640311"/>
            <a:ext cx="0" cy="366919"/>
          </a:xfrm>
          <a:prstGeom prst="straightConnector1">
            <a:avLst/>
          </a:prstGeom>
          <a:noFill/>
          <a:ln w="12700" cap="flat" cmpd="sng" algn="ctr">
            <a:solidFill>
              <a:srgbClr val="0078D7"/>
            </a:solidFill>
            <a:prstDash val="solid"/>
            <a:headEnd type="none"/>
            <a:tailEnd type="triangle"/>
          </a:ln>
          <a:effectLst/>
        </p:spPr>
      </p:cxnSp>
      <p:sp>
        <p:nvSpPr>
          <p:cNvPr id="20" name="Freeform: Shape 19">
            <a:extLst>
              <a:ext uri="{FF2B5EF4-FFF2-40B4-BE49-F238E27FC236}">
                <a16:creationId xmlns:a16="http://schemas.microsoft.com/office/drawing/2014/main" id="{DEA482EA-D6AF-4955-9A93-9E095FC88775}"/>
              </a:ext>
            </a:extLst>
          </p:cNvPr>
          <p:cNvSpPr>
            <a:spLocks/>
          </p:cNvSpPr>
          <p:nvPr/>
        </p:nvSpPr>
        <p:spPr bwMode="auto">
          <a:xfrm>
            <a:off x="5936231" y="2407773"/>
            <a:ext cx="5759648" cy="3161068"/>
          </a:xfrm>
          <a:custGeom>
            <a:avLst/>
            <a:gdLst>
              <a:gd name="connsiteX0" fmla="*/ 3172506 w 11625583"/>
              <a:gd name="connsiteY0" fmla="*/ 6251138 h 6380470"/>
              <a:gd name="connsiteX1" fmla="*/ 3237172 w 11625583"/>
              <a:gd name="connsiteY1" fmla="*/ 6315804 h 6380470"/>
              <a:gd name="connsiteX2" fmla="*/ 3172506 w 11625583"/>
              <a:gd name="connsiteY2" fmla="*/ 6380470 h 6380470"/>
              <a:gd name="connsiteX3" fmla="*/ 3107840 w 11625583"/>
              <a:gd name="connsiteY3" fmla="*/ 6315804 h 6380470"/>
              <a:gd name="connsiteX4" fmla="*/ 3172506 w 11625583"/>
              <a:gd name="connsiteY4" fmla="*/ 6251138 h 6380470"/>
              <a:gd name="connsiteX5" fmla="*/ 3321253 w 11625583"/>
              <a:gd name="connsiteY5" fmla="*/ 6251137 h 6380470"/>
              <a:gd name="connsiteX6" fmla="*/ 3385919 w 11625583"/>
              <a:gd name="connsiteY6" fmla="*/ 6315803 h 6380470"/>
              <a:gd name="connsiteX7" fmla="*/ 3321253 w 11625583"/>
              <a:gd name="connsiteY7" fmla="*/ 6380469 h 6380470"/>
              <a:gd name="connsiteX8" fmla="*/ 3256587 w 11625583"/>
              <a:gd name="connsiteY8" fmla="*/ 6315803 h 6380470"/>
              <a:gd name="connsiteX9" fmla="*/ 3321253 w 11625583"/>
              <a:gd name="connsiteY9" fmla="*/ 6251137 h 6380470"/>
              <a:gd name="connsiteX10" fmla="*/ 3172507 w 11625583"/>
              <a:gd name="connsiteY10" fmla="*/ 6110222 h 6380470"/>
              <a:gd name="connsiteX11" fmla="*/ 3237173 w 11625583"/>
              <a:gd name="connsiteY11" fmla="*/ 6174888 h 6380470"/>
              <a:gd name="connsiteX12" fmla="*/ 3172507 w 11625583"/>
              <a:gd name="connsiteY12" fmla="*/ 6239554 h 6380470"/>
              <a:gd name="connsiteX13" fmla="*/ 3107841 w 11625583"/>
              <a:gd name="connsiteY13" fmla="*/ 6174888 h 6380470"/>
              <a:gd name="connsiteX14" fmla="*/ 3172507 w 11625583"/>
              <a:gd name="connsiteY14" fmla="*/ 6110222 h 6380470"/>
              <a:gd name="connsiteX15" fmla="*/ 3172507 w 11625583"/>
              <a:gd name="connsiteY15" fmla="*/ 5965390 h 6380470"/>
              <a:gd name="connsiteX16" fmla="*/ 3237173 w 11625583"/>
              <a:gd name="connsiteY16" fmla="*/ 6030056 h 6380470"/>
              <a:gd name="connsiteX17" fmla="*/ 3172507 w 11625583"/>
              <a:gd name="connsiteY17" fmla="*/ 6094722 h 6380470"/>
              <a:gd name="connsiteX18" fmla="*/ 3107841 w 11625583"/>
              <a:gd name="connsiteY18" fmla="*/ 6030056 h 6380470"/>
              <a:gd name="connsiteX19" fmla="*/ 3172507 w 11625583"/>
              <a:gd name="connsiteY19" fmla="*/ 5965390 h 6380470"/>
              <a:gd name="connsiteX20" fmla="*/ 3321254 w 11625583"/>
              <a:gd name="connsiteY20" fmla="*/ 5965389 h 6380470"/>
              <a:gd name="connsiteX21" fmla="*/ 3385920 w 11625583"/>
              <a:gd name="connsiteY21" fmla="*/ 6030055 h 6380470"/>
              <a:gd name="connsiteX22" fmla="*/ 3321254 w 11625583"/>
              <a:gd name="connsiteY22" fmla="*/ 6094721 h 6380470"/>
              <a:gd name="connsiteX23" fmla="*/ 3256588 w 11625583"/>
              <a:gd name="connsiteY23" fmla="*/ 6030055 h 6380470"/>
              <a:gd name="connsiteX24" fmla="*/ 3321254 w 11625583"/>
              <a:gd name="connsiteY24" fmla="*/ 5965389 h 6380470"/>
              <a:gd name="connsiteX25" fmla="*/ 10938540 w 11625583"/>
              <a:gd name="connsiteY25" fmla="*/ 5824473 h 6380470"/>
              <a:gd name="connsiteX26" fmla="*/ 11003206 w 11625583"/>
              <a:gd name="connsiteY26" fmla="*/ 5889139 h 6380470"/>
              <a:gd name="connsiteX27" fmla="*/ 10938540 w 11625583"/>
              <a:gd name="connsiteY27" fmla="*/ 5953805 h 6380470"/>
              <a:gd name="connsiteX28" fmla="*/ 10873874 w 11625583"/>
              <a:gd name="connsiteY28" fmla="*/ 5889139 h 6380470"/>
              <a:gd name="connsiteX29" fmla="*/ 10938540 w 11625583"/>
              <a:gd name="connsiteY29" fmla="*/ 5824473 h 6380470"/>
              <a:gd name="connsiteX30" fmla="*/ 3321254 w 11625583"/>
              <a:gd name="connsiteY30" fmla="*/ 5824473 h 6380470"/>
              <a:gd name="connsiteX31" fmla="*/ 3385920 w 11625583"/>
              <a:gd name="connsiteY31" fmla="*/ 5889139 h 6380470"/>
              <a:gd name="connsiteX32" fmla="*/ 3321254 w 11625583"/>
              <a:gd name="connsiteY32" fmla="*/ 5953805 h 6380470"/>
              <a:gd name="connsiteX33" fmla="*/ 3256588 w 11625583"/>
              <a:gd name="connsiteY33" fmla="*/ 5889139 h 6380470"/>
              <a:gd name="connsiteX34" fmla="*/ 3321254 w 11625583"/>
              <a:gd name="connsiteY34" fmla="*/ 5824473 h 6380470"/>
              <a:gd name="connsiteX35" fmla="*/ 3172507 w 11625583"/>
              <a:gd name="connsiteY35" fmla="*/ 5824473 h 6380470"/>
              <a:gd name="connsiteX36" fmla="*/ 3237174 w 11625583"/>
              <a:gd name="connsiteY36" fmla="*/ 5889139 h 6380470"/>
              <a:gd name="connsiteX37" fmla="*/ 3172507 w 11625583"/>
              <a:gd name="connsiteY37" fmla="*/ 5953805 h 6380470"/>
              <a:gd name="connsiteX38" fmla="*/ 3107841 w 11625583"/>
              <a:gd name="connsiteY38" fmla="*/ 5889139 h 6380470"/>
              <a:gd name="connsiteX39" fmla="*/ 3172507 w 11625583"/>
              <a:gd name="connsiteY39" fmla="*/ 5824473 h 6380470"/>
              <a:gd name="connsiteX40" fmla="*/ 11095113 w 11625583"/>
              <a:gd name="connsiteY40" fmla="*/ 5683557 h 6380470"/>
              <a:gd name="connsiteX41" fmla="*/ 11159779 w 11625583"/>
              <a:gd name="connsiteY41" fmla="*/ 5748223 h 6380470"/>
              <a:gd name="connsiteX42" fmla="*/ 11095113 w 11625583"/>
              <a:gd name="connsiteY42" fmla="*/ 5812889 h 6380470"/>
              <a:gd name="connsiteX43" fmla="*/ 11030447 w 11625583"/>
              <a:gd name="connsiteY43" fmla="*/ 5748223 h 6380470"/>
              <a:gd name="connsiteX44" fmla="*/ 11095113 w 11625583"/>
              <a:gd name="connsiteY44" fmla="*/ 5683557 h 6380470"/>
              <a:gd name="connsiteX45" fmla="*/ 10312246 w 11625583"/>
              <a:gd name="connsiteY45" fmla="*/ 5683557 h 6380470"/>
              <a:gd name="connsiteX46" fmla="*/ 10376912 w 11625583"/>
              <a:gd name="connsiteY46" fmla="*/ 5748223 h 6380470"/>
              <a:gd name="connsiteX47" fmla="*/ 10312246 w 11625583"/>
              <a:gd name="connsiteY47" fmla="*/ 5812889 h 6380470"/>
              <a:gd name="connsiteX48" fmla="*/ 10247580 w 11625583"/>
              <a:gd name="connsiteY48" fmla="*/ 5748223 h 6380470"/>
              <a:gd name="connsiteX49" fmla="*/ 10312246 w 11625583"/>
              <a:gd name="connsiteY49" fmla="*/ 5683557 h 6380470"/>
              <a:gd name="connsiteX50" fmla="*/ 3321255 w 11625583"/>
              <a:gd name="connsiteY50" fmla="*/ 5683557 h 6380470"/>
              <a:gd name="connsiteX51" fmla="*/ 3385921 w 11625583"/>
              <a:gd name="connsiteY51" fmla="*/ 5748223 h 6380470"/>
              <a:gd name="connsiteX52" fmla="*/ 3321255 w 11625583"/>
              <a:gd name="connsiteY52" fmla="*/ 5812889 h 6380470"/>
              <a:gd name="connsiteX53" fmla="*/ 3256590 w 11625583"/>
              <a:gd name="connsiteY53" fmla="*/ 5748223 h 6380470"/>
              <a:gd name="connsiteX54" fmla="*/ 3321255 w 11625583"/>
              <a:gd name="connsiteY54" fmla="*/ 5683557 h 6380470"/>
              <a:gd name="connsiteX55" fmla="*/ 3172508 w 11625583"/>
              <a:gd name="connsiteY55" fmla="*/ 5683557 h 6380470"/>
              <a:gd name="connsiteX56" fmla="*/ 3237174 w 11625583"/>
              <a:gd name="connsiteY56" fmla="*/ 5748223 h 6380470"/>
              <a:gd name="connsiteX57" fmla="*/ 3172508 w 11625583"/>
              <a:gd name="connsiteY57" fmla="*/ 5812889 h 6380470"/>
              <a:gd name="connsiteX58" fmla="*/ 3107842 w 11625583"/>
              <a:gd name="connsiteY58" fmla="*/ 5748223 h 6380470"/>
              <a:gd name="connsiteX59" fmla="*/ 3172508 w 11625583"/>
              <a:gd name="connsiteY59" fmla="*/ 5683557 h 6380470"/>
              <a:gd name="connsiteX60" fmla="*/ 11251686 w 11625583"/>
              <a:gd name="connsiteY60" fmla="*/ 5538729 h 6380470"/>
              <a:gd name="connsiteX61" fmla="*/ 11316352 w 11625583"/>
              <a:gd name="connsiteY61" fmla="*/ 5603395 h 6380470"/>
              <a:gd name="connsiteX62" fmla="*/ 11251686 w 11625583"/>
              <a:gd name="connsiteY62" fmla="*/ 5668061 h 6380470"/>
              <a:gd name="connsiteX63" fmla="*/ 11187020 w 11625583"/>
              <a:gd name="connsiteY63" fmla="*/ 5603395 h 6380470"/>
              <a:gd name="connsiteX64" fmla="*/ 11251686 w 11625583"/>
              <a:gd name="connsiteY64" fmla="*/ 5538729 h 6380470"/>
              <a:gd name="connsiteX65" fmla="*/ 3481742 w 11625583"/>
              <a:gd name="connsiteY65" fmla="*/ 5538728 h 6380470"/>
              <a:gd name="connsiteX66" fmla="*/ 3546408 w 11625583"/>
              <a:gd name="connsiteY66" fmla="*/ 5603394 h 6380470"/>
              <a:gd name="connsiteX67" fmla="*/ 3481742 w 11625583"/>
              <a:gd name="connsiteY67" fmla="*/ 5668060 h 6380470"/>
              <a:gd name="connsiteX68" fmla="*/ 3417075 w 11625583"/>
              <a:gd name="connsiteY68" fmla="*/ 5603394 h 6380470"/>
              <a:gd name="connsiteX69" fmla="*/ 3481742 w 11625583"/>
              <a:gd name="connsiteY69" fmla="*/ 5538728 h 6380470"/>
              <a:gd name="connsiteX70" fmla="*/ 3172511 w 11625583"/>
              <a:gd name="connsiteY70" fmla="*/ 5538728 h 6380470"/>
              <a:gd name="connsiteX71" fmla="*/ 3237177 w 11625583"/>
              <a:gd name="connsiteY71" fmla="*/ 5603394 h 6380470"/>
              <a:gd name="connsiteX72" fmla="*/ 3172511 w 11625583"/>
              <a:gd name="connsiteY72" fmla="*/ 5668060 h 6380470"/>
              <a:gd name="connsiteX73" fmla="*/ 3107844 w 11625583"/>
              <a:gd name="connsiteY73" fmla="*/ 5603394 h 6380470"/>
              <a:gd name="connsiteX74" fmla="*/ 3172511 w 11625583"/>
              <a:gd name="connsiteY74" fmla="*/ 5538728 h 6380470"/>
              <a:gd name="connsiteX75" fmla="*/ 10312248 w 11625583"/>
              <a:gd name="connsiteY75" fmla="*/ 5538726 h 6380470"/>
              <a:gd name="connsiteX76" fmla="*/ 10376914 w 11625583"/>
              <a:gd name="connsiteY76" fmla="*/ 5603392 h 6380470"/>
              <a:gd name="connsiteX77" fmla="*/ 10312248 w 11625583"/>
              <a:gd name="connsiteY77" fmla="*/ 5668058 h 6380470"/>
              <a:gd name="connsiteX78" fmla="*/ 10247582 w 11625583"/>
              <a:gd name="connsiteY78" fmla="*/ 5603392 h 6380470"/>
              <a:gd name="connsiteX79" fmla="*/ 10312248 w 11625583"/>
              <a:gd name="connsiteY79" fmla="*/ 5538726 h 6380470"/>
              <a:gd name="connsiteX80" fmla="*/ 10159588 w 11625583"/>
              <a:gd name="connsiteY80" fmla="*/ 5538726 h 6380470"/>
              <a:gd name="connsiteX81" fmla="*/ 10224254 w 11625583"/>
              <a:gd name="connsiteY81" fmla="*/ 5603392 h 6380470"/>
              <a:gd name="connsiteX82" fmla="*/ 10159588 w 11625583"/>
              <a:gd name="connsiteY82" fmla="*/ 5668058 h 6380470"/>
              <a:gd name="connsiteX83" fmla="*/ 10094922 w 11625583"/>
              <a:gd name="connsiteY83" fmla="*/ 5603392 h 6380470"/>
              <a:gd name="connsiteX84" fmla="*/ 10159588 w 11625583"/>
              <a:gd name="connsiteY84" fmla="*/ 5538726 h 6380470"/>
              <a:gd name="connsiteX85" fmla="*/ 3321256 w 11625583"/>
              <a:gd name="connsiteY85" fmla="*/ 5538726 h 6380470"/>
              <a:gd name="connsiteX86" fmla="*/ 3385922 w 11625583"/>
              <a:gd name="connsiteY86" fmla="*/ 5603392 h 6380470"/>
              <a:gd name="connsiteX87" fmla="*/ 3321256 w 11625583"/>
              <a:gd name="connsiteY87" fmla="*/ 5668058 h 6380470"/>
              <a:gd name="connsiteX88" fmla="*/ 3256590 w 11625583"/>
              <a:gd name="connsiteY88" fmla="*/ 5603392 h 6380470"/>
              <a:gd name="connsiteX89" fmla="*/ 3321256 w 11625583"/>
              <a:gd name="connsiteY89" fmla="*/ 5538726 h 6380470"/>
              <a:gd name="connsiteX90" fmla="*/ 11251688 w 11625583"/>
              <a:gd name="connsiteY90" fmla="*/ 5401725 h 6380470"/>
              <a:gd name="connsiteX91" fmla="*/ 11316354 w 11625583"/>
              <a:gd name="connsiteY91" fmla="*/ 5466391 h 6380470"/>
              <a:gd name="connsiteX92" fmla="*/ 11251688 w 11625583"/>
              <a:gd name="connsiteY92" fmla="*/ 5531057 h 6380470"/>
              <a:gd name="connsiteX93" fmla="*/ 11187022 w 11625583"/>
              <a:gd name="connsiteY93" fmla="*/ 5466391 h 6380470"/>
              <a:gd name="connsiteX94" fmla="*/ 11251688 w 11625583"/>
              <a:gd name="connsiteY94" fmla="*/ 5401725 h 6380470"/>
              <a:gd name="connsiteX95" fmla="*/ 10312248 w 11625583"/>
              <a:gd name="connsiteY95" fmla="*/ 5401725 h 6380470"/>
              <a:gd name="connsiteX96" fmla="*/ 10376914 w 11625583"/>
              <a:gd name="connsiteY96" fmla="*/ 5466391 h 6380470"/>
              <a:gd name="connsiteX97" fmla="*/ 10312248 w 11625583"/>
              <a:gd name="connsiteY97" fmla="*/ 5531057 h 6380470"/>
              <a:gd name="connsiteX98" fmla="*/ 10247582 w 11625583"/>
              <a:gd name="connsiteY98" fmla="*/ 5466391 h 6380470"/>
              <a:gd name="connsiteX99" fmla="*/ 10312248 w 11625583"/>
              <a:gd name="connsiteY99" fmla="*/ 5401725 h 6380470"/>
              <a:gd name="connsiteX100" fmla="*/ 10159588 w 11625583"/>
              <a:gd name="connsiteY100" fmla="*/ 5401725 h 6380470"/>
              <a:gd name="connsiteX101" fmla="*/ 10224254 w 11625583"/>
              <a:gd name="connsiteY101" fmla="*/ 5466391 h 6380470"/>
              <a:gd name="connsiteX102" fmla="*/ 10159588 w 11625583"/>
              <a:gd name="connsiteY102" fmla="*/ 5531057 h 6380470"/>
              <a:gd name="connsiteX103" fmla="*/ 10094922 w 11625583"/>
              <a:gd name="connsiteY103" fmla="*/ 5466391 h 6380470"/>
              <a:gd name="connsiteX104" fmla="*/ 10159588 w 11625583"/>
              <a:gd name="connsiteY104" fmla="*/ 5401725 h 6380470"/>
              <a:gd name="connsiteX105" fmla="*/ 10003016 w 11625583"/>
              <a:gd name="connsiteY105" fmla="*/ 5401725 h 6380470"/>
              <a:gd name="connsiteX106" fmla="*/ 10067682 w 11625583"/>
              <a:gd name="connsiteY106" fmla="*/ 5466391 h 6380470"/>
              <a:gd name="connsiteX107" fmla="*/ 10003016 w 11625583"/>
              <a:gd name="connsiteY107" fmla="*/ 5531057 h 6380470"/>
              <a:gd name="connsiteX108" fmla="*/ 9938350 w 11625583"/>
              <a:gd name="connsiteY108" fmla="*/ 5466391 h 6380470"/>
              <a:gd name="connsiteX109" fmla="*/ 10003016 w 11625583"/>
              <a:gd name="connsiteY109" fmla="*/ 5401725 h 6380470"/>
              <a:gd name="connsiteX110" fmla="*/ 6119999 w 11625583"/>
              <a:gd name="connsiteY110" fmla="*/ 5401725 h 6380470"/>
              <a:gd name="connsiteX111" fmla="*/ 6184665 w 11625583"/>
              <a:gd name="connsiteY111" fmla="*/ 5466391 h 6380470"/>
              <a:gd name="connsiteX112" fmla="*/ 6119999 w 11625583"/>
              <a:gd name="connsiteY112" fmla="*/ 5531057 h 6380470"/>
              <a:gd name="connsiteX113" fmla="*/ 6055333 w 11625583"/>
              <a:gd name="connsiteY113" fmla="*/ 5466391 h 6380470"/>
              <a:gd name="connsiteX114" fmla="*/ 6119999 w 11625583"/>
              <a:gd name="connsiteY114" fmla="*/ 5401725 h 6380470"/>
              <a:gd name="connsiteX115" fmla="*/ 3630488 w 11625583"/>
              <a:gd name="connsiteY115" fmla="*/ 5401725 h 6380470"/>
              <a:gd name="connsiteX116" fmla="*/ 3695154 w 11625583"/>
              <a:gd name="connsiteY116" fmla="*/ 5466391 h 6380470"/>
              <a:gd name="connsiteX117" fmla="*/ 3630488 w 11625583"/>
              <a:gd name="connsiteY117" fmla="*/ 5531057 h 6380470"/>
              <a:gd name="connsiteX118" fmla="*/ 3565822 w 11625583"/>
              <a:gd name="connsiteY118" fmla="*/ 5466391 h 6380470"/>
              <a:gd name="connsiteX119" fmla="*/ 3630488 w 11625583"/>
              <a:gd name="connsiteY119" fmla="*/ 5401725 h 6380470"/>
              <a:gd name="connsiteX120" fmla="*/ 3481743 w 11625583"/>
              <a:gd name="connsiteY120" fmla="*/ 5401725 h 6380470"/>
              <a:gd name="connsiteX121" fmla="*/ 3546410 w 11625583"/>
              <a:gd name="connsiteY121" fmla="*/ 5466391 h 6380470"/>
              <a:gd name="connsiteX122" fmla="*/ 3481743 w 11625583"/>
              <a:gd name="connsiteY122" fmla="*/ 5531057 h 6380470"/>
              <a:gd name="connsiteX123" fmla="*/ 3417077 w 11625583"/>
              <a:gd name="connsiteY123" fmla="*/ 5466391 h 6380470"/>
              <a:gd name="connsiteX124" fmla="*/ 3481743 w 11625583"/>
              <a:gd name="connsiteY124" fmla="*/ 5401725 h 6380470"/>
              <a:gd name="connsiteX125" fmla="*/ 3321258 w 11625583"/>
              <a:gd name="connsiteY125" fmla="*/ 5401725 h 6380470"/>
              <a:gd name="connsiteX126" fmla="*/ 3385924 w 11625583"/>
              <a:gd name="connsiteY126" fmla="*/ 5466391 h 6380470"/>
              <a:gd name="connsiteX127" fmla="*/ 3321258 w 11625583"/>
              <a:gd name="connsiteY127" fmla="*/ 5531057 h 6380470"/>
              <a:gd name="connsiteX128" fmla="*/ 3256592 w 11625583"/>
              <a:gd name="connsiteY128" fmla="*/ 5466391 h 6380470"/>
              <a:gd name="connsiteX129" fmla="*/ 3321258 w 11625583"/>
              <a:gd name="connsiteY129" fmla="*/ 5401725 h 6380470"/>
              <a:gd name="connsiteX130" fmla="*/ 3172512 w 11625583"/>
              <a:gd name="connsiteY130" fmla="*/ 5401725 h 6380470"/>
              <a:gd name="connsiteX131" fmla="*/ 3237179 w 11625583"/>
              <a:gd name="connsiteY131" fmla="*/ 5466391 h 6380470"/>
              <a:gd name="connsiteX132" fmla="*/ 3172512 w 11625583"/>
              <a:gd name="connsiteY132" fmla="*/ 5531057 h 6380470"/>
              <a:gd name="connsiteX133" fmla="*/ 3107846 w 11625583"/>
              <a:gd name="connsiteY133" fmla="*/ 5466391 h 6380470"/>
              <a:gd name="connsiteX134" fmla="*/ 3172512 w 11625583"/>
              <a:gd name="connsiteY134" fmla="*/ 5401725 h 6380470"/>
              <a:gd name="connsiteX135" fmla="*/ 9850358 w 11625583"/>
              <a:gd name="connsiteY135" fmla="*/ 5256896 h 6380470"/>
              <a:gd name="connsiteX136" fmla="*/ 9915024 w 11625583"/>
              <a:gd name="connsiteY136" fmla="*/ 5321562 h 6380470"/>
              <a:gd name="connsiteX137" fmla="*/ 9850358 w 11625583"/>
              <a:gd name="connsiteY137" fmla="*/ 5386228 h 6380470"/>
              <a:gd name="connsiteX138" fmla="*/ 9785692 w 11625583"/>
              <a:gd name="connsiteY138" fmla="*/ 5321562 h 6380470"/>
              <a:gd name="connsiteX139" fmla="*/ 9850358 w 11625583"/>
              <a:gd name="connsiteY139" fmla="*/ 5256896 h 6380470"/>
              <a:gd name="connsiteX140" fmla="*/ 9227977 w 11625583"/>
              <a:gd name="connsiteY140" fmla="*/ 5256896 h 6380470"/>
              <a:gd name="connsiteX141" fmla="*/ 9292643 w 11625583"/>
              <a:gd name="connsiteY141" fmla="*/ 5321562 h 6380470"/>
              <a:gd name="connsiteX142" fmla="*/ 9227977 w 11625583"/>
              <a:gd name="connsiteY142" fmla="*/ 5386228 h 6380470"/>
              <a:gd name="connsiteX143" fmla="*/ 9163311 w 11625583"/>
              <a:gd name="connsiteY143" fmla="*/ 5321562 h 6380470"/>
              <a:gd name="connsiteX144" fmla="*/ 9227977 w 11625583"/>
              <a:gd name="connsiteY144" fmla="*/ 5256896 h 6380470"/>
              <a:gd name="connsiteX145" fmla="*/ 6429231 w 11625583"/>
              <a:gd name="connsiteY145" fmla="*/ 5256896 h 6380470"/>
              <a:gd name="connsiteX146" fmla="*/ 6493897 w 11625583"/>
              <a:gd name="connsiteY146" fmla="*/ 5321562 h 6380470"/>
              <a:gd name="connsiteX147" fmla="*/ 6429231 w 11625583"/>
              <a:gd name="connsiteY147" fmla="*/ 5386228 h 6380470"/>
              <a:gd name="connsiteX148" fmla="*/ 6364565 w 11625583"/>
              <a:gd name="connsiteY148" fmla="*/ 5321562 h 6380470"/>
              <a:gd name="connsiteX149" fmla="*/ 6429231 w 11625583"/>
              <a:gd name="connsiteY149" fmla="*/ 5256896 h 6380470"/>
              <a:gd name="connsiteX150" fmla="*/ 6276572 w 11625583"/>
              <a:gd name="connsiteY150" fmla="*/ 5256896 h 6380470"/>
              <a:gd name="connsiteX151" fmla="*/ 6341238 w 11625583"/>
              <a:gd name="connsiteY151" fmla="*/ 5321562 h 6380470"/>
              <a:gd name="connsiteX152" fmla="*/ 6276572 w 11625583"/>
              <a:gd name="connsiteY152" fmla="*/ 5386228 h 6380470"/>
              <a:gd name="connsiteX153" fmla="*/ 6211906 w 11625583"/>
              <a:gd name="connsiteY153" fmla="*/ 5321562 h 6380470"/>
              <a:gd name="connsiteX154" fmla="*/ 6276572 w 11625583"/>
              <a:gd name="connsiteY154" fmla="*/ 5256896 h 6380470"/>
              <a:gd name="connsiteX155" fmla="*/ 3790976 w 11625583"/>
              <a:gd name="connsiteY155" fmla="*/ 5256896 h 6380470"/>
              <a:gd name="connsiteX156" fmla="*/ 3855643 w 11625583"/>
              <a:gd name="connsiteY156" fmla="*/ 5321562 h 6380470"/>
              <a:gd name="connsiteX157" fmla="*/ 3790976 w 11625583"/>
              <a:gd name="connsiteY157" fmla="*/ 5386228 h 6380470"/>
              <a:gd name="connsiteX158" fmla="*/ 3726310 w 11625583"/>
              <a:gd name="connsiteY158" fmla="*/ 5321562 h 6380470"/>
              <a:gd name="connsiteX159" fmla="*/ 3790976 w 11625583"/>
              <a:gd name="connsiteY159" fmla="*/ 5256896 h 6380470"/>
              <a:gd name="connsiteX160" fmla="*/ 3481745 w 11625583"/>
              <a:gd name="connsiteY160" fmla="*/ 5256896 h 6380470"/>
              <a:gd name="connsiteX161" fmla="*/ 3546411 w 11625583"/>
              <a:gd name="connsiteY161" fmla="*/ 5321562 h 6380470"/>
              <a:gd name="connsiteX162" fmla="*/ 3481745 w 11625583"/>
              <a:gd name="connsiteY162" fmla="*/ 5386228 h 6380470"/>
              <a:gd name="connsiteX163" fmla="*/ 3417080 w 11625583"/>
              <a:gd name="connsiteY163" fmla="*/ 5321562 h 6380470"/>
              <a:gd name="connsiteX164" fmla="*/ 3481745 w 11625583"/>
              <a:gd name="connsiteY164" fmla="*/ 5256896 h 6380470"/>
              <a:gd name="connsiteX165" fmla="*/ 3172514 w 11625583"/>
              <a:gd name="connsiteY165" fmla="*/ 5256896 h 6380470"/>
              <a:gd name="connsiteX166" fmla="*/ 3237180 w 11625583"/>
              <a:gd name="connsiteY166" fmla="*/ 5321562 h 6380470"/>
              <a:gd name="connsiteX167" fmla="*/ 3172514 w 11625583"/>
              <a:gd name="connsiteY167" fmla="*/ 5386228 h 6380470"/>
              <a:gd name="connsiteX168" fmla="*/ 3107847 w 11625583"/>
              <a:gd name="connsiteY168" fmla="*/ 5321562 h 6380470"/>
              <a:gd name="connsiteX169" fmla="*/ 3172514 w 11625583"/>
              <a:gd name="connsiteY169" fmla="*/ 5256896 h 6380470"/>
              <a:gd name="connsiteX170" fmla="*/ 10312248 w 11625583"/>
              <a:gd name="connsiteY170" fmla="*/ 5256895 h 6380470"/>
              <a:gd name="connsiteX171" fmla="*/ 10376914 w 11625583"/>
              <a:gd name="connsiteY171" fmla="*/ 5321561 h 6380470"/>
              <a:gd name="connsiteX172" fmla="*/ 10312248 w 11625583"/>
              <a:gd name="connsiteY172" fmla="*/ 5386227 h 6380470"/>
              <a:gd name="connsiteX173" fmla="*/ 10247582 w 11625583"/>
              <a:gd name="connsiteY173" fmla="*/ 5321561 h 6380470"/>
              <a:gd name="connsiteX174" fmla="*/ 10312248 w 11625583"/>
              <a:gd name="connsiteY174" fmla="*/ 5256895 h 6380470"/>
              <a:gd name="connsiteX175" fmla="*/ 10159588 w 11625583"/>
              <a:gd name="connsiteY175" fmla="*/ 5256895 h 6380470"/>
              <a:gd name="connsiteX176" fmla="*/ 10224254 w 11625583"/>
              <a:gd name="connsiteY176" fmla="*/ 5321561 h 6380470"/>
              <a:gd name="connsiteX177" fmla="*/ 10159588 w 11625583"/>
              <a:gd name="connsiteY177" fmla="*/ 5386227 h 6380470"/>
              <a:gd name="connsiteX178" fmla="*/ 10094922 w 11625583"/>
              <a:gd name="connsiteY178" fmla="*/ 5321561 h 6380470"/>
              <a:gd name="connsiteX179" fmla="*/ 10159588 w 11625583"/>
              <a:gd name="connsiteY179" fmla="*/ 5256895 h 6380470"/>
              <a:gd name="connsiteX180" fmla="*/ 10003016 w 11625583"/>
              <a:gd name="connsiteY180" fmla="*/ 5256895 h 6380470"/>
              <a:gd name="connsiteX181" fmla="*/ 10067682 w 11625583"/>
              <a:gd name="connsiteY181" fmla="*/ 5321561 h 6380470"/>
              <a:gd name="connsiteX182" fmla="*/ 10003016 w 11625583"/>
              <a:gd name="connsiteY182" fmla="*/ 5386227 h 6380470"/>
              <a:gd name="connsiteX183" fmla="*/ 9938350 w 11625583"/>
              <a:gd name="connsiteY183" fmla="*/ 5321561 h 6380470"/>
              <a:gd name="connsiteX184" fmla="*/ 10003016 w 11625583"/>
              <a:gd name="connsiteY184" fmla="*/ 5256895 h 6380470"/>
              <a:gd name="connsiteX185" fmla="*/ 9384550 w 11625583"/>
              <a:gd name="connsiteY185" fmla="*/ 5256895 h 6380470"/>
              <a:gd name="connsiteX186" fmla="*/ 9449216 w 11625583"/>
              <a:gd name="connsiteY186" fmla="*/ 5321561 h 6380470"/>
              <a:gd name="connsiteX187" fmla="*/ 9384550 w 11625583"/>
              <a:gd name="connsiteY187" fmla="*/ 5386227 h 6380470"/>
              <a:gd name="connsiteX188" fmla="*/ 9319884 w 11625583"/>
              <a:gd name="connsiteY188" fmla="*/ 5321561 h 6380470"/>
              <a:gd name="connsiteX189" fmla="*/ 9384550 w 11625583"/>
              <a:gd name="connsiteY189" fmla="*/ 5256895 h 6380470"/>
              <a:gd name="connsiteX190" fmla="*/ 6119999 w 11625583"/>
              <a:gd name="connsiteY190" fmla="*/ 5256895 h 6380470"/>
              <a:gd name="connsiteX191" fmla="*/ 6184665 w 11625583"/>
              <a:gd name="connsiteY191" fmla="*/ 5321561 h 6380470"/>
              <a:gd name="connsiteX192" fmla="*/ 6119999 w 11625583"/>
              <a:gd name="connsiteY192" fmla="*/ 5386227 h 6380470"/>
              <a:gd name="connsiteX193" fmla="*/ 6055333 w 11625583"/>
              <a:gd name="connsiteY193" fmla="*/ 5321561 h 6380470"/>
              <a:gd name="connsiteX194" fmla="*/ 6119999 w 11625583"/>
              <a:gd name="connsiteY194" fmla="*/ 5256895 h 6380470"/>
              <a:gd name="connsiteX195" fmla="*/ 3630491 w 11625583"/>
              <a:gd name="connsiteY195" fmla="*/ 5256895 h 6380470"/>
              <a:gd name="connsiteX196" fmla="*/ 3695156 w 11625583"/>
              <a:gd name="connsiteY196" fmla="*/ 5321561 h 6380470"/>
              <a:gd name="connsiteX197" fmla="*/ 3630491 w 11625583"/>
              <a:gd name="connsiteY197" fmla="*/ 5386227 h 6380470"/>
              <a:gd name="connsiteX198" fmla="*/ 3565825 w 11625583"/>
              <a:gd name="connsiteY198" fmla="*/ 5321561 h 6380470"/>
              <a:gd name="connsiteX199" fmla="*/ 3630491 w 11625583"/>
              <a:gd name="connsiteY199" fmla="*/ 5256895 h 6380470"/>
              <a:gd name="connsiteX200" fmla="*/ 3321260 w 11625583"/>
              <a:gd name="connsiteY200" fmla="*/ 5256895 h 6380470"/>
              <a:gd name="connsiteX201" fmla="*/ 3385925 w 11625583"/>
              <a:gd name="connsiteY201" fmla="*/ 5321561 h 6380470"/>
              <a:gd name="connsiteX202" fmla="*/ 3321260 w 11625583"/>
              <a:gd name="connsiteY202" fmla="*/ 5386227 h 6380470"/>
              <a:gd name="connsiteX203" fmla="*/ 3256594 w 11625583"/>
              <a:gd name="connsiteY203" fmla="*/ 5321561 h 6380470"/>
              <a:gd name="connsiteX204" fmla="*/ 3321260 w 11625583"/>
              <a:gd name="connsiteY204" fmla="*/ 5256895 h 6380470"/>
              <a:gd name="connsiteX205" fmla="*/ 10468821 w 11625583"/>
              <a:gd name="connsiteY205" fmla="*/ 5115980 h 6380470"/>
              <a:gd name="connsiteX206" fmla="*/ 10533487 w 11625583"/>
              <a:gd name="connsiteY206" fmla="*/ 5180646 h 6380470"/>
              <a:gd name="connsiteX207" fmla="*/ 10468821 w 11625583"/>
              <a:gd name="connsiteY207" fmla="*/ 5245312 h 6380470"/>
              <a:gd name="connsiteX208" fmla="*/ 10404155 w 11625583"/>
              <a:gd name="connsiteY208" fmla="*/ 5180646 h 6380470"/>
              <a:gd name="connsiteX209" fmla="*/ 10468821 w 11625583"/>
              <a:gd name="connsiteY209" fmla="*/ 5115980 h 6380470"/>
              <a:gd name="connsiteX210" fmla="*/ 9850358 w 11625583"/>
              <a:gd name="connsiteY210" fmla="*/ 5115980 h 6380470"/>
              <a:gd name="connsiteX211" fmla="*/ 9915024 w 11625583"/>
              <a:gd name="connsiteY211" fmla="*/ 5180646 h 6380470"/>
              <a:gd name="connsiteX212" fmla="*/ 9850358 w 11625583"/>
              <a:gd name="connsiteY212" fmla="*/ 5245312 h 6380470"/>
              <a:gd name="connsiteX213" fmla="*/ 9785692 w 11625583"/>
              <a:gd name="connsiteY213" fmla="*/ 5180646 h 6380470"/>
              <a:gd name="connsiteX214" fmla="*/ 9850358 w 11625583"/>
              <a:gd name="connsiteY214" fmla="*/ 5115980 h 6380470"/>
              <a:gd name="connsiteX215" fmla="*/ 9227977 w 11625583"/>
              <a:gd name="connsiteY215" fmla="*/ 5115980 h 6380470"/>
              <a:gd name="connsiteX216" fmla="*/ 9292643 w 11625583"/>
              <a:gd name="connsiteY216" fmla="*/ 5180646 h 6380470"/>
              <a:gd name="connsiteX217" fmla="*/ 9227977 w 11625583"/>
              <a:gd name="connsiteY217" fmla="*/ 5245312 h 6380470"/>
              <a:gd name="connsiteX218" fmla="*/ 9163311 w 11625583"/>
              <a:gd name="connsiteY218" fmla="*/ 5180646 h 6380470"/>
              <a:gd name="connsiteX219" fmla="*/ 9227977 w 11625583"/>
              <a:gd name="connsiteY219" fmla="*/ 5115980 h 6380470"/>
              <a:gd name="connsiteX220" fmla="*/ 6429231 w 11625583"/>
              <a:gd name="connsiteY220" fmla="*/ 5115980 h 6380470"/>
              <a:gd name="connsiteX221" fmla="*/ 6493897 w 11625583"/>
              <a:gd name="connsiteY221" fmla="*/ 5180646 h 6380470"/>
              <a:gd name="connsiteX222" fmla="*/ 6429231 w 11625583"/>
              <a:gd name="connsiteY222" fmla="*/ 5245312 h 6380470"/>
              <a:gd name="connsiteX223" fmla="*/ 6364565 w 11625583"/>
              <a:gd name="connsiteY223" fmla="*/ 5180646 h 6380470"/>
              <a:gd name="connsiteX224" fmla="*/ 6429231 w 11625583"/>
              <a:gd name="connsiteY224" fmla="*/ 5115980 h 6380470"/>
              <a:gd name="connsiteX225" fmla="*/ 6276572 w 11625583"/>
              <a:gd name="connsiteY225" fmla="*/ 5115980 h 6380470"/>
              <a:gd name="connsiteX226" fmla="*/ 6341238 w 11625583"/>
              <a:gd name="connsiteY226" fmla="*/ 5180646 h 6380470"/>
              <a:gd name="connsiteX227" fmla="*/ 6276572 w 11625583"/>
              <a:gd name="connsiteY227" fmla="*/ 5245312 h 6380470"/>
              <a:gd name="connsiteX228" fmla="*/ 6211906 w 11625583"/>
              <a:gd name="connsiteY228" fmla="*/ 5180646 h 6380470"/>
              <a:gd name="connsiteX229" fmla="*/ 6276572 w 11625583"/>
              <a:gd name="connsiteY229" fmla="*/ 5115980 h 6380470"/>
              <a:gd name="connsiteX230" fmla="*/ 5967339 w 11625583"/>
              <a:gd name="connsiteY230" fmla="*/ 5115980 h 6380470"/>
              <a:gd name="connsiteX231" fmla="*/ 6032005 w 11625583"/>
              <a:gd name="connsiteY231" fmla="*/ 5180646 h 6380470"/>
              <a:gd name="connsiteX232" fmla="*/ 5967339 w 11625583"/>
              <a:gd name="connsiteY232" fmla="*/ 5245312 h 6380470"/>
              <a:gd name="connsiteX233" fmla="*/ 5902673 w 11625583"/>
              <a:gd name="connsiteY233" fmla="*/ 5180646 h 6380470"/>
              <a:gd name="connsiteX234" fmla="*/ 5967339 w 11625583"/>
              <a:gd name="connsiteY234" fmla="*/ 5115980 h 6380470"/>
              <a:gd name="connsiteX235" fmla="*/ 3790979 w 11625583"/>
              <a:gd name="connsiteY235" fmla="*/ 5115980 h 6380470"/>
              <a:gd name="connsiteX236" fmla="*/ 3855646 w 11625583"/>
              <a:gd name="connsiteY236" fmla="*/ 5180646 h 6380470"/>
              <a:gd name="connsiteX237" fmla="*/ 3790979 w 11625583"/>
              <a:gd name="connsiteY237" fmla="*/ 5245312 h 6380470"/>
              <a:gd name="connsiteX238" fmla="*/ 3726312 w 11625583"/>
              <a:gd name="connsiteY238" fmla="*/ 5180646 h 6380470"/>
              <a:gd name="connsiteX239" fmla="*/ 3790979 w 11625583"/>
              <a:gd name="connsiteY239" fmla="*/ 5115980 h 6380470"/>
              <a:gd name="connsiteX240" fmla="*/ 3481748 w 11625583"/>
              <a:gd name="connsiteY240" fmla="*/ 5115980 h 6380470"/>
              <a:gd name="connsiteX241" fmla="*/ 3546415 w 11625583"/>
              <a:gd name="connsiteY241" fmla="*/ 5180646 h 6380470"/>
              <a:gd name="connsiteX242" fmla="*/ 3481748 w 11625583"/>
              <a:gd name="connsiteY242" fmla="*/ 5245312 h 6380470"/>
              <a:gd name="connsiteX243" fmla="*/ 3417082 w 11625583"/>
              <a:gd name="connsiteY243" fmla="*/ 5180646 h 6380470"/>
              <a:gd name="connsiteX244" fmla="*/ 3481748 w 11625583"/>
              <a:gd name="connsiteY244" fmla="*/ 5115980 h 6380470"/>
              <a:gd name="connsiteX245" fmla="*/ 3172518 w 11625583"/>
              <a:gd name="connsiteY245" fmla="*/ 5115980 h 6380470"/>
              <a:gd name="connsiteX246" fmla="*/ 3237185 w 11625583"/>
              <a:gd name="connsiteY246" fmla="*/ 5180646 h 6380470"/>
              <a:gd name="connsiteX247" fmla="*/ 3172518 w 11625583"/>
              <a:gd name="connsiteY247" fmla="*/ 5245312 h 6380470"/>
              <a:gd name="connsiteX248" fmla="*/ 3107851 w 11625583"/>
              <a:gd name="connsiteY248" fmla="*/ 5180646 h 6380470"/>
              <a:gd name="connsiteX249" fmla="*/ 3172518 w 11625583"/>
              <a:gd name="connsiteY249" fmla="*/ 5115980 h 6380470"/>
              <a:gd name="connsiteX250" fmla="*/ 10312248 w 11625583"/>
              <a:gd name="connsiteY250" fmla="*/ 5115979 h 6380470"/>
              <a:gd name="connsiteX251" fmla="*/ 10376914 w 11625583"/>
              <a:gd name="connsiteY251" fmla="*/ 5180645 h 6380470"/>
              <a:gd name="connsiteX252" fmla="*/ 10312248 w 11625583"/>
              <a:gd name="connsiteY252" fmla="*/ 5245311 h 6380470"/>
              <a:gd name="connsiteX253" fmla="*/ 10247582 w 11625583"/>
              <a:gd name="connsiteY253" fmla="*/ 5180645 h 6380470"/>
              <a:gd name="connsiteX254" fmla="*/ 10312248 w 11625583"/>
              <a:gd name="connsiteY254" fmla="*/ 5115979 h 6380470"/>
              <a:gd name="connsiteX255" fmla="*/ 10159588 w 11625583"/>
              <a:gd name="connsiteY255" fmla="*/ 5115979 h 6380470"/>
              <a:gd name="connsiteX256" fmla="*/ 10224254 w 11625583"/>
              <a:gd name="connsiteY256" fmla="*/ 5180645 h 6380470"/>
              <a:gd name="connsiteX257" fmla="*/ 10159588 w 11625583"/>
              <a:gd name="connsiteY257" fmla="*/ 5245311 h 6380470"/>
              <a:gd name="connsiteX258" fmla="*/ 10094922 w 11625583"/>
              <a:gd name="connsiteY258" fmla="*/ 5180645 h 6380470"/>
              <a:gd name="connsiteX259" fmla="*/ 10159588 w 11625583"/>
              <a:gd name="connsiteY259" fmla="*/ 5115979 h 6380470"/>
              <a:gd name="connsiteX260" fmla="*/ 10003016 w 11625583"/>
              <a:gd name="connsiteY260" fmla="*/ 5115979 h 6380470"/>
              <a:gd name="connsiteX261" fmla="*/ 10067682 w 11625583"/>
              <a:gd name="connsiteY261" fmla="*/ 5180645 h 6380470"/>
              <a:gd name="connsiteX262" fmla="*/ 10003016 w 11625583"/>
              <a:gd name="connsiteY262" fmla="*/ 5245311 h 6380470"/>
              <a:gd name="connsiteX263" fmla="*/ 9938350 w 11625583"/>
              <a:gd name="connsiteY263" fmla="*/ 5180645 h 6380470"/>
              <a:gd name="connsiteX264" fmla="*/ 10003016 w 11625583"/>
              <a:gd name="connsiteY264" fmla="*/ 5115979 h 6380470"/>
              <a:gd name="connsiteX265" fmla="*/ 9693783 w 11625583"/>
              <a:gd name="connsiteY265" fmla="*/ 5115979 h 6380470"/>
              <a:gd name="connsiteX266" fmla="*/ 9758449 w 11625583"/>
              <a:gd name="connsiteY266" fmla="*/ 5180645 h 6380470"/>
              <a:gd name="connsiteX267" fmla="*/ 9693783 w 11625583"/>
              <a:gd name="connsiteY267" fmla="*/ 5245311 h 6380470"/>
              <a:gd name="connsiteX268" fmla="*/ 9629117 w 11625583"/>
              <a:gd name="connsiteY268" fmla="*/ 5180645 h 6380470"/>
              <a:gd name="connsiteX269" fmla="*/ 9693783 w 11625583"/>
              <a:gd name="connsiteY269" fmla="*/ 5115979 h 6380470"/>
              <a:gd name="connsiteX270" fmla="*/ 9541125 w 11625583"/>
              <a:gd name="connsiteY270" fmla="*/ 5115979 h 6380470"/>
              <a:gd name="connsiteX271" fmla="*/ 9605791 w 11625583"/>
              <a:gd name="connsiteY271" fmla="*/ 5180645 h 6380470"/>
              <a:gd name="connsiteX272" fmla="*/ 9541125 w 11625583"/>
              <a:gd name="connsiteY272" fmla="*/ 5245311 h 6380470"/>
              <a:gd name="connsiteX273" fmla="*/ 9476459 w 11625583"/>
              <a:gd name="connsiteY273" fmla="*/ 5180645 h 6380470"/>
              <a:gd name="connsiteX274" fmla="*/ 9541125 w 11625583"/>
              <a:gd name="connsiteY274" fmla="*/ 5115979 h 6380470"/>
              <a:gd name="connsiteX275" fmla="*/ 9384550 w 11625583"/>
              <a:gd name="connsiteY275" fmla="*/ 5115979 h 6380470"/>
              <a:gd name="connsiteX276" fmla="*/ 9449216 w 11625583"/>
              <a:gd name="connsiteY276" fmla="*/ 5180645 h 6380470"/>
              <a:gd name="connsiteX277" fmla="*/ 9384550 w 11625583"/>
              <a:gd name="connsiteY277" fmla="*/ 5245311 h 6380470"/>
              <a:gd name="connsiteX278" fmla="*/ 9319884 w 11625583"/>
              <a:gd name="connsiteY278" fmla="*/ 5180645 h 6380470"/>
              <a:gd name="connsiteX279" fmla="*/ 9384550 w 11625583"/>
              <a:gd name="connsiteY279" fmla="*/ 5115979 h 6380470"/>
              <a:gd name="connsiteX280" fmla="*/ 6119999 w 11625583"/>
              <a:gd name="connsiteY280" fmla="*/ 5115979 h 6380470"/>
              <a:gd name="connsiteX281" fmla="*/ 6184665 w 11625583"/>
              <a:gd name="connsiteY281" fmla="*/ 5180645 h 6380470"/>
              <a:gd name="connsiteX282" fmla="*/ 6119999 w 11625583"/>
              <a:gd name="connsiteY282" fmla="*/ 5245311 h 6380470"/>
              <a:gd name="connsiteX283" fmla="*/ 6055333 w 11625583"/>
              <a:gd name="connsiteY283" fmla="*/ 5180645 h 6380470"/>
              <a:gd name="connsiteX284" fmla="*/ 6119999 w 11625583"/>
              <a:gd name="connsiteY284" fmla="*/ 5115979 h 6380470"/>
              <a:gd name="connsiteX285" fmla="*/ 3630493 w 11625583"/>
              <a:gd name="connsiteY285" fmla="*/ 5115979 h 6380470"/>
              <a:gd name="connsiteX286" fmla="*/ 3695158 w 11625583"/>
              <a:gd name="connsiteY286" fmla="*/ 5180645 h 6380470"/>
              <a:gd name="connsiteX287" fmla="*/ 3630493 w 11625583"/>
              <a:gd name="connsiteY287" fmla="*/ 5245311 h 6380470"/>
              <a:gd name="connsiteX288" fmla="*/ 3565827 w 11625583"/>
              <a:gd name="connsiteY288" fmla="*/ 5180645 h 6380470"/>
              <a:gd name="connsiteX289" fmla="*/ 3630493 w 11625583"/>
              <a:gd name="connsiteY289" fmla="*/ 5115979 h 6380470"/>
              <a:gd name="connsiteX290" fmla="*/ 3321262 w 11625583"/>
              <a:gd name="connsiteY290" fmla="*/ 5115979 h 6380470"/>
              <a:gd name="connsiteX291" fmla="*/ 3385929 w 11625583"/>
              <a:gd name="connsiteY291" fmla="*/ 5180645 h 6380470"/>
              <a:gd name="connsiteX292" fmla="*/ 3321262 w 11625583"/>
              <a:gd name="connsiteY292" fmla="*/ 5245311 h 6380470"/>
              <a:gd name="connsiteX293" fmla="*/ 3256596 w 11625583"/>
              <a:gd name="connsiteY293" fmla="*/ 5180645 h 6380470"/>
              <a:gd name="connsiteX294" fmla="*/ 3321262 w 11625583"/>
              <a:gd name="connsiteY294" fmla="*/ 5115979 h 6380470"/>
              <a:gd name="connsiteX295" fmla="*/ 10468821 w 11625583"/>
              <a:gd name="connsiteY295" fmla="*/ 4975063 h 6380470"/>
              <a:gd name="connsiteX296" fmla="*/ 10533487 w 11625583"/>
              <a:gd name="connsiteY296" fmla="*/ 5039729 h 6380470"/>
              <a:gd name="connsiteX297" fmla="*/ 10468821 w 11625583"/>
              <a:gd name="connsiteY297" fmla="*/ 5104395 h 6380470"/>
              <a:gd name="connsiteX298" fmla="*/ 10404155 w 11625583"/>
              <a:gd name="connsiteY298" fmla="*/ 5039729 h 6380470"/>
              <a:gd name="connsiteX299" fmla="*/ 10468821 w 11625583"/>
              <a:gd name="connsiteY299" fmla="*/ 4975063 h 6380470"/>
              <a:gd name="connsiteX300" fmla="*/ 10312248 w 11625583"/>
              <a:gd name="connsiteY300" fmla="*/ 4975063 h 6380470"/>
              <a:gd name="connsiteX301" fmla="*/ 10376914 w 11625583"/>
              <a:gd name="connsiteY301" fmla="*/ 5039729 h 6380470"/>
              <a:gd name="connsiteX302" fmla="*/ 10312248 w 11625583"/>
              <a:gd name="connsiteY302" fmla="*/ 5104395 h 6380470"/>
              <a:gd name="connsiteX303" fmla="*/ 10247582 w 11625583"/>
              <a:gd name="connsiteY303" fmla="*/ 5039729 h 6380470"/>
              <a:gd name="connsiteX304" fmla="*/ 10312248 w 11625583"/>
              <a:gd name="connsiteY304" fmla="*/ 4975063 h 6380470"/>
              <a:gd name="connsiteX305" fmla="*/ 10159588 w 11625583"/>
              <a:gd name="connsiteY305" fmla="*/ 4975063 h 6380470"/>
              <a:gd name="connsiteX306" fmla="*/ 10224254 w 11625583"/>
              <a:gd name="connsiteY306" fmla="*/ 5039729 h 6380470"/>
              <a:gd name="connsiteX307" fmla="*/ 10159588 w 11625583"/>
              <a:gd name="connsiteY307" fmla="*/ 5104395 h 6380470"/>
              <a:gd name="connsiteX308" fmla="*/ 10094922 w 11625583"/>
              <a:gd name="connsiteY308" fmla="*/ 5039729 h 6380470"/>
              <a:gd name="connsiteX309" fmla="*/ 10159588 w 11625583"/>
              <a:gd name="connsiteY309" fmla="*/ 4975063 h 6380470"/>
              <a:gd name="connsiteX310" fmla="*/ 10003016 w 11625583"/>
              <a:gd name="connsiteY310" fmla="*/ 4975063 h 6380470"/>
              <a:gd name="connsiteX311" fmla="*/ 10067682 w 11625583"/>
              <a:gd name="connsiteY311" fmla="*/ 5039729 h 6380470"/>
              <a:gd name="connsiteX312" fmla="*/ 10003016 w 11625583"/>
              <a:gd name="connsiteY312" fmla="*/ 5104395 h 6380470"/>
              <a:gd name="connsiteX313" fmla="*/ 9938350 w 11625583"/>
              <a:gd name="connsiteY313" fmla="*/ 5039729 h 6380470"/>
              <a:gd name="connsiteX314" fmla="*/ 10003016 w 11625583"/>
              <a:gd name="connsiteY314" fmla="*/ 4975063 h 6380470"/>
              <a:gd name="connsiteX315" fmla="*/ 9850358 w 11625583"/>
              <a:gd name="connsiteY315" fmla="*/ 4975063 h 6380470"/>
              <a:gd name="connsiteX316" fmla="*/ 9915024 w 11625583"/>
              <a:gd name="connsiteY316" fmla="*/ 5039729 h 6380470"/>
              <a:gd name="connsiteX317" fmla="*/ 9850358 w 11625583"/>
              <a:gd name="connsiteY317" fmla="*/ 5104395 h 6380470"/>
              <a:gd name="connsiteX318" fmla="*/ 9785692 w 11625583"/>
              <a:gd name="connsiteY318" fmla="*/ 5039729 h 6380470"/>
              <a:gd name="connsiteX319" fmla="*/ 9850358 w 11625583"/>
              <a:gd name="connsiteY319" fmla="*/ 4975063 h 6380470"/>
              <a:gd name="connsiteX320" fmla="*/ 9693783 w 11625583"/>
              <a:gd name="connsiteY320" fmla="*/ 4975063 h 6380470"/>
              <a:gd name="connsiteX321" fmla="*/ 9758449 w 11625583"/>
              <a:gd name="connsiteY321" fmla="*/ 5039729 h 6380470"/>
              <a:gd name="connsiteX322" fmla="*/ 9693783 w 11625583"/>
              <a:gd name="connsiteY322" fmla="*/ 5104395 h 6380470"/>
              <a:gd name="connsiteX323" fmla="*/ 9629117 w 11625583"/>
              <a:gd name="connsiteY323" fmla="*/ 5039729 h 6380470"/>
              <a:gd name="connsiteX324" fmla="*/ 9693783 w 11625583"/>
              <a:gd name="connsiteY324" fmla="*/ 4975063 h 6380470"/>
              <a:gd name="connsiteX325" fmla="*/ 9541125 w 11625583"/>
              <a:gd name="connsiteY325" fmla="*/ 4975063 h 6380470"/>
              <a:gd name="connsiteX326" fmla="*/ 9605791 w 11625583"/>
              <a:gd name="connsiteY326" fmla="*/ 5039729 h 6380470"/>
              <a:gd name="connsiteX327" fmla="*/ 9541125 w 11625583"/>
              <a:gd name="connsiteY327" fmla="*/ 5104395 h 6380470"/>
              <a:gd name="connsiteX328" fmla="*/ 9476459 w 11625583"/>
              <a:gd name="connsiteY328" fmla="*/ 5039729 h 6380470"/>
              <a:gd name="connsiteX329" fmla="*/ 9541125 w 11625583"/>
              <a:gd name="connsiteY329" fmla="*/ 4975063 h 6380470"/>
              <a:gd name="connsiteX330" fmla="*/ 9384550 w 11625583"/>
              <a:gd name="connsiteY330" fmla="*/ 4975063 h 6380470"/>
              <a:gd name="connsiteX331" fmla="*/ 9449216 w 11625583"/>
              <a:gd name="connsiteY331" fmla="*/ 5039729 h 6380470"/>
              <a:gd name="connsiteX332" fmla="*/ 9384550 w 11625583"/>
              <a:gd name="connsiteY332" fmla="*/ 5104395 h 6380470"/>
              <a:gd name="connsiteX333" fmla="*/ 9319884 w 11625583"/>
              <a:gd name="connsiteY333" fmla="*/ 5039729 h 6380470"/>
              <a:gd name="connsiteX334" fmla="*/ 9384550 w 11625583"/>
              <a:gd name="connsiteY334" fmla="*/ 4975063 h 6380470"/>
              <a:gd name="connsiteX335" fmla="*/ 9227977 w 11625583"/>
              <a:gd name="connsiteY335" fmla="*/ 4975063 h 6380470"/>
              <a:gd name="connsiteX336" fmla="*/ 9292643 w 11625583"/>
              <a:gd name="connsiteY336" fmla="*/ 5039729 h 6380470"/>
              <a:gd name="connsiteX337" fmla="*/ 9227977 w 11625583"/>
              <a:gd name="connsiteY337" fmla="*/ 5104395 h 6380470"/>
              <a:gd name="connsiteX338" fmla="*/ 9163311 w 11625583"/>
              <a:gd name="connsiteY338" fmla="*/ 5039729 h 6380470"/>
              <a:gd name="connsiteX339" fmla="*/ 9227977 w 11625583"/>
              <a:gd name="connsiteY339" fmla="*/ 4975063 h 6380470"/>
              <a:gd name="connsiteX340" fmla="*/ 7055523 w 11625583"/>
              <a:gd name="connsiteY340" fmla="*/ 4975063 h 6380470"/>
              <a:gd name="connsiteX341" fmla="*/ 7120189 w 11625583"/>
              <a:gd name="connsiteY341" fmla="*/ 5039729 h 6380470"/>
              <a:gd name="connsiteX342" fmla="*/ 7055523 w 11625583"/>
              <a:gd name="connsiteY342" fmla="*/ 5104395 h 6380470"/>
              <a:gd name="connsiteX343" fmla="*/ 6990857 w 11625583"/>
              <a:gd name="connsiteY343" fmla="*/ 5039729 h 6380470"/>
              <a:gd name="connsiteX344" fmla="*/ 7055523 w 11625583"/>
              <a:gd name="connsiteY344" fmla="*/ 4975063 h 6380470"/>
              <a:gd name="connsiteX345" fmla="*/ 6585804 w 11625583"/>
              <a:gd name="connsiteY345" fmla="*/ 4975063 h 6380470"/>
              <a:gd name="connsiteX346" fmla="*/ 6650470 w 11625583"/>
              <a:gd name="connsiteY346" fmla="*/ 5039729 h 6380470"/>
              <a:gd name="connsiteX347" fmla="*/ 6585804 w 11625583"/>
              <a:gd name="connsiteY347" fmla="*/ 5104395 h 6380470"/>
              <a:gd name="connsiteX348" fmla="*/ 6521138 w 11625583"/>
              <a:gd name="connsiteY348" fmla="*/ 5039729 h 6380470"/>
              <a:gd name="connsiteX349" fmla="*/ 6585804 w 11625583"/>
              <a:gd name="connsiteY349" fmla="*/ 4975063 h 6380470"/>
              <a:gd name="connsiteX350" fmla="*/ 6429231 w 11625583"/>
              <a:gd name="connsiteY350" fmla="*/ 4975063 h 6380470"/>
              <a:gd name="connsiteX351" fmla="*/ 6493897 w 11625583"/>
              <a:gd name="connsiteY351" fmla="*/ 5039729 h 6380470"/>
              <a:gd name="connsiteX352" fmla="*/ 6429231 w 11625583"/>
              <a:gd name="connsiteY352" fmla="*/ 5104395 h 6380470"/>
              <a:gd name="connsiteX353" fmla="*/ 6364565 w 11625583"/>
              <a:gd name="connsiteY353" fmla="*/ 5039729 h 6380470"/>
              <a:gd name="connsiteX354" fmla="*/ 6429231 w 11625583"/>
              <a:gd name="connsiteY354" fmla="*/ 4975063 h 6380470"/>
              <a:gd name="connsiteX355" fmla="*/ 6276572 w 11625583"/>
              <a:gd name="connsiteY355" fmla="*/ 4975063 h 6380470"/>
              <a:gd name="connsiteX356" fmla="*/ 6341238 w 11625583"/>
              <a:gd name="connsiteY356" fmla="*/ 5039729 h 6380470"/>
              <a:gd name="connsiteX357" fmla="*/ 6276572 w 11625583"/>
              <a:gd name="connsiteY357" fmla="*/ 5104395 h 6380470"/>
              <a:gd name="connsiteX358" fmla="*/ 6211906 w 11625583"/>
              <a:gd name="connsiteY358" fmla="*/ 5039729 h 6380470"/>
              <a:gd name="connsiteX359" fmla="*/ 6276572 w 11625583"/>
              <a:gd name="connsiteY359" fmla="*/ 4975063 h 6380470"/>
              <a:gd name="connsiteX360" fmla="*/ 6119999 w 11625583"/>
              <a:gd name="connsiteY360" fmla="*/ 4975063 h 6380470"/>
              <a:gd name="connsiteX361" fmla="*/ 6184665 w 11625583"/>
              <a:gd name="connsiteY361" fmla="*/ 5039729 h 6380470"/>
              <a:gd name="connsiteX362" fmla="*/ 6119999 w 11625583"/>
              <a:gd name="connsiteY362" fmla="*/ 5104395 h 6380470"/>
              <a:gd name="connsiteX363" fmla="*/ 6055333 w 11625583"/>
              <a:gd name="connsiteY363" fmla="*/ 5039729 h 6380470"/>
              <a:gd name="connsiteX364" fmla="*/ 6119999 w 11625583"/>
              <a:gd name="connsiteY364" fmla="*/ 4975063 h 6380470"/>
              <a:gd name="connsiteX365" fmla="*/ 5967339 w 11625583"/>
              <a:gd name="connsiteY365" fmla="*/ 4975063 h 6380470"/>
              <a:gd name="connsiteX366" fmla="*/ 6032005 w 11625583"/>
              <a:gd name="connsiteY366" fmla="*/ 5039729 h 6380470"/>
              <a:gd name="connsiteX367" fmla="*/ 5967339 w 11625583"/>
              <a:gd name="connsiteY367" fmla="*/ 5104395 h 6380470"/>
              <a:gd name="connsiteX368" fmla="*/ 5902673 w 11625583"/>
              <a:gd name="connsiteY368" fmla="*/ 5039729 h 6380470"/>
              <a:gd name="connsiteX369" fmla="*/ 5967339 w 11625583"/>
              <a:gd name="connsiteY369" fmla="*/ 4975063 h 6380470"/>
              <a:gd name="connsiteX370" fmla="*/ 3947550 w 11625583"/>
              <a:gd name="connsiteY370" fmla="*/ 4975063 h 6380470"/>
              <a:gd name="connsiteX371" fmla="*/ 4012217 w 11625583"/>
              <a:gd name="connsiteY371" fmla="*/ 5039729 h 6380470"/>
              <a:gd name="connsiteX372" fmla="*/ 3947550 w 11625583"/>
              <a:gd name="connsiteY372" fmla="*/ 5104395 h 6380470"/>
              <a:gd name="connsiteX373" fmla="*/ 3882891 w 11625583"/>
              <a:gd name="connsiteY373" fmla="*/ 5039729 h 6380470"/>
              <a:gd name="connsiteX374" fmla="*/ 3947550 w 11625583"/>
              <a:gd name="connsiteY374" fmla="*/ 4975063 h 6380470"/>
              <a:gd name="connsiteX375" fmla="*/ 3790982 w 11625583"/>
              <a:gd name="connsiteY375" fmla="*/ 4975063 h 6380470"/>
              <a:gd name="connsiteX376" fmla="*/ 3855648 w 11625583"/>
              <a:gd name="connsiteY376" fmla="*/ 5039729 h 6380470"/>
              <a:gd name="connsiteX377" fmla="*/ 3790982 w 11625583"/>
              <a:gd name="connsiteY377" fmla="*/ 5104395 h 6380470"/>
              <a:gd name="connsiteX378" fmla="*/ 3726315 w 11625583"/>
              <a:gd name="connsiteY378" fmla="*/ 5039729 h 6380470"/>
              <a:gd name="connsiteX379" fmla="*/ 3790982 w 11625583"/>
              <a:gd name="connsiteY379" fmla="*/ 4975063 h 6380470"/>
              <a:gd name="connsiteX380" fmla="*/ 3630497 w 11625583"/>
              <a:gd name="connsiteY380" fmla="*/ 4975063 h 6380470"/>
              <a:gd name="connsiteX381" fmla="*/ 3695163 w 11625583"/>
              <a:gd name="connsiteY381" fmla="*/ 5039729 h 6380470"/>
              <a:gd name="connsiteX382" fmla="*/ 3630497 w 11625583"/>
              <a:gd name="connsiteY382" fmla="*/ 5104395 h 6380470"/>
              <a:gd name="connsiteX383" fmla="*/ 3565829 w 11625583"/>
              <a:gd name="connsiteY383" fmla="*/ 5039729 h 6380470"/>
              <a:gd name="connsiteX384" fmla="*/ 3630497 w 11625583"/>
              <a:gd name="connsiteY384" fmla="*/ 4975063 h 6380470"/>
              <a:gd name="connsiteX385" fmla="*/ 3481751 w 11625583"/>
              <a:gd name="connsiteY385" fmla="*/ 4975063 h 6380470"/>
              <a:gd name="connsiteX386" fmla="*/ 3546417 w 11625583"/>
              <a:gd name="connsiteY386" fmla="*/ 5039729 h 6380470"/>
              <a:gd name="connsiteX387" fmla="*/ 3481751 w 11625583"/>
              <a:gd name="connsiteY387" fmla="*/ 5104395 h 6380470"/>
              <a:gd name="connsiteX388" fmla="*/ 3417085 w 11625583"/>
              <a:gd name="connsiteY388" fmla="*/ 5039729 h 6380470"/>
              <a:gd name="connsiteX389" fmla="*/ 3481751 w 11625583"/>
              <a:gd name="connsiteY389" fmla="*/ 4975063 h 6380470"/>
              <a:gd name="connsiteX390" fmla="*/ 3321267 w 11625583"/>
              <a:gd name="connsiteY390" fmla="*/ 4975063 h 6380470"/>
              <a:gd name="connsiteX391" fmla="*/ 3385932 w 11625583"/>
              <a:gd name="connsiteY391" fmla="*/ 5039729 h 6380470"/>
              <a:gd name="connsiteX392" fmla="*/ 3321267 w 11625583"/>
              <a:gd name="connsiteY392" fmla="*/ 5104395 h 6380470"/>
              <a:gd name="connsiteX393" fmla="*/ 3256602 w 11625583"/>
              <a:gd name="connsiteY393" fmla="*/ 5039729 h 6380470"/>
              <a:gd name="connsiteX394" fmla="*/ 3321267 w 11625583"/>
              <a:gd name="connsiteY394" fmla="*/ 4975063 h 6380470"/>
              <a:gd name="connsiteX395" fmla="*/ 3172521 w 11625583"/>
              <a:gd name="connsiteY395" fmla="*/ 4975063 h 6380470"/>
              <a:gd name="connsiteX396" fmla="*/ 3237188 w 11625583"/>
              <a:gd name="connsiteY396" fmla="*/ 5039729 h 6380470"/>
              <a:gd name="connsiteX397" fmla="*/ 3172521 w 11625583"/>
              <a:gd name="connsiteY397" fmla="*/ 5104395 h 6380470"/>
              <a:gd name="connsiteX398" fmla="*/ 3107854 w 11625583"/>
              <a:gd name="connsiteY398" fmla="*/ 5039729 h 6380470"/>
              <a:gd name="connsiteX399" fmla="*/ 3172521 w 11625583"/>
              <a:gd name="connsiteY399" fmla="*/ 4975063 h 6380470"/>
              <a:gd name="connsiteX400" fmla="*/ 9850358 w 11625583"/>
              <a:gd name="connsiteY400" fmla="*/ 4830235 h 6380470"/>
              <a:gd name="connsiteX401" fmla="*/ 9915024 w 11625583"/>
              <a:gd name="connsiteY401" fmla="*/ 4894901 h 6380470"/>
              <a:gd name="connsiteX402" fmla="*/ 9850358 w 11625583"/>
              <a:gd name="connsiteY402" fmla="*/ 4959567 h 6380470"/>
              <a:gd name="connsiteX403" fmla="*/ 9785692 w 11625583"/>
              <a:gd name="connsiteY403" fmla="*/ 4894901 h 6380470"/>
              <a:gd name="connsiteX404" fmla="*/ 9850358 w 11625583"/>
              <a:gd name="connsiteY404" fmla="*/ 4830235 h 6380470"/>
              <a:gd name="connsiteX405" fmla="*/ 6429231 w 11625583"/>
              <a:gd name="connsiteY405" fmla="*/ 4830235 h 6380470"/>
              <a:gd name="connsiteX406" fmla="*/ 6493897 w 11625583"/>
              <a:gd name="connsiteY406" fmla="*/ 4894901 h 6380470"/>
              <a:gd name="connsiteX407" fmla="*/ 6429231 w 11625583"/>
              <a:gd name="connsiteY407" fmla="*/ 4959567 h 6380470"/>
              <a:gd name="connsiteX408" fmla="*/ 6364565 w 11625583"/>
              <a:gd name="connsiteY408" fmla="*/ 4894901 h 6380470"/>
              <a:gd name="connsiteX409" fmla="*/ 6429231 w 11625583"/>
              <a:gd name="connsiteY409" fmla="*/ 4830235 h 6380470"/>
              <a:gd name="connsiteX410" fmla="*/ 6276571 w 11625583"/>
              <a:gd name="connsiteY410" fmla="*/ 4830235 h 6380470"/>
              <a:gd name="connsiteX411" fmla="*/ 6341237 w 11625583"/>
              <a:gd name="connsiteY411" fmla="*/ 4894901 h 6380470"/>
              <a:gd name="connsiteX412" fmla="*/ 6276571 w 11625583"/>
              <a:gd name="connsiteY412" fmla="*/ 4959567 h 6380470"/>
              <a:gd name="connsiteX413" fmla="*/ 6211905 w 11625583"/>
              <a:gd name="connsiteY413" fmla="*/ 4894901 h 6380470"/>
              <a:gd name="connsiteX414" fmla="*/ 6276571 w 11625583"/>
              <a:gd name="connsiteY414" fmla="*/ 4830235 h 6380470"/>
              <a:gd name="connsiteX415" fmla="*/ 5967339 w 11625583"/>
              <a:gd name="connsiteY415" fmla="*/ 4830235 h 6380470"/>
              <a:gd name="connsiteX416" fmla="*/ 6032005 w 11625583"/>
              <a:gd name="connsiteY416" fmla="*/ 4894901 h 6380470"/>
              <a:gd name="connsiteX417" fmla="*/ 5967339 w 11625583"/>
              <a:gd name="connsiteY417" fmla="*/ 4959567 h 6380470"/>
              <a:gd name="connsiteX418" fmla="*/ 5902673 w 11625583"/>
              <a:gd name="connsiteY418" fmla="*/ 4894901 h 6380470"/>
              <a:gd name="connsiteX419" fmla="*/ 5967339 w 11625583"/>
              <a:gd name="connsiteY419" fmla="*/ 4830235 h 6380470"/>
              <a:gd name="connsiteX420" fmla="*/ 3947550 w 11625583"/>
              <a:gd name="connsiteY420" fmla="*/ 4830235 h 6380470"/>
              <a:gd name="connsiteX421" fmla="*/ 4012217 w 11625583"/>
              <a:gd name="connsiteY421" fmla="*/ 4894901 h 6380470"/>
              <a:gd name="connsiteX422" fmla="*/ 3947550 w 11625583"/>
              <a:gd name="connsiteY422" fmla="*/ 4959567 h 6380470"/>
              <a:gd name="connsiteX423" fmla="*/ 3882895 w 11625583"/>
              <a:gd name="connsiteY423" fmla="*/ 4894901 h 6380470"/>
              <a:gd name="connsiteX424" fmla="*/ 3947550 w 11625583"/>
              <a:gd name="connsiteY424" fmla="*/ 4830235 h 6380470"/>
              <a:gd name="connsiteX425" fmla="*/ 3790985 w 11625583"/>
              <a:gd name="connsiteY425" fmla="*/ 4830235 h 6380470"/>
              <a:gd name="connsiteX426" fmla="*/ 3855652 w 11625583"/>
              <a:gd name="connsiteY426" fmla="*/ 4894901 h 6380470"/>
              <a:gd name="connsiteX427" fmla="*/ 3790985 w 11625583"/>
              <a:gd name="connsiteY427" fmla="*/ 4959567 h 6380470"/>
              <a:gd name="connsiteX428" fmla="*/ 3726319 w 11625583"/>
              <a:gd name="connsiteY428" fmla="*/ 4894901 h 6380470"/>
              <a:gd name="connsiteX429" fmla="*/ 3790985 w 11625583"/>
              <a:gd name="connsiteY429" fmla="*/ 4830235 h 6380470"/>
              <a:gd name="connsiteX430" fmla="*/ 3481754 w 11625583"/>
              <a:gd name="connsiteY430" fmla="*/ 4830235 h 6380470"/>
              <a:gd name="connsiteX431" fmla="*/ 3546420 w 11625583"/>
              <a:gd name="connsiteY431" fmla="*/ 4894901 h 6380470"/>
              <a:gd name="connsiteX432" fmla="*/ 3481754 w 11625583"/>
              <a:gd name="connsiteY432" fmla="*/ 4959567 h 6380470"/>
              <a:gd name="connsiteX433" fmla="*/ 3417090 w 11625583"/>
              <a:gd name="connsiteY433" fmla="*/ 4894901 h 6380470"/>
              <a:gd name="connsiteX434" fmla="*/ 3481754 w 11625583"/>
              <a:gd name="connsiteY434" fmla="*/ 4830235 h 6380470"/>
              <a:gd name="connsiteX435" fmla="*/ 10312248 w 11625583"/>
              <a:gd name="connsiteY435" fmla="*/ 4830234 h 6380470"/>
              <a:gd name="connsiteX436" fmla="*/ 10376914 w 11625583"/>
              <a:gd name="connsiteY436" fmla="*/ 4894900 h 6380470"/>
              <a:gd name="connsiteX437" fmla="*/ 10312248 w 11625583"/>
              <a:gd name="connsiteY437" fmla="*/ 4959566 h 6380470"/>
              <a:gd name="connsiteX438" fmla="*/ 10247582 w 11625583"/>
              <a:gd name="connsiteY438" fmla="*/ 4894900 h 6380470"/>
              <a:gd name="connsiteX439" fmla="*/ 10312248 w 11625583"/>
              <a:gd name="connsiteY439" fmla="*/ 4830234 h 6380470"/>
              <a:gd name="connsiteX440" fmla="*/ 10159588 w 11625583"/>
              <a:gd name="connsiteY440" fmla="*/ 4830234 h 6380470"/>
              <a:gd name="connsiteX441" fmla="*/ 10224254 w 11625583"/>
              <a:gd name="connsiteY441" fmla="*/ 4894900 h 6380470"/>
              <a:gd name="connsiteX442" fmla="*/ 10159588 w 11625583"/>
              <a:gd name="connsiteY442" fmla="*/ 4959566 h 6380470"/>
              <a:gd name="connsiteX443" fmla="*/ 10094922 w 11625583"/>
              <a:gd name="connsiteY443" fmla="*/ 4894900 h 6380470"/>
              <a:gd name="connsiteX444" fmla="*/ 10159588 w 11625583"/>
              <a:gd name="connsiteY444" fmla="*/ 4830234 h 6380470"/>
              <a:gd name="connsiteX445" fmla="*/ 10003016 w 11625583"/>
              <a:gd name="connsiteY445" fmla="*/ 4830234 h 6380470"/>
              <a:gd name="connsiteX446" fmla="*/ 10067682 w 11625583"/>
              <a:gd name="connsiteY446" fmla="*/ 4894900 h 6380470"/>
              <a:gd name="connsiteX447" fmla="*/ 10003016 w 11625583"/>
              <a:gd name="connsiteY447" fmla="*/ 4959566 h 6380470"/>
              <a:gd name="connsiteX448" fmla="*/ 9938350 w 11625583"/>
              <a:gd name="connsiteY448" fmla="*/ 4894900 h 6380470"/>
              <a:gd name="connsiteX449" fmla="*/ 10003016 w 11625583"/>
              <a:gd name="connsiteY449" fmla="*/ 4830234 h 6380470"/>
              <a:gd name="connsiteX450" fmla="*/ 9693783 w 11625583"/>
              <a:gd name="connsiteY450" fmla="*/ 4830234 h 6380470"/>
              <a:gd name="connsiteX451" fmla="*/ 9758449 w 11625583"/>
              <a:gd name="connsiteY451" fmla="*/ 4894900 h 6380470"/>
              <a:gd name="connsiteX452" fmla="*/ 9693783 w 11625583"/>
              <a:gd name="connsiteY452" fmla="*/ 4959566 h 6380470"/>
              <a:gd name="connsiteX453" fmla="*/ 9629117 w 11625583"/>
              <a:gd name="connsiteY453" fmla="*/ 4894900 h 6380470"/>
              <a:gd name="connsiteX454" fmla="*/ 9693783 w 11625583"/>
              <a:gd name="connsiteY454" fmla="*/ 4830234 h 6380470"/>
              <a:gd name="connsiteX455" fmla="*/ 9541123 w 11625583"/>
              <a:gd name="connsiteY455" fmla="*/ 4830234 h 6380470"/>
              <a:gd name="connsiteX456" fmla="*/ 9605789 w 11625583"/>
              <a:gd name="connsiteY456" fmla="*/ 4894900 h 6380470"/>
              <a:gd name="connsiteX457" fmla="*/ 9541123 w 11625583"/>
              <a:gd name="connsiteY457" fmla="*/ 4959566 h 6380470"/>
              <a:gd name="connsiteX458" fmla="*/ 9476457 w 11625583"/>
              <a:gd name="connsiteY458" fmla="*/ 4894900 h 6380470"/>
              <a:gd name="connsiteX459" fmla="*/ 9541123 w 11625583"/>
              <a:gd name="connsiteY459" fmla="*/ 4830234 h 6380470"/>
              <a:gd name="connsiteX460" fmla="*/ 9384550 w 11625583"/>
              <a:gd name="connsiteY460" fmla="*/ 4830234 h 6380470"/>
              <a:gd name="connsiteX461" fmla="*/ 9449216 w 11625583"/>
              <a:gd name="connsiteY461" fmla="*/ 4894900 h 6380470"/>
              <a:gd name="connsiteX462" fmla="*/ 9384550 w 11625583"/>
              <a:gd name="connsiteY462" fmla="*/ 4959566 h 6380470"/>
              <a:gd name="connsiteX463" fmla="*/ 9319884 w 11625583"/>
              <a:gd name="connsiteY463" fmla="*/ 4894900 h 6380470"/>
              <a:gd name="connsiteX464" fmla="*/ 9384550 w 11625583"/>
              <a:gd name="connsiteY464" fmla="*/ 4830234 h 6380470"/>
              <a:gd name="connsiteX465" fmla="*/ 7055523 w 11625583"/>
              <a:gd name="connsiteY465" fmla="*/ 4830234 h 6380470"/>
              <a:gd name="connsiteX466" fmla="*/ 7120189 w 11625583"/>
              <a:gd name="connsiteY466" fmla="*/ 4894900 h 6380470"/>
              <a:gd name="connsiteX467" fmla="*/ 7055523 w 11625583"/>
              <a:gd name="connsiteY467" fmla="*/ 4959566 h 6380470"/>
              <a:gd name="connsiteX468" fmla="*/ 6990857 w 11625583"/>
              <a:gd name="connsiteY468" fmla="*/ 4894900 h 6380470"/>
              <a:gd name="connsiteX469" fmla="*/ 7055523 w 11625583"/>
              <a:gd name="connsiteY469" fmla="*/ 4830234 h 6380470"/>
              <a:gd name="connsiteX470" fmla="*/ 6585804 w 11625583"/>
              <a:gd name="connsiteY470" fmla="*/ 4830234 h 6380470"/>
              <a:gd name="connsiteX471" fmla="*/ 6650470 w 11625583"/>
              <a:gd name="connsiteY471" fmla="*/ 4894900 h 6380470"/>
              <a:gd name="connsiteX472" fmla="*/ 6585804 w 11625583"/>
              <a:gd name="connsiteY472" fmla="*/ 4959566 h 6380470"/>
              <a:gd name="connsiteX473" fmla="*/ 6521138 w 11625583"/>
              <a:gd name="connsiteY473" fmla="*/ 4894900 h 6380470"/>
              <a:gd name="connsiteX474" fmla="*/ 6585804 w 11625583"/>
              <a:gd name="connsiteY474" fmla="*/ 4830234 h 6380470"/>
              <a:gd name="connsiteX475" fmla="*/ 6119999 w 11625583"/>
              <a:gd name="connsiteY475" fmla="*/ 4830234 h 6380470"/>
              <a:gd name="connsiteX476" fmla="*/ 6184665 w 11625583"/>
              <a:gd name="connsiteY476" fmla="*/ 4894900 h 6380470"/>
              <a:gd name="connsiteX477" fmla="*/ 6119999 w 11625583"/>
              <a:gd name="connsiteY477" fmla="*/ 4959566 h 6380470"/>
              <a:gd name="connsiteX478" fmla="*/ 6055333 w 11625583"/>
              <a:gd name="connsiteY478" fmla="*/ 4894900 h 6380470"/>
              <a:gd name="connsiteX479" fmla="*/ 6119999 w 11625583"/>
              <a:gd name="connsiteY479" fmla="*/ 4830234 h 6380470"/>
              <a:gd name="connsiteX480" fmla="*/ 4100209 w 11625583"/>
              <a:gd name="connsiteY480" fmla="*/ 4830234 h 6380470"/>
              <a:gd name="connsiteX481" fmla="*/ 4164876 w 11625583"/>
              <a:gd name="connsiteY481" fmla="*/ 4894900 h 6380470"/>
              <a:gd name="connsiteX482" fmla="*/ 4100209 w 11625583"/>
              <a:gd name="connsiteY482" fmla="*/ 4959566 h 6380470"/>
              <a:gd name="connsiteX483" fmla="*/ 4035544 w 11625583"/>
              <a:gd name="connsiteY483" fmla="*/ 4894900 h 6380470"/>
              <a:gd name="connsiteX484" fmla="*/ 4100209 w 11625583"/>
              <a:gd name="connsiteY484" fmla="*/ 4830234 h 6380470"/>
              <a:gd name="connsiteX485" fmla="*/ 3630500 w 11625583"/>
              <a:gd name="connsiteY485" fmla="*/ 4830234 h 6380470"/>
              <a:gd name="connsiteX486" fmla="*/ 3695166 w 11625583"/>
              <a:gd name="connsiteY486" fmla="*/ 4894900 h 6380470"/>
              <a:gd name="connsiteX487" fmla="*/ 3630500 w 11625583"/>
              <a:gd name="connsiteY487" fmla="*/ 4959566 h 6380470"/>
              <a:gd name="connsiteX488" fmla="*/ 3565834 w 11625583"/>
              <a:gd name="connsiteY488" fmla="*/ 4894900 h 6380470"/>
              <a:gd name="connsiteX489" fmla="*/ 3630500 w 11625583"/>
              <a:gd name="connsiteY489" fmla="*/ 4830234 h 6380470"/>
              <a:gd name="connsiteX490" fmla="*/ 3321271 w 11625583"/>
              <a:gd name="connsiteY490" fmla="*/ 4830234 h 6380470"/>
              <a:gd name="connsiteX491" fmla="*/ 3385935 w 11625583"/>
              <a:gd name="connsiteY491" fmla="*/ 4894900 h 6380470"/>
              <a:gd name="connsiteX492" fmla="*/ 3321271 w 11625583"/>
              <a:gd name="connsiteY492" fmla="*/ 4959566 h 6380470"/>
              <a:gd name="connsiteX493" fmla="*/ 3256604 w 11625583"/>
              <a:gd name="connsiteY493" fmla="*/ 4894900 h 6380470"/>
              <a:gd name="connsiteX494" fmla="*/ 3321271 w 11625583"/>
              <a:gd name="connsiteY494" fmla="*/ 4830234 h 6380470"/>
              <a:gd name="connsiteX495" fmla="*/ 10159588 w 11625583"/>
              <a:gd name="connsiteY495" fmla="*/ 4685405 h 6380470"/>
              <a:gd name="connsiteX496" fmla="*/ 10224254 w 11625583"/>
              <a:gd name="connsiteY496" fmla="*/ 4750071 h 6380470"/>
              <a:gd name="connsiteX497" fmla="*/ 10159588 w 11625583"/>
              <a:gd name="connsiteY497" fmla="*/ 4814737 h 6380470"/>
              <a:gd name="connsiteX498" fmla="*/ 10094922 w 11625583"/>
              <a:gd name="connsiteY498" fmla="*/ 4750071 h 6380470"/>
              <a:gd name="connsiteX499" fmla="*/ 10159588 w 11625583"/>
              <a:gd name="connsiteY499" fmla="*/ 4685405 h 6380470"/>
              <a:gd name="connsiteX500" fmla="*/ 10003016 w 11625583"/>
              <a:gd name="connsiteY500" fmla="*/ 4685405 h 6380470"/>
              <a:gd name="connsiteX501" fmla="*/ 10067682 w 11625583"/>
              <a:gd name="connsiteY501" fmla="*/ 4750071 h 6380470"/>
              <a:gd name="connsiteX502" fmla="*/ 10003016 w 11625583"/>
              <a:gd name="connsiteY502" fmla="*/ 4814737 h 6380470"/>
              <a:gd name="connsiteX503" fmla="*/ 9938350 w 11625583"/>
              <a:gd name="connsiteY503" fmla="*/ 4750071 h 6380470"/>
              <a:gd name="connsiteX504" fmla="*/ 10003016 w 11625583"/>
              <a:gd name="connsiteY504" fmla="*/ 4685405 h 6380470"/>
              <a:gd name="connsiteX505" fmla="*/ 9850358 w 11625583"/>
              <a:gd name="connsiteY505" fmla="*/ 4685405 h 6380470"/>
              <a:gd name="connsiteX506" fmla="*/ 9915024 w 11625583"/>
              <a:gd name="connsiteY506" fmla="*/ 4750071 h 6380470"/>
              <a:gd name="connsiteX507" fmla="*/ 9850358 w 11625583"/>
              <a:gd name="connsiteY507" fmla="*/ 4814737 h 6380470"/>
              <a:gd name="connsiteX508" fmla="*/ 9785692 w 11625583"/>
              <a:gd name="connsiteY508" fmla="*/ 4750071 h 6380470"/>
              <a:gd name="connsiteX509" fmla="*/ 9850358 w 11625583"/>
              <a:gd name="connsiteY509" fmla="*/ 4685405 h 6380470"/>
              <a:gd name="connsiteX510" fmla="*/ 9693783 w 11625583"/>
              <a:gd name="connsiteY510" fmla="*/ 4685405 h 6380470"/>
              <a:gd name="connsiteX511" fmla="*/ 9758449 w 11625583"/>
              <a:gd name="connsiteY511" fmla="*/ 4750071 h 6380470"/>
              <a:gd name="connsiteX512" fmla="*/ 9693783 w 11625583"/>
              <a:gd name="connsiteY512" fmla="*/ 4814737 h 6380470"/>
              <a:gd name="connsiteX513" fmla="*/ 9629117 w 11625583"/>
              <a:gd name="connsiteY513" fmla="*/ 4750071 h 6380470"/>
              <a:gd name="connsiteX514" fmla="*/ 9693783 w 11625583"/>
              <a:gd name="connsiteY514" fmla="*/ 4685405 h 6380470"/>
              <a:gd name="connsiteX515" fmla="*/ 9541123 w 11625583"/>
              <a:gd name="connsiteY515" fmla="*/ 4685405 h 6380470"/>
              <a:gd name="connsiteX516" fmla="*/ 9605789 w 11625583"/>
              <a:gd name="connsiteY516" fmla="*/ 4750071 h 6380470"/>
              <a:gd name="connsiteX517" fmla="*/ 9541123 w 11625583"/>
              <a:gd name="connsiteY517" fmla="*/ 4814737 h 6380470"/>
              <a:gd name="connsiteX518" fmla="*/ 9476457 w 11625583"/>
              <a:gd name="connsiteY518" fmla="*/ 4750071 h 6380470"/>
              <a:gd name="connsiteX519" fmla="*/ 9541123 w 11625583"/>
              <a:gd name="connsiteY519" fmla="*/ 4685405 h 6380470"/>
              <a:gd name="connsiteX520" fmla="*/ 7055523 w 11625583"/>
              <a:gd name="connsiteY520" fmla="*/ 4685405 h 6380470"/>
              <a:gd name="connsiteX521" fmla="*/ 7120189 w 11625583"/>
              <a:gd name="connsiteY521" fmla="*/ 4750071 h 6380470"/>
              <a:gd name="connsiteX522" fmla="*/ 7055523 w 11625583"/>
              <a:gd name="connsiteY522" fmla="*/ 4814737 h 6380470"/>
              <a:gd name="connsiteX523" fmla="*/ 6990857 w 11625583"/>
              <a:gd name="connsiteY523" fmla="*/ 4750071 h 6380470"/>
              <a:gd name="connsiteX524" fmla="*/ 7055523 w 11625583"/>
              <a:gd name="connsiteY524" fmla="*/ 4685405 h 6380470"/>
              <a:gd name="connsiteX525" fmla="*/ 6742377 w 11625583"/>
              <a:gd name="connsiteY525" fmla="*/ 4685405 h 6380470"/>
              <a:gd name="connsiteX526" fmla="*/ 6807043 w 11625583"/>
              <a:gd name="connsiteY526" fmla="*/ 4750071 h 6380470"/>
              <a:gd name="connsiteX527" fmla="*/ 6742377 w 11625583"/>
              <a:gd name="connsiteY527" fmla="*/ 4814737 h 6380470"/>
              <a:gd name="connsiteX528" fmla="*/ 6677711 w 11625583"/>
              <a:gd name="connsiteY528" fmla="*/ 4750071 h 6380470"/>
              <a:gd name="connsiteX529" fmla="*/ 6742377 w 11625583"/>
              <a:gd name="connsiteY529" fmla="*/ 4685405 h 6380470"/>
              <a:gd name="connsiteX530" fmla="*/ 6585804 w 11625583"/>
              <a:gd name="connsiteY530" fmla="*/ 4685405 h 6380470"/>
              <a:gd name="connsiteX531" fmla="*/ 6650470 w 11625583"/>
              <a:gd name="connsiteY531" fmla="*/ 4750071 h 6380470"/>
              <a:gd name="connsiteX532" fmla="*/ 6585804 w 11625583"/>
              <a:gd name="connsiteY532" fmla="*/ 4814737 h 6380470"/>
              <a:gd name="connsiteX533" fmla="*/ 6521138 w 11625583"/>
              <a:gd name="connsiteY533" fmla="*/ 4750071 h 6380470"/>
              <a:gd name="connsiteX534" fmla="*/ 6585804 w 11625583"/>
              <a:gd name="connsiteY534" fmla="*/ 4685405 h 6380470"/>
              <a:gd name="connsiteX535" fmla="*/ 6429231 w 11625583"/>
              <a:gd name="connsiteY535" fmla="*/ 4685405 h 6380470"/>
              <a:gd name="connsiteX536" fmla="*/ 6493897 w 11625583"/>
              <a:gd name="connsiteY536" fmla="*/ 4750071 h 6380470"/>
              <a:gd name="connsiteX537" fmla="*/ 6429231 w 11625583"/>
              <a:gd name="connsiteY537" fmla="*/ 4814737 h 6380470"/>
              <a:gd name="connsiteX538" fmla="*/ 6364565 w 11625583"/>
              <a:gd name="connsiteY538" fmla="*/ 4750071 h 6380470"/>
              <a:gd name="connsiteX539" fmla="*/ 6429231 w 11625583"/>
              <a:gd name="connsiteY539" fmla="*/ 4685405 h 6380470"/>
              <a:gd name="connsiteX540" fmla="*/ 6276571 w 11625583"/>
              <a:gd name="connsiteY540" fmla="*/ 4685405 h 6380470"/>
              <a:gd name="connsiteX541" fmla="*/ 6341237 w 11625583"/>
              <a:gd name="connsiteY541" fmla="*/ 4750071 h 6380470"/>
              <a:gd name="connsiteX542" fmla="*/ 6276571 w 11625583"/>
              <a:gd name="connsiteY542" fmla="*/ 4814737 h 6380470"/>
              <a:gd name="connsiteX543" fmla="*/ 6211905 w 11625583"/>
              <a:gd name="connsiteY543" fmla="*/ 4750071 h 6380470"/>
              <a:gd name="connsiteX544" fmla="*/ 6276571 w 11625583"/>
              <a:gd name="connsiteY544" fmla="*/ 4685405 h 6380470"/>
              <a:gd name="connsiteX545" fmla="*/ 6119999 w 11625583"/>
              <a:gd name="connsiteY545" fmla="*/ 4685405 h 6380470"/>
              <a:gd name="connsiteX546" fmla="*/ 6184665 w 11625583"/>
              <a:gd name="connsiteY546" fmla="*/ 4750071 h 6380470"/>
              <a:gd name="connsiteX547" fmla="*/ 6119999 w 11625583"/>
              <a:gd name="connsiteY547" fmla="*/ 4814737 h 6380470"/>
              <a:gd name="connsiteX548" fmla="*/ 6055333 w 11625583"/>
              <a:gd name="connsiteY548" fmla="*/ 4750071 h 6380470"/>
              <a:gd name="connsiteX549" fmla="*/ 6119999 w 11625583"/>
              <a:gd name="connsiteY549" fmla="*/ 4685405 h 6380470"/>
              <a:gd name="connsiteX550" fmla="*/ 5967339 w 11625583"/>
              <a:gd name="connsiteY550" fmla="*/ 4685405 h 6380470"/>
              <a:gd name="connsiteX551" fmla="*/ 6032005 w 11625583"/>
              <a:gd name="connsiteY551" fmla="*/ 4750071 h 6380470"/>
              <a:gd name="connsiteX552" fmla="*/ 5967339 w 11625583"/>
              <a:gd name="connsiteY552" fmla="*/ 4814737 h 6380470"/>
              <a:gd name="connsiteX553" fmla="*/ 5902673 w 11625583"/>
              <a:gd name="connsiteY553" fmla="*/ 4750071 h 6380470"/>
              <a:gd name="connsiteX554" fmla="*/ 5967339 w 11625583"/>
              <a:gd name="connsiteY554" fmla="*/ 4685405 h 6380470"/>
              <a:gd name="connsiteX555" fmla="*/ 4100211 w 11625583"/>
              <a:gd name="connsiteY555" fmla="*/ 4685405 h 6380470"/>
              <a:gd name="connsiteX556" fmla="*/ 4164876 w 11625583"/>
              <a:gd name="connsiteY556" fmla="*/ 4750071 h 6380470"/>
              <a:gd name="connsiteX557" fmla="*/ 4100211 w 11625583"/>
              <a:gd name="connsiteY557" fmla="*/ 4814737 h 6380470"/>
              <a:gd name="connsiteX558" fmla="*/ 4035544 w 11625583"/>
              <a:gd name="connsiteY558" fmla="*/ 4750071 h 6380470"/>
              <a:gd name="connsiteX559" fmla="*/ 4100211 w 11625583"/>
              <a:gd name="connsiteY559" fmla="*/ 4685405 h 6380470"/>
              <a:gd name="connsiteX560" fmla="*/ 3947550 w 11625583"/>
              <a:gd name="connsiteY560" fmla="*/ 4685405 h 6380470"/>
              <a:gd name="connsiteX561" fmla="*/ 4012217 w 11625583"/>
              <a:gd name="connsiteY561" fmla="*/ 4750071 h 6380470"/>
              <a:gd name="connsiteX562" fmla="*/ 3947550 w 11625583"/>
              <a:gd name="connsiteY562" fmla="*/ 4814737 h 6380470"/>
              <a:gd name="connsiteX563" fmla="*/ 3882897 w 11625583"/>
              <a:gd name="connsiteY563" fmla="*/ 4750071 h 6380470"/>
              <a:gd name="connsiteX564" fmla="*/ 3947550 w 11625583"/>
              <a:gd name="connsiteY564" fmla="*/ 4685405 h 6380470"/>
              <a:gd name="connsiteX565" fmla="*/ 3790989 w 11625583"/>
              <a:gd name="connsiteY565" fmla="*/ 4685405 h 6380470"/>
              <a:gd name="connsiteX566" fmla="*/ 3855655 w 11625583"/>
              <a:gd name="connsiteY566" fmla="*/ 4750071 h 6380470"/>
              <a:gd name="connsiteX567" fmla="*/ 3790989 w 11625583"/>
              <a:gd name="connsiteY567" fmla="*/ 4814737 h 6380470"/>
              <a:gd name="connsiteX568" fmla="*/ 3726321 w 11625583"/>
              <a:gd name="connsiteY568" fmla="*/ 4750071 h 6380470"/>
              <a:gd name="connsiteX569" fmla="*/ 3790989 w 11625583"/>
              <a:gd name="connsiteY569" fmla="*/ 4685405 h 6380470"/>
              <a:gd name="connsiteX570" fmla="*/ 3630503 w 11625583"/>
              <a:gd name="connsiteY570" fmla="*/ 4685405 h 6380470"/>
              <a:gd name="connsiteX571" fmla="*/ 3695169 w 11625583"/>
              <a:gd name="connsiteY571" fmla="*/ 4750071 h 6380470"/>
              <a:gd name="connsiteX572" fmla="*/ 3630503 w 11625583"/>
              <a:gd name="connsiteY572" fmla="*/ 4814737 h 6380470"/>
              <a:gd name="connsiteX573" fmla="*/ 3565836 w 11625583"/>
              <a:gd name="connsiteY573" fmla="*/ 4750071 h 6380470"/>
              <a:gd name="connsiteX574" fmla="*/ 3630503 w 11625583"/>
              <a:gd name="connsiteY574" fmla="*/ 4685405 h 6380470"/>
              <a:gd name="connsiteX575" fmla="*/ 3481758 w 11625583"/>
              <a:gd name="connsiteY575" fmla="*/ 4685405 h 6380470"/>
              <a:gd name="connsiteX576" fmla="*/ 3546424 w 11625583"/>
              <a:gd name="connsiteY576" fmla="*/ 4750071 h 6380470"/>
              <a:gd name="connsiteX577" fmla="*/ 3481758 w 11625583"/>
              <a:gd name="connsiteY577" fmla="*/ 4814737 h 6380470"/>
              <a:gd name="connsiteX578" fmla="*/ 3417092 w 11625583"/>
              <a:gd name="connsiteY578" fmla="*/ 4750071 h 6380470"/>
              <a:gd name="connsiteX579" fmla="*/ 3481758 w 11625583"/>
              <a:gd name="connsiteY579" fmla="*/ 4685405 h 6380470"/>
              <a:gd name="connsiteX580" fmla="*/ 3321273 w 11625583"/>
              <a:gd name="connsiteY580" fmla="*/ 4685405 h 6380470"/>
              <a:gd name="connsiteX581" fmla="*/ 3385938 w 11625583"/>
              <a:gd name="connsiteY581" fmla="*/ 4750071 h 6380470"/>
              <a:gd name="connsiteX582" fmla="*/ 3321273 w 11625583"/>
              <a:gd name="connsiteY582" fmla="*/ 4814737 h 6380470"/>
              <a:gd name="connsiteX583" fmla="*/ 3256607 w 11625583"/>
              <a:gd name="connsiteY583" fmla="*/ 4750071 h 6380470"/>
              <a:gd name="connsiteX584" fmla="*/ 3321273 w 11625583"/>
              <a:gd name="connsiteY584" fmla="*/ 4685405 h 6380470"/>
              <a:gd name="connsiteX585" fmla="*/ 10159588 w 11625583"/>
              <a:gd name="connsiteY585" fmla="*/ 4536658 h 6380470"/>
              <a:gd name="connsiteX586" fmla="*/ 10224254 w 11625583"/>
              <a:gd name="connsiteY586" fmla="*/ 4601324 h 6380470"/>
              <a:gd name="connsiteX587" fmla="*/ 10159588 w 11625583"/>
              <a:gd name="connsiteY587" fmla="*/ 4665990 h 6380470"/>
              <a:gd name="connsiteX588" fmla="*/ 10094922 w 11625583"/>
              <a:gd name="connsiteY588" fmla="*/ 4601324 h 6380470"/>
              <a:gd name="connsiteX589" fmla="*/ 10159588 w 11625583"/>
              <a:gd name="connsiteY589" fmla="*/ 4536658 h 6380470"/>
              <a:gd name="connsiteX590" fmla="*/ 9693783 w 11625583"/>
              <a:gd name="connsiteY590" fmla="*/ 4536658 h 6380470"/>
              <a:gd name="connsiteX591" fmla="*/ 9758449 w 11625583"/>
              <a:gd name="connsiteY591" fmla="*/ 4601324 h 6380470"/>
              <a:gd name="connsiteX592" fmla="*/ 9693783 w 11625583"/>
              <a:gd name="connsiteY592" fmla="*/ 4665990 h 6380470"/>
              <a:gd name="connsiteX593" fmla="*/ 9629117 w 11625583"/>
              <a:gd name="connsiteY593" fmla="*/ 4601324 h 6380470"/>
              <a:gd name="connsiteX594" fmla="*/ 9693783 w 11625583"/>
              <a:gd name="connsiteY594" fmla="*/ 4536658 h 6380470"/>
              <a:gd name="connsiteX595" fmla="*/ 7055523 w 11625583"/>
              <a:gd name="connsiteY595" fmla="*/ 4536658 h 6380470"/>
              <a:gd name="connsiteX596" fmla="*/ 7120189 w 11625583"/>
              <a:gd name="connsiteY596" fmla="*/ 4601324 h 6380470"/>
              <a:gd name="connsiteX597" fmla="*/ 7055523 w 11625583"/>
              <a:gd name="connsiteY597" fmla="*/ 4665990 h 6380470"/>
              <a:gd name="connsiteX598" fmla="*/ 6990857 w 11625583"/>
              <a:gd name="connsiteY598" fmla="*/ 4601324 h 6380470"/>
              <a:gd name="connsiteX599" fmla="*/ 7055523 w 11625583"/>
              <a:gd name="connsiteY599" fmla="*/ 4536658 h 6380470"/>
              <a:gd name="connsiteX600" fmla="*/ 9850358 w 11625583"/>
              <a:gd name="connsiteY600" fmla="*/ 4407486 h 6380470"/>
              <a:gd name="connsiteX601" fmla="*/ 9915024 w 11625583"/>
              <a:gd name="connsiteY601" fmla="*/ 4472152 h 6380470"/>
              <a:gd name="connsiteX602" fmla="*/ 9875529 w 11625583"/>
              <a:gd name="connsiteY602" fmla="*/ 4531736 h 6380470"/>
              <a:gd name="connsiteX603" fmla="*/ 9850754 w 11625583"/>
              <a:gd name="connsiteY603" fmla="*/ 4536738 h 6380470"/>
              <a:gd name="connsiteX604" fmla="*/ 9875529 w 11625583"/>
              <a:gd name="connsiteY604" fmla="*/ 4541740 h 6380470"/>
              <a:gd name="connsiteX605" fmla="*/ 9915024 w 11625583"/>
              <a:gd name="connsiteY605" fmla="*/ 4601324 h 6380470"/>
              <a:gd name="connsiteX606" fmla="*/ 9850358 w 11625583"/>
              <a:gd name="connsiteY606" fmla="*/ 4665990 h 6380470"/>
              <a:gd name="connsiteX607" fmla="*/ 9785692 w 11625583"/>
              <a:gd name="connsiteY607" fmla="*/ 4601324 h 6380470"/>
              <a:gd name="connsiteX608" fmla="*/ 9825187 w 11625583"/>
              <a:gd name="connsiteY608" fmla="*/ 4541740 h 6380470"/>
              <a:gd name="connsiteX609" fmla="*/ 9849962 w 11625583"/>
              <a:gd name="connsiteY609" fmla="*/ 4536738 h 6380470"/>
              <a:gd name="connsiteX610" fmla="*/ 9825187 w 11625583"/>
              <a:gd name="connsiteY610" fmla="*/ 4531736 h 6380470"/>
              <a:gd name="connsiteX611" fmla="*/ 9785692 w 11625583"/>
              <a:gd name="connsiteY611" fmla="*/ 4472152 h 6380470"/>
              <a:gd name="connsiteX612" fmla="*/ 9850358 w 11625583"/>
              <a:gd name="connsiteY612" fmla="*/ 4407486 h 6380470"/>
              <a:gd name="connsiteX613" fmla="*/ 6742377 w 11625583"/>
              <a:gd name="connsiteY613" fmla="*/ 4407486 h 6380470"/>
              <a:gd name="connsiteX614" fmla="*/ 6807043 w 11625583"/>
              <a:gd name="connsiteY614" fmla="*/ 4472152 h 6380470"/>
              <a:gd name="connsiteX615" fmla="*/ 6767548 w 11625583"/>
              <a:gd name="connsiteY615" fmla="*/ 4531736 h 6380470"/>
              <a:gd name="connsiteX616" fmla="*/ 6742773 w 11625583"/>
              <a:gd name="connsiteY616" fmla="*/ 4536738 h 6380470"/>
              <a:gd name="connsiteX617" fmla="*/ 6767548 w 11625583"/>
              <a:gd name="connsiteY617" fmla="*/ 4541740 h 6380470"/>
              <a:gd name="connsiteX618" fmla="*/ 6807043 w 11625583"/>
              <a:gd name="connsiteY618" fmla="*/ 4601324 h 6380470"/>
              <a:gd name="connsiteX619" fmla="*/ 6742377 w 11625583"/>
              <a:gd name="connsiteY619" fmla="*/ 4665990 h 6380470"/>
              <a:gd name="connsiteX620" fmla="*/ 6677711 w 11625583"/>
              <a:gd name="connsiteY620" fmla="*/ 4601324 h 6380470"/>
              <a:gd name="connsiteX621" fmla="*/ 6717206 w 11625583"/>
              <a:gd name="connsiteY621" fmla="*/ 4541740 h 6380470"/>
              <a:gd name="connsiteX622" fmla="*/ 6741981 w 11625583"/>
              <a:gd name="connsiteY622" fmla="*/ 4536738 h 6380470"/>
              <a:gd name="connsiteX623" fmla="*/ 6717206 w 11625583"/>
              <a:gd name="connsiteY623" fmla="*/ 4531736 h 6380470"/>
              <a:gd name="connsiteX624" fmla="*/ 6677711 w 11625583"/>
              <a:gd name="connsiteY624" fmla="*/ 4472152 h 6380470"/>
              <a:gd name="connsiteX625" fmla="*/ 6742377 w 11625583"/>
              <a:gd name="connsiteY625" fmla="*/ 4407486 h 6380470"/>
              <a:gd name="connsiteX626" fmla="*/ 6429231 w 11625583"/>
              <a:gd name="connsiteY626" fmla="*/ 4407486 h 6380470"/>
              <a:gd name="connsiteX627" fmla="*/ 6493897 w 11625583"/>
              <a:gd name="connsiteY627" fmla="*/ 4472152 h 6380470"/>
              <a:gd name="connsiteX628" fmla="*/ 6454402 w 11625583"/>
              <a:gd name="connsiteY628" fmla="*/ 4531736 h 6380470"/>
              <a:gd name="connsiteX629" fmla="*/ 6429628 w 11625583"/>
              <a:gd name="connsiteY629" fmla="*/ 4536738 h 6380470"/>
              <a:gd name="connsiteX630" fmla="*/ 6454402 w 11625583"/>
              <a:gd name="connsiteY630" fmla="*/ 4541740 h 6380470"/>
              <a:gd name="connsiteX631" fmla="*/ 6493897 w 11625583"/>
              <a:gd name="connsiteY631" fmla="*/ 4601324 h 6380470"/>
              <a:gd name="connsiteX632" fmla="*/ 6429231 w 11625583"/>
              <a:gd name="connsiteY632" fmla="*/ 4665990 h 6380470"/>
              <a:gd name="connsiteX633" fmla="*/ 6364565 w 11625583"/>
              <a:gd name="connsiteY633" fmla="*/ 4601324 h 6380470"/>
              <a:gd name="connsiteX634" fmla="*/ 6404060 w 11625583"/>
              <a:gd name="connsiteY634" fmla="*/ 4541740 h 6380470"/>
              <a:gd name="connsiteX635" fmla="*/ 6428835 w 11625583"/>
              <a:gd name="connsiteY635" fmla="*/ 4536738 h 6380470"/>
              <a:gd name="connsiteX636" fmla="*/ 6404060 w 11625583"/>
              <a:gd name="connsiteY636" fmla="*/ 4531736 h 6380470"/>
              <a:gd name="connsiteX637" fmla="*/ 6364565 w 11625583"/>
              <a:gd name="connsiteY637" fmla="*/ 4472152 h 6380470"/>
              <a:gd name="connsiteX638" fmla="*/ 6429231 w 11625583"/>
              <a:gd name="connsiteY638" fmla="*/ 4407486 h 6380470"/>
              <a:gd name="connsiteX639" fmla="*/ 6276571 w 11625583"/>
              <a:gd name="connsiteY639" fmla="*/ 4407486 h 6380470"/>
              <a:gd name="connsiteX640" fmla="*/ 6341237 w 11625583"/>
              <a:gd name="connsiteY640" fmla="*/ 4472152 h 6380470"/>
              <a:gd name="connsiteX641" fmla="*/ 6301742 w 11625583"/>
              <a:gd name="connsiteY641" fmla="*/ 4531736 h 6380470"/>
              <a:gd name="connsiteX642" fmla="*/ 6276968 w 11625583"/>
              <a:gd name="connsiteY642" fmla="*/ 4536738 h 6380470"/>
              <a:gd name="connsiteX643" fmla="*/ 6301742 w 11625583"/>
              <a:gd name="connsiteY643" fmla="*/ 4541740 h 6380470"/>
              <a:gd name="connsiteX644" fmla="*/ 6341237 w 11625583"/>
              <a:gd name="connsiteY644" fmla="*/ 4601324 h 6380470"/>
              <a:gd name="connsiteX645" fmla="*/ 6276571 w 11625583"/>
              <a:gd name="connsiteY645" fmla="*/ 4665990 h 6380470"/>
              <a:gd name="connsiteX646" fmla="*/ 6211905 w 11625583"/>
              <a:gd name="connsiteY646" fmla="*/ 4601324 h 6380470"/>
              <a:gd name="connsiteX647" fmla="*/ 6251400 w 11625583"/>
              <a:gd name="connsiteY647" fmla="*/ 4541740 h 6380470"/>
              <a:gd name="connsiteX648" fmla="*/ 6276175 w 11625583"/>
              <a:gd name="connsiteY648" fmla="*/ 4536738 h 6380470"/>
              <a:gd name="connsiteX649" fmla="*/ 6251400 w 11625583"/>
              <a:gd name="connsiteY649" fmla="*/ 4531736 h 6380470"/>
              <a:gd name="connsiteX650" fmla="*/ 6211905 w 11625583"/>
              <a:gd name="connsiteY650" fmla="*/ 4472152 h 6380470"/>
              <a:gd name="connsiteX651" fmla="*/ 6276571 w 11625583"/>
              <a:gd name="connsiteY651" fmla="*/ 4407486 h 6380470"/>
              <a:gd name="connsiteX652" fmla="*/ 5967339 w 11625583"/>
              <a:gd name="connsiteY652" fmla="*/ 4407486 h 6380470"/>
              <a:gd name="connsiteX653" fmla="*/ 6032005 w 11625583"/>
              <a:gd name="connsiteY653" fmla="*/ 4472152 h 6380470"/>
              <a:gd name="connsiteX654" fmla="*/ 5992510 w 11625583"/>
              <a:gd name="connsiteY654" fmla="*/ 4531736 h 6380470"/>
              <a:gd name="connsiteX655" fmla="*/ 5967736 w 11625583"/>
              <a:gd name="connsiteY655" fmla="*/ 4536738 h 6380470"/>
              <a:gd name="connsiteX656" fmla="*/ 5992510 w 11625583"/>
              <a:gd name="connsiteY656" fmla="*/ 4541740 h 6380470"/>
              <a:gd name="connsiteX657" fmla="*/ 6032005 w 11625583"/>
              <a:gd name="connsiteY657" fmla="*/ 4601324 h 6380470"/>
              <a:gd name="connsiteX658" fmla="*/ 5967339 w 11625583"/>
              <a:gd name="connsiteY658" fmla="*/ 4665990 h 6380470"/>
              <a:gd name="connsiteX659" fmla="*/ 5902673 w 11625583"/>
              <a:gd name="connsiteY659" fmla="*/ 4601324 h 6380470"/>
              <a:gd name="connsiteX660" fmla="*/ 5942168 w 11625583"/>
              <a:gd name="connsiteY660" fmla="*/ 4541740 h 6380470"/>
              <a:gd name="connsiteX661" fmla="*/ 5966943 w 11625583"/>
              <a:gd name="connsiteY661" fmla="*/ 4536738 h 6380470"/>
              <a:gd name="connsiteX662" fmla="*/ 5942168 w 11625583"/>
              <a:gd name="connsiteY662" fmla="*/ 4531736 h 6380470"/>
              <a:gd name="connsiteX663" fmla="*/ 5902673 w 11625583"/>
              <a:gd name="connsiteY663" fmla="*/ 4472152 h 6380470"/>
              <a:gd name="connsiteX664" fmla="*/ 5967339 w 11625583"/>
              <a:gd name="connsiteY664" fmla="*/ 4407486 h 6380470"/>
              <a:gd name="connsiteX665" fmla="*/ 4256781 w 11625583"/>
              <a:gd name="connsiteY665" fmla="*/ 4407486 h 6380470"/>
              <a:gd name="connsiteX666" fmla="*/ 4321448 w 11625583"/>
              <a:gd name="connsiteY666" fmla="*/ 4472152 h 6380470"/>
              <a:gd name="connsiteX667" fmla="*/ 4256781 w 11625583"/>
              <a:gd name="connsiteY667" fmla="*/ 4536818 h 6380470"/>
              <a:gd name="connsiteX668" fmla="*/ 4192113 w 11625583"/>
              <a:gd name="connsiteY668" fmla="*/ 4472152 h 6380470"/>
              <a:gd name="connsiteX669" fmla="*/ 4256781 w 11625583"/>
              <a:gd name="connsiteY669" fmla="*/ 4407486 h 6380470"/>
              <a:gd name="connsiteX670" fmla="*/ 3947550 w 11625583"/>
              <a:gd name="connsiteY670" fmla="*/ 4407486 h 6380470"/>
              <a:gd name="connsiteX671" fmla="*/ 4012217 w 11625583"/>
              <a:gd name="connsiteY671" fmla="*/ 4472152 h 6380470"/>
              <a:gd name="connsiteX672" fmla="*/ 3972723 w 11625583"/>
              <a:gd name="connsiteY672" fmla="*/ 4531736 h 6380470"/>
              <a:gd name="connsiteX673" fmla="*/ 3947944 w 11625583"/>
              <a:gd name="connsiteY673" fmla="*/ 4536738 h 6380470"/>
              <a:gd name="connsiteX674" fmla="*/ 3972720 w 11625583"/>
              <a:gd name="connsiteY674" fmla="*/ 4541740 h 6380470"/>
              <a:gd name="connsiteX675" fmla="*/ 4012217 w 11625583"/>
              <a:gd name="connsiteY675" fmla="*/ 4601324 h 6380470"/>
              <a:gd name="connsiteX676" fmla="*/ 3947550 w 11625583"/>
              <a:gd name="connsiteY676" fmla="*/ 4665990 h 6380470"/>
              <a:gd name="connsiteX677" fmla="*/ 3882901 w 11625583"/>
              <a:gd name="connsiteY677" fmla="*/ 4601324 h 6380470"/>
              <a:gd name="connsiteX678" fmla="*/ 3922395 w 11625583"/>
              <a:gd name="connsiteY678" fmla="*/ 4541740 h 6380470"/>
              <a:gd name="connsiteX679" fmla="*/ 3947151 w 11625583"/>
              <a:gd name="connsiteY679" fmla="*/ 4536738 h 6380470"/>
              <a:gd name="connsiteX680" fmla="*/ 3922397 w 11625583"/>
              <a:gd name="connsiteY680" fmla="*/ 4531736 h 6380470"/>
              <a:gd name="connsiteX681" fmla="*/ 3882903 w 11625583"/>
              <a:gd name="connsiteY681" fmla="*/ 4472152 h 6380470"/>
              <a:gd name="connsiteX682" fmla="*/ 3947550 w 11625583"/>
              <a:gd name="connsiteY682" fmla="*/ 4407486 h 6380470"/>
              <a:gd name="connsiteX683" fmla="*/ 3790995 w 11625583"/>
              <a:gd name="connsiteY683" fmla="*/ 4407486 h 6380470"/>
              <a:gd name="connsiteX684" fmla="*/ 3855661 w 11625583"/>
              <a:gd name="connsiteY684" fmla="*/ 4472152 h 6380470"/>
              <a:gd name="connsiteX685" fmla="*/ 3816166 w 11625583"/>
              <a:gd name="connsiteY685" fmla="*/ 4531736 h 6380470"/>
              <a:gd name="connsiteX686" fmla="*/ 3791389 w 11625583"/>
              <a:gd name="connsiteY686" fmla="*/ 4536739 h 6380470"/>
              <a:gd name="connsiteX687" fmla="*/ 3816163 w 11625583"/>
              <a:gd name="connsiteY687" fmla="*/ 4541740 h 6380470"/>
              <a:gd name="connsiteX688" fmla="*/ 3855657 w 11625583"/>
              <a:gd name="connsiteY688" fmla="*/ 4601324 h 6380470"/>
              <a:gd name="connsiteX689" fmla="*/ 3790992 w 11625583"/>
              <a:gd name="connsiteY689" fmla="*/ 4665990 h 6380470"/>
              <a:gd name="connsiteX690" fmla="*/ 3726324 w 11625583"/>
              <a:gd name="connsiteY690" fmla="*/ 4601324 h 6380470"/>
              <a:gd name="connsiteX691" fmla="*/ 3765820 w 11625583"/>
              <a:gd name="connsiteY691" fmla="*/ 4541740 h 6380470"/>
              <a:gd name="connsiteX692" fmla="*/ 3790597 w 11625583"/>
              <a:gd name="connsiteY692" fmla="*/ 4536738 h 6380470"/>
              <a:gd name="connsiteX693" fmla="*/ 3765822 w 11625583"/>
              <a:gd name="connsiteY693" fmla="*/ 4531736 h 6380470"/>
              <a:gd name="connsiteX694" fmla="*/ 3726327 w 11625583"/>
              <a:gd name="connsiteY694" fmla="*/ 4472152 h 6380470"/>
              <a:gd name="connsiteX695" fmla="*/ 3790995 w 11625583"/>
              <a:gd name="connsiteY695" fmla="*/ 4407486 h 6380470"/>
              <a:gd name="connsiteX696" fmla="*/ 3481760 w 11625583"/>
              <a:gd name="connsiteY696" fmla="*/ 4407486 h 6380470"/>
              <a:gd name="connsiteX697" fmla="*/ 3546426 w 11625583"/>
              <a:gd name="connsiteY697" fmla="*/ 4472152 h 6380470"/>
              <a:gd name="connsiteX698" fmla="*/ 3506929 w 11625583"/>
              <a:gd name="connsiteY698" fmla="*/ 4531736 h 6380470"/>
              <a:gd name="connsiteX699" fmla="*/ 3482156 w 11625583"/>
              <a:gd name="connsiteY699" fmla="*/ 4536738 h 6380470"/>
              <a:gd name="connsiteX700" fmla="*/ 3506929 w 11625583"/>
              <a:gd name="connsiteY700" fmla="*/ 4541740 h 6380470"/>
              <a:gd name="connsiteX701" fmla="*/ 3546426 w 11625583"/>
              <a:gd name="connsiteY701" fmla="*/ 4601324 h 6380470"/>
              <a:gd name="connsiteX702" fmla="*/ 3481760 w 11625583"/>
              <a:gd name="connsiteY702" fmla="*/ 4665990 h 6380470"/>
              <a:gd name="connsiteX703" fmla="*/ 3417095 w 11625583"/>
              <a:gd name="connsiteY703" fmla="*/ 4601324 h 6380470"/>
              <a:gd name="connsiteX704" fmla="*/ 3456591 w 11625583"/>
              <a:gd name="connsiteY704" fmla="*/ 4541740 h 6380470"/>
              <a:gd name="connsiteX705" fmla="*/ 3481364 w 11625583"/>
              <a:gd name="connsiteY705" fmla="*/ 4536738 h 6380470"/>
              <a:gd name="connsiteX706" fmla="*/ 3456591 w 11625583"/>
              <a:gd name="connsiteY706" fmla="*/ 4531736 h 6380470"/>
              <a:gd name="connsiteX707" fmla="*/ 3417096 w 11625583"/>
              <a:gd name="connsiteY707" fmla="*/ 4472152 h 6380470"/>
              <a:gd name="connsiteX708" fmla="*/ 3481760 w 11625583"/>
              <a:gd name="connsiteY708" fmla="*/ 4407486 h 6380470"/>
              <a:gd name="connsiteX709" fmla="*/ 3172530 w 11625583"/>
              <a:gd name="connsiteY709" fmla="*/ 4407486 h 6380470"/>
              <a:gd name="connsiteX710" fmla="*/ 3237196 w 11625583"/>
              <a:gd name="connsiteY710" fmla="*/ 4472152 h 6380470"/>
              <a:gd name="connsiteX711" fmla="*/ 3197701 w 11625583"/>
              <a:gd name="connsiteY711" fmla="*/ 4531736 h 6380470"/>
              <a:gd name="connsiteX712" fmla="*/ 3172927 w 11625583"/>
              <a:gd name="connsiteY712" fmla="*/ 4536738 h 6380470"/>
              <a:gd name="connsiteX713" fmla="*/ 3197703 w 11625583"/>
              <a:gd name="connsiteY713" fmla="*/ 4541740 h 6380470"/>
              <a:gd name="connsiteX714" fmla="*/ 3237198 w 11625583"/>
              <a:gd name="connsiteY714" fmla="*/ 4601324 h 6380470"/>
              <a:gd name="connsiteX715" fmla="*/ 3172531 w 11625583"/>
              <a:gd name="connsiteY715" fmla="*/ 4665990 h 6380470"/>
              <a:gd name="connsiteX716" fmla="*/ 3107862 w 11625583"/>
              <a:gd name="connsiteY716" fmla="*/ 4601324 h 6380470"/>
              <a:gd name="connsiteX717" fmla="*/ 3147359 w 11625583"/>
              <a:gd name="connsiteY717" fmla="*/ 4541740 h 6380470"/>
              <a:gd name="connsiteX718" fmla="*/ 3172134 w 11625583"/>
              <a:gd name="connsiteY718" fmla="*/ 4536738 h 6380470"/>
              <a:gd name="connsiteX719" fmla="*/ 3147357 w 11625583"/>
              <a:gd name="connsiteY719" fmla="*/ 4531736 h 6380470"/>
              <a:gd name="connsiteX720" fmla="*/ 3107859 w 11625583"/>
              <a:gd name="connsiteY720" fmla="*/ 4472152 h 6380470"/>
              <a:gd name="connsiteX721" fmla="*/ 3172530 w 11625583"/>
              <a:gd name="connsiteY721" fmla="*/ 4407486 h 6380470"/>
              <a:gd name="connsiteX722" fmla="*/ 6585804 w 11625583"/>
              <a:gd name="connsiteY722" fmla="*/ 4407484 h 6380470"/>
              <a:gd name="connsiteX723" fmla="*/ 6650470 w 11625583"/>
              <a:gd name="connsiteY723" fmla="*/ 4472150 h 6380470"/>
              <a:gd name="connsiteX724" fmla="*/ 6610975 w 11625583"/>
              <a:gd name="connsiteY724" fmla="*/ 4531734 h 6380470"/>
              <a:gd name="connsiteX725" fmla="*/ 6586196 w 11625583"/>
              <a:gd name="connsiteY725" fmla="*/ 4536737 h 6380470"/>
              <a:gd name="connsiteX726" fmla="*/ 6610975 w 11625583"/>
              <a:gd name="connsiteY726" fmla="*/ 4541740 h 6380470"/>
              <a:gd name="connsiteX727" fmla="*/ 6650470 w 11625583"/>
              <a:gd name="connsiteY727" fmla="*/ 4601324 h 6380470"/>
              <a:gd name="connsiteX728" fmla="*/ 6585804 w 11625583"/>
              <a:gd name="connsiteY728" fmla="*/ 4665990 h 6380470"/>
              <a:gd name="connsiteX729" fmla="*/ 6521138 w 11625583"/>
              <a:gd name="connsiteY729" fmla="*/ 4601324 h 6380470"/>
              <a:gd name="connsiteX730" fmla="*/ 6560633 w 11625583"/>
              <a:gd name="connsiteY730" fmla="*/ 4541740 h 6380470"/>
              <a:gd name="connsiteX731" fmla="*/ 6585413 w 11625583"/>
              <a:gd name="connsiteY731" fmla="*/ 4536737 h 6380470"/>
              <a:gd name="connsiteX732" fmla="*/ 6560633 w 11625583"/>
              <a:gd name="connsiteY732" fmla="*/ 4531734 h 6380470"/>
              <a:gd name="connsiteX733" fmla="*/ 6521138 w 11625583"/>
              <a:gd name="connsiteY733" fmla="*/ 4472150 h 6380470"/>
              <a:gd name="connsiteX734" fmla="*/ 6585804 w 11625583"/>
              <a:gd name="connsiteY734" fmla="*/ 4407484 h 6380470"/>
              <a:gd name="connsiteX735" fmla="*/ 6119999 w 11625583"/>
              <a:gd name="connsiteY735" fmla="*/ 4407484 h 6380470"/>
              <a:gd name="connsiteX736" fmla="*/ 6184665 w 11625583"/>
              <a:gd name="connsiteY736" fmla="*/ 4472150 h 6380470"/>
              <a:gd name="connsiteX737" fmla="*/ 6145170 w 11625583"/>
              <a:gd name="connsiteY737" fmla="*/ 4531734 h 6380470"/>
              <a:gd name="connsiteX738" fmla="*/ 6120391 w 11625583"/>
              <a:gd name="connsiteY738" fmla="*/ 4536737 h 6380470"/>
              <a:gd name="connsiteX739" fmla="*/ 6145170 w 11625583"/>
              <a:gd name="connsiteY739" fmla="*/ 4541740 h 6380470"/>
              <a:gd name="connsiteX740" fmla="*/ 6184665 w 11625583"/>
              <a:gd name="connsiteY740" fmla="*/ 4601324 h 6380470"/>
              <a:gd name="connsiteX741" fmla="*/ 6119999 w 11625583"/>
              <a:gd name="connsiteY741" fmla="*/ 4665990 h 6380470"/>
              <a:gd name="connsiteX742" fmla="*/ 6055333 w 11625583"/>
              <a:gd name="connsiteY742" fmla="*/ 4601324 h 6380470"/>
              <a:gd name="connsiteX743" fmla="*/ 6094828 w 11625583"/>
              <a:gd name="connsiteY743" fmla="*/ 4541740 h 6380470"/>
              <a:gd name="connsiteX744" fmla="*/ 6119608 w 11625583"/>
              <a:gd name="connsiteY744" fmla="*/ 4536737 h 6380470"/>
              <a:gd name="connsiteX745" fmla="*/ 6094828 w 11625583"/>
              <a:gd name="connsiteY745" fmla="*/ 4531734 h 6380470"/>
              <a:gd name="connsiteX746" fmla="*/ 6055333 w 11625583"/>
              <a:gd name="connsiteY746" fmla="*/ 4472150 h 6380470"/>
              <a:gd name="connsiteX747" fmla="*/ 6119999 w 11625583"/>
              <a:gd name="connsiteY747" fmla="*/ 4407484 h 6380470"/>
              <a:gd name="connsiteX748" fmla="*/ 4100213 w 11625583"/>
              <a:gd name="connsiteY748" fmla="*/ 4407484 h 6380470"/>
              <a:gd name="connsiteX749" fmla="*/ 4164879 w 11625583"/>
              <a:gd name="connsiteY749" fmla="*/ 4472150 h 6380470"/>
              <a:gd name="connsiteX750" fmla="*/ 4125383 w 11625583"/>
              <a:gd name="connsiteY750" fmla="*/ 4531734 h 6380470"/>
              <a:gd name="connsiteX751" fmla="*/ 4100603 w 11625583"/>
              <a:gd name="connsiteY751" fmla="*/ 4536737 h 6380470"/>
              <a:gd name="connsiteX752" fmla="*/ 4125383 w 11625583"/>
              <a:gd name="connsiteY752" fmla="*/ 4541740 h 6380470"/>
              <a:gd name="connsiteX753" fmla="*/ 4164876 w 11625583"/>
              <a:gd name="connsiteY753" fmla="*/ 4601324 h 6380470"/>
              <a:gd name="connsiteX754" fmla="*/ 4100211 w 11625583"/>
              <a:gd name="connsiteY754" fmla="*/ 4665990 h 6380470"/>
              <a:gd name="connsiteX755" fmla="*/ 4035548 w 11625583"/>
              <a:gd name="connsiteY755" fmla="*/ 4601324 h 6380470"/>
              <a:gd name="connsiteX756" fmla="*/ 4075037 w 11625583"/>
              <a:gd name="connsiteY756" fmla="*/ 4541740 h 6380470"/>
              <a:gd name="connsiteX757" fmla="*/ 4099820 w 11625583"/>
              <a:gd name="connsiteY757" fmla="*/ 4536737 h 6380470"/>
              <a:gd name="connsiteX758" fmla="*/ 4075039 w 11625583"/>
              <a:gd name="connsiteY758" fmla="*/ 4531734 h 6380470"/>
              <a:gd name="connsiteX759" fmla="*/ 4035548 w 11625583"/>
              <a:gd name="connsiteY759" fmla="*/ 4472150 h 6380470"/>
              <a:gd name="connsiteX760" fmla="*/ 4100213 w 11625583"/>
              <a:gd name="connsiteY760" fmla="*/ 4407484 h 6380470"/>
              <a:gd name="connsiteX761" fmla="*/ 3630508 w 11625583"/>
              <a:gd name="connsiteY761" fmla="*/ 4407484 h 6380470"/>
              <a:gd name="connsiteX762" fmla="*/ 3695174 w 11625583"/>
              <a:gd name="connsiteY762" fmla="*/ 4472150 h 6380470"/>
              <a:gd name="connsiteX763" fmla="*/ 3655679 w 11625583"/>
              <a:gd name="connsiteY763" fmla="*/ 4531734 h 6380470"/>
              <a:gd name="connsiteX764" fmla="*/ 3630899 w 11625583"/>
              <a:gd name="connsiteY764" fmla="*/ 4536738 h 6380470"/>
              <a:gd name="connsiteX765" fmla="*/ 3655677 w 11625583"/>
              <a:gd name="connsiteY765" fmla="*/ 4541740 h 6380470"/>
              <a:gd name="connsiteX766" fmla="*/ 3695171 w 11625583"/>
              <a:gd name="connsiteY766" fmla="*/ 4601324 h 6380470"/>
              <a:gd name="connsiteX767" fmla="*/ 3630506 w 11625583"/>
              <a:gd name="connsiteY767" fmla="*/ 4665990 h 6380470"/>
              <a:gd name="connsiteX768" fmla="*/ 3565838 w 11625583"/>
              <a:gd name="connsiteY768" fmla="*/ 4601324 h 6380470"/>
              <a:gd name="connsiteX769" fmla="*/ 3605333 w 11625583"/>
              <a:gd name="connsiteY769" fmla="*/ 4541740 h 6380470"/>
              <a:gd name="connsiteX770" fmla="*/ 3630116 w 11625583"/>
              <a:gd name="connsiteY770" fmla="*/ 4536737 h 6380470"/>
              <a:gd name="connsiteX771" fmla="*/ 3605335 w 11625583"/>
              <a:gd name="connsiteY771" fmla="*/ 4531734 h 6380470"/>
              <a:gd name="connsiteX772" fmla="*/ 3565841 w 11625583"/>
              <a:gd name="connsiteY772" fmla="*/ 4472150 h 6380470"/>
              <a:gd name="connsiteX773" fmla="*/ 3630508 w 11625583"/>
              <a:gd name="connsiteY773" fmla="*/ 4407484 h 6380470"/>
              <a:gd name="connsiteX774" fmla="*/ 3321277 w 11625583"/>
              <a:gd name="connsiteY774" fmla="*/ 4407484 h 6380470"/>
              <a:gd name="connsiteX775" fmla="*/ 3385940 w 11625583"/>
              <a:gd name="connsiteY775" fmla="*/ 4472150 h 6380470"/>
              <a:gd name="connsiteX776" fmla="*/ 3346447 w 11625583"/>
              <a:gd name="connsiteY776" fmla="*/ 4531734 h 6380470"/>
              <a:gd name="connsiteX777" fmla="*/ 3321669 w 11625583"/>
              <a:gd name="connsiteY777" fmla="*/ 4536737 h 6380470"/>
              <a:gd name="connsiteX778" fmla="*/ 3346446 w 11625583"/>
              <a:gd name="connsiteY778" fmla="*/ 4541740 h 6380470"/>
              <a:gd name="connsiteX779" fmla="*/ 3385940 w 11625583"/>
              <a:gd name="connsiteY779" fmla="*/ 4601324 h 6380470"/>
              <a:gd name="connsiteX780" fmla="*/ 3321277 w 11625583"/>
              <a:gd name="connsiteY780" fmla="*/ 4665990 h 6380470"/>
              <a:gd name="connsiteX781" fmla="*/ 3256612 w 11625583"/>
              <a:gd name="connsiteY781" fmla="*/ 4601324 h 6380470"/>
              <a:gd name="connsiteX782" fmla="*/ 3296104 w 11625583"/>
              <a:gd name="connsiteY782" fmla="*/ 4541740 h 6380470"/>
              <a:gd name="connsiteX783" fmla="*/ 3320887 w 11625583"/>
              <a:gd name="connsiteY783" fmla="*/ 4536737 h 6380470"/>
              <a:gd name="connsiteX784" fmla="*/ 3296104 w 11625583"/>
              <a:gd name="connsiteY784" fmla="*/ 4531734 h 6380470"/>
              <a:gd name="connsiteX785" fmla="*/ 3256612 w 11625583"/>
              <a:gd name="connsiteY785" fmla="*/ 4472150 h 6380470"/>
              <a:gd name="connsiteX786" fmla="*/ 3321277 w 11625583"/>
              <a:gd name="connsiteY786" fmla="*/ 4407484 h 6380470"/>
              <a:gd name="connsiteX787" fmla="*/ 3012037 w 11625583"/>
              <a:gd name="connsiteY787" fmla="*/ 4407484 h 6380470"/>
              <a:gd name="connsiteX788" fmla="*/ 3076704 w 11625583"/>
              <a:gd name="connsiteY788" fmla="*/ 4472150 h 6380470"/>
              <a:gd name="connsiteX789" fmla="*/ 3012037 w 11625583"/>
              <a:gd name="connsiteY789" fmla="*/ 4536816 h 6380470"/>
              <a:gd name="connsiteX790" fmla="*/ 2947373 w 11625583"/>
              <a:gd name="connsiteY790" fmla="*/ 4472150 h 6380470"/>
              <a:gd name="connsiteX791" fmla="*/ 3012037 w 11625583"/>
              <a:gd name="connsiteY791" fmla="*/ 4407484 h 6380470"/>
              <a:gd name="connsiteX792" fmla="*/ 10159586 w 11625583"/>
              <a:gd name="connsiteY792" fmla="*/ 4266568 h 6380470"/>
              <a:gd name="connsiteX793" fmla="*/ 10224252 w 11625583"/>
              <a:gd name="connsiteY793" fmla="*/ 4331234 h 6380470"/>
              <a:gd name="connsiteX794" fmla="*/ 10159586 w 11625583"/>
              <a:gd name="connsiteY794" fmla="*/ 4395900 h 6380470"/>
              <a:gd name="connsiteX795" fmla="*/ 10094920 w 11625583"/>
              <a:gd name="connsiteY795" fmla="*/ 4331234 h 6380470"/>
              <a:gd name="connsiteX796" fmla="*/ 10159586 w 11625583"/>
              <a:gd name="connsiteY796" fmla="*/ 4266568 h 6380470"/>
              <a:gd name="connsiteX797" fmla="*/ 9227976 w 11625583"/>
              <a:gd name="connsiteY797" fmla="*/ 4266568 h 6380470"/>
              <a:gd name="connsiteX798" fmla="*/ 9292642 w 11625583"/>
              <a:gd name="connsiteY798" fmla="*/ 4331234 h 6380470"/>
              <a:gd name="connsiteX799" fmla="*/ 9227976 w 11625583"/>
              <a:gd name="connsiteY799" fmla="*/ 4395900 h 6380470"/>
              <a:gd name="connsiteX800" fmla="*/ 9163310 w 11625583"/>
              <a:gd name="connsiteY800" fmla="*/ 4331234 h 6380470"/>
              <a:gd name="connsiteX801" fmla="*/ 9227976 w 11625583"/>
              <a:gd name="connsiteY801" fmla="*/ 4266568 h 6380470"/>
              <a:gd name="connsiteX802" fmla="*/ 9075316 w 11625583"/>
              <a:gd name="connsiteY802" fmla="*/ 4266568 h 6380470"/>
              <a:gd name="connsiteX803" fmla="*/ 9139982 w 11625583"/>
              <a:gd name="connsiteY803" fmla="*/ 4331234 h 6380470"/>
              <a:gd name="connsiteX804" fmla="*/ 9075316 w 11625583"/>
              <a:gd name="connsiteY804" fmla="*/ 4395900 h 6380470"/>
              <a:gd name="connsiteX805" fmla="*/ 9010650 w 11625583"/>
              <a:gd name="connsiteY805" fmla="*/ 4331234 h 6380470"/>
              <a:gd name="connsiteX806" fmla="*/ 9075316 w 11625583"/>
              <a:gd name="connsiteY806" fmla="*/ 4266568 h 6380470"/>
              <a:gd name="connsiteX807" fmla="*/ 6742375 w 11625583"/>
              <a:gd name="connsiteY807" fmla="*/ 4266568 h 6380470"/>
              <a:gd name="connsiteX808" fmla="*/ 6807041 w 11625583"/>
              <a:gd name="connsiteY808" fmla="*/ 4331234 h 6380470"/>
              <a:gd name="connsiteX809" fmla="*/ 6742375 w 11625583"/>
              <a:gd name="connsiteY809" fmla="*/ 4395900 h 6380470"/>
              <a:gd name="connsiteX810" fmla="*/ 6677709 w 11625583"/>
              <a:gd name="connsiteY810" fmla="*/ 4331234 h 6380470"/>
              <a:gd name="connsiteX811" fmla="*/ 6742375 w 11625583"/>
              <a:gd name="connsiteY811" fmla="*/ 4266568 h 6380470"/>
              <a:gd name="connsiteX812" fmla="*/ 6585802 w 11625583"/>
              <a:gd name="connsiteY812" fmla="*/ 4266568 h 6380470"/>
              <a:gd name="connsiteX813" fmla="*/ 6650468 w 11625583"/>
              <a:gd name="connsiteY813" fmla="*/ 4331234 h 6380470"/>
              <a:gd name="connsiteX814" fmla="*/ 6585802 w 11625583"/>
              <a:gd name="connsiteY814" fmla="*/ 4395900 h 6380470"/>
              <a:gd name="connsiteX815" fmla="*/ 6521136 w 11625583"/>
              <a:gd name="connsiteY815" fmla="*/ 4331234 h 6380470"/>
              <a:gd name="connsiteX816" fmla="*/ 6585802 w 11625583"/>
              <a:gd name="connsiteY816" fmla="*/ 4266568 h 6380470"/>
              <a:gd name="connsiteX817" fmla="*/ 6429228 w 11625583"/>
              <a:gd name="connsiteY817" fmla="*/ 4266568 h 6380470"/>
              <a:gd name="connsiteX818" fmla="*/ 6493894 w 11625583"/>
              <a:gd name="connsiteY818" fmla="*/ 4331234 h 6380470"/>
              <a:gd name="connsiteX819" fmla="*/ 6429228 w 11625583"/>
              <a:gd name="connsiteY819" fmla="*/ 4395900 h 6380470"/>
              <a:gd name="connsiteX820" fmla="*/ 6364562 w 11625583"/>
              <a:gd name="connsiteY820" fmla="*/ 4331234 h 6380470"/>
              <a:gd name="connsiteX821" fmla="*/ 6429228 w 11625583"/>
              <a:gd name="connsiteY821" fmla="*/ 4266568 h 6380470"/>
              <a:gd name="connsiteX822" fmla="*/ 6276569 w 11625583"/>
              <a:gd name="connsiteY822" fmla="*/ 4266568 h 6380470"/>
              <a:gd name="connsiteX823" fmla="*/ 6341235 w 11625583"/>
              <a:gd name="connsiteY823" fmla="*/ 4331234 h 6380470"/>
              <a:gd name="connsiteX824" fmla="*/ 6276569 w 11625583"/>
              <a:gd name="connsiteY824" fmla="*/ 4395900 h 6380470"/>
              <a:gd name="connsiteX825" fmla="*/ 6211903 w 11625583"/>
              <a:gd name="connsiteY825" fmla="*/ 4331234 h 6380470"/>
              <a:gd name="connsiteX826" fmla="*/ 6276569 w 11625583"/>
              <a:gd name="connsiteY826" fmla="*/ 4266568 h 6380470"/>
              <a:gd name="connsiteX827" fmla="*/ 6119998 w 11625583"/>
              <a:gd name="connsiteY827" fmla="*/ 4266568 h 6380470"/>
              <a:gd name="connsiteX828" fmla="*/ 6184664 w 11625583"/>
              <a:gd name="connsiteY828" fmla="*/ 4331234 h 6380470"/>
              <a:gd name="connsiteX829" fmla="*/ 6119998 w 11625583"/>
              <a:gd name="connsiteY829" fmla="*/ 4395900 h 6380470"/>
              <a:gd name="connsiteX830" fmla="*/ 6055332 w 11625583"/>
              <a:gd name="connsiteY830" fmla="*/ 4331234 h 6380470"/>
              <a:gd name="connsiteX831" fmla="*/ 6119998 w 11625583"/>
              <a:gd name="connsiteY831" fmla="*/ 4266568 h 6380470"/>
              <a:gd name="connsiteX832" fmla="*/ 5967338 w 11625583"/>
              <a:gd name="connsiteY832" fmla="*/ 4266568 h 6380470"/>
              <a:gd name="connsiteX833" fmla="*/ 6032004 w 11625583"/>
              <a:gd name="connsiteY833" fmla="*/ 4331234 h 6380470"/>
              <a:gd name="connsiteX834" fmla="*/ 5967338 w 11625583"/>
              <a:gd name="connsiteY834" fmla="*/ 4395900 h 6380470"/>
              <a:gd name="connsiteX835" fmla="*/ 5902672 w 11625583"/>
              <a:gd name="connsiteY835" fmla="*/ 4331234 h 6380470"/>
              <a:gd name="connsiteX836" fmla="*/ 5967338 w 11625583"/>
              <a:gd name="connsiteY836" fmla="*/ 4266568 h 6380470"/>
              <a:gd name="connsiteX837" fmla="*/ 4256780 w 11625583"/>
              <a:gd name="connsiteY837" fmla="*/ 4266568 h 6380470"/>
              <a:gd name="connsiteX838" fmla="*/ 4321446 w 11625583"/>
              <a:gd name="connsiteY838" fmla="*/ 4331234 h 6380470"/>
              <a:gd name="connsiteX839" fmla="*/ 4256780 w 11625583"/>
              <a:gd name="connsiteY839" fmla="*/ 4395900 h 6380470"/>
              <a:gd name="connsiteX840" fmla="*/ 4192113 w 11625583"/>
              <a:gd name="connsiteY840" fmla="*/ 4331234 h 6380470"/>
              <a:gd name="connsiteX841" fmla="*/ 4256780 w 11625583"/>
              <a:gd name="connsiteY841" fmla="*/ 4266568 h 6380470"/>
              <a:gd name="connsiteX842" fmla="*/ 4100211 w 11625583"/>
              <a:gd name="connsiteY842" fmla="*/ 4266568 h 6380470"/>
              <a:gd name="connsiteX843" fmla="*/ 4164879 w 11625583"/>
              <a:gd name="connsiteY843" fmla="*/ 4331234 h 6380470"/>
              <a:gd name="connsiteX844" fmla="*/ 4100211 w 11625583"/>
              <a:gd name="connsiteY844" fmla="*/ 4395900 h 6380470"/>
              <a:gd name="connsiteX845" fmla="*/ 4035548 w 11625583"/>
              <a:gd name="connsiteY845" fmla="*/ 4331234 h 6380470"/>
              <a:gd name="connsiteX846" fmla="*/ 4100211 w 11625583"/>
              <a:gd name="connsiteY846" fmla="*/ 4266568 h 6380470"/>
              <a:gd name="connsiteX847" fmla="*/ 3947545 w 11625583"/>
              <a:gd name="connsiteY847" fmla="*/ 4266568 h 6380470"/>
              <a:gd name="connsiteX848" fmla="*/ 4012217 w 11625583"/>
              <a:gd name="connsiteY848" fmla="*/ 4331234 h 6380470"/>
              <a:gd name="connsiteX849" fmla="*/ 3947545 w 11625583"/>
              <a:gd name="connsiteY849" fmla="*/ 4395900 h 6380470"/>
              <a:gd name="connsiteX850" fmla="*/ 3882903 w 11625583"/>
              <a:gd name="connsiteY850" fmla="*/ 4331234 h 6380470"/>
              <a:gd name="connsiteX851" fmla="*/ 3947545 w 11625583"/>
              <a:gd name="connsiteY851" fmla="*/ 4266568 h 6380470"/>
              <a:gd name="connsiteX852" fmla="*/ 3790995 w 11625583"/>
              <a:gd name="connsiteY852" fmla="*/ 4266568 h 6380470"/>
              <a:gd name="connsiteX853" fmla="*/ 3855662 w 11625583"/>
              <a:gd name="connsiteY853" fmla="*/ 4331234 h 6380470"/>
              <a:gd name="connsiteX854" fmla="*/ 3790995 w 11625583"/>
              <a:gd name="connsiteY854" fmla="*/ 4395900 h 6380470"/>
              <a:gd name="connsiteX855" fmla="*/ 3726328 w 11625583"/>
              <a:gd name="connsiteY855" fmla="*/ 4331234 h 6380470"/>
              <a:gd name="connsiteX856" fmla="*/ 3790995 w 11625583"/>
              <a:gd name="connsiteY856" fmla="*/ 4266568 h 6380470"/>
              <a:gd name="connsiteX857" fmla="*/ 3630508 w 11625583"/>
              <a:gd name="connsiteY857" fmla="*/ 4266568 h 6380470"/>
              <a:gd name="connsiteX858" fmla="*/ 3695175 w 11625583"/>
              <a:gd name="connsiteY858" fmla="*/ 4331234 h 6380470"/>
              <a:gd name="connsiteX859" fmla="*/ 3630508 w 11625583"/>
              <a:gd name="connsiteY859" fmla="*/ 4395900 h 6380470"/>
              <a:gd name="connsiteX860" fmla="*/ 3565840 w 11625583"/>
              <a:gd name="connsiteY860" fmla="*/ 4331234 h 6380470"/>
              <a:gd name="connsiteX861" fmla="*/ 3630508 w 11625583"/>
              <a:gd name="connsiteY861" fmla="*/ 4266568 h 6380470"/>
              <a:gd name="connsiteX862" fmla="*/ 3481762 w 11625583"/>
              <a:gd name="connsiteY862" fmla="*/ 4266568 h 6380470"/>
              <a:gd name="connsiteX863" fmla="*/ 3546428 w 11625583"/>
              <a:gd name="connsiteY863" fmla="*/ 4331234 h 6380470"/>
              <a:gd name="connsiteX864" fmla="*/ 3481762 w 11625583"/>
              <a:gd name="connsiteY864" fmla="*/ 4395900 h 6380470"/>
              <a:gd name="connsiteX865" fmla="*/ 3417099 w 11625583"/>
              <a:gd name="connsiteY865" fmla="*/ 4331234 h 6380470"/>
              <a:gd name="connsiteX866" fmla="*/ 3481762 w 11625583"/>
              <a:gd name="connsiteY866" fmla="*/ 4266568 h 6380470"/>
              <a:gd name="connsiteX867" fmla="*/ 3321282 w 11625583"/>
              <a:gd name="connsiteY867" fmla="*/ 4266568 h 6380470"/>
              <a:gd name="connsiteX868" fmla="*/ 3385942 w 11625583"/>
              <a:gd name="connsiteY868" fmla="*/ 4331234 h 6380470"/>
              <a:gd name="connsiteX869" fmla="*/ 3321282 w 11625583"/>
              <a:gd name="connsiteY869" fmla="*/ 4395900 h 6380470"/>
              <a:gd name="connsiteX870" fmla="*/ 3256617 w 11625583"/>
              <a:gd name="connsiteY870" fmla="*/ 4331234 h 6380470"/>
              <a:gd name="connsiteX871" fmla="*/ 3321282 w 11625583"/>
              <a:gd name="connsiteY871" fmla="*/ 4266568 h 6380470"/>
              <a:gd name="connsiteX872" fmla="*/ 3172532 w 11625583"/>
              <a:gd name="connsiteY872" fmla="*/ 4266568 h 6380470"/>
              <a:gd name="connsiteX873" fmla="*/ 3237198 w 11625583"/>
              <a:gd name="connsiteY873" fmla="*/ 4331234 h 6380470"/>
              <a:gd name="connsiteX874" fmla="*/ 3172532 w 11625583"/>
              <a:gd name="connsiteY874" fmla="*/ 4395900 h 6380470"/>
              <a:gd name="connsiteX875" fmla="*/ 3107863 w 11625583"/>
              <a:gd name="connsiteY875" fmla="*/ 4331234 h 6380470"/>
              <a:gd name="connsiteX876" fmla="*/ 3172532 w 11625583"/>
              <a:gd name="connsiteY876" fmla="*/ 4266568 h 6380470"/>
              <a:gd name="connsiteX877" fmla="*/ 3012039 w 11625583"/>
              <a:gd name="connsiteY877" fmla="*/ 4266568 h 6380470"/>
              <a:gd name="connsiteX878" fmla="*/ 3076706 w 11625583"/>
              <a:gd name="connsiteY878" fmla="*/ 4331234 h 6380470"/>
              <a:gd name="connsiteX879" fmla="*/ 3012039 w 11625583"/>
              <a:gd name="connsiteY879" fmla="*/ 4395900 h 6380470"/>
              <a:gd name="connsiteX880" fmla="*/ 2947375 w 11625583"/>
              <a:gd name="connsiteY880" fmla="*/ 4331234 h 6380470"/>
              <a:gd name="connsiteX881" fmla="*/ 3012039 w 11625583"/>
              <a:gd name="connsiteY881" fmla="*/ 4266568 h 6380470"/>
              <a:gd name="connsiteX882" fmla="*/ 10159586 w 11625583"/>
              <a:gd name="connsiteY882" fmla="*/ 4113910 h 6380470"/>
              <a:gd name="connsiteX883" fmla="*/ 10224252 w 11625583"/>
              <a:gd name="connsiteY883" fmla="*/ 4178576 h 6380470"/>
              <a:gd name="connsiteX884" fmla="*/ 10159586 w 11625583"/>
              <a:gd name="connsiteY884" fmla="*/ 4243242 h 6380470"/>
              <a:gd name="connsiteX885" fmla="*/ 10094920 w 11625583"/>
              <a:gd name="connsiteY885" fmla="*/ 4178576 h 6380470"/>
              <a:gd name="connsiteX886" fmla="*/ 10159586 w 11625583"/>
              <a:gd name="connsiteY886" fmla="*/ 4113910 h 6380470"/>
              <a:gd name="connsiteX887" fmla="*/ 10003015 w 11625583"/>
              <a:gd name="connsiteY887" fmla="*/ 4113910 h 6380470"/>
              <a:gd name="connsiteX888" fmla="*/ 10067681 w 11625583"/>
              <a:gd name="connsiteY888" fmla="*/ 4178576 h 6380470"/>
              <a:gd name="connsiteX889" fmla="*/ 10003015 w 11625583"/>
              <a:gd name="connsiteY889" fmla="*/ 4243242 h 6380470"/>
              <a:gd name="connsiteX890" fmla="*/ 9938349 w 11625583"/>
              <a:gd name="connsiteY890" fmla="*/ 4178576 h 6380470"/>
              <a:gd name="connsiteX891" fmla="*/ 10003015 w 11625583"/>
              <a:gd name="connsiteY891" fmla="*/ 4113910 h 6380470"/>
              <a:gd name="connsiteX892" fmla="*/ 9850355 w 11625583"/>
              <a:gd name="connsiteY892" fmla="*/ 4113910 h 6380470"/>
              <a:gd name="connsiteX893" fmla="*/ 9915021 w 11625583"/>
              <a:gd name="connsiteY893" fmla="*/ 4178576 h 6380470"/>
              <a:gd name="connsiteX894" fmla="*/ 9850355 w 11625583"/>
              <a:gd name="connsiteY894" fmla="*/ 4243242 h 6380470"/>
              <a:gd name="connsiteX895" fmla="*/ 9785689 w 11625583"/>
              <a:gd name="connsiteY895" fmla="*/ 4178576 h 6380470"/>
              <a:gd name="connsiteX896" fmla="*/ 9850355 w 11625583"/>
              <a:gd name="connsiteY896" fmla="*/ 4113910 h 6380470"/>
              <a:gd name="connsiteX897" fmla="*/ 9384549 w 11625583"/>
              <a:gd name="connsiteY897" fmla="*/ 4113910 h 6380470"/>
              <a:gd name="connsiteX898" fmla="*/ 9449215 w 11625583"/>
              <a:gd name="connsiteY898" fmla="*/ 4178576 h 6380470"/>
              <a:gd name="connsiteX899" fmla="*/ 9384549 w 11625583"/>
              <a:gd name="connsiteY899" fmla="*/ 4243242 h 6380470"/>
              <a:gd name="connsiteX900" fmla="*/ 9319883 w 11625583"/>
              <a:gd name="connsiteY900" fmla="*/ 4178576 h 6380470"/>
              <a:gd name="connsiteX901" fmla="*/ 9384549 w 11625583"/>
              <a:gd name="connsiteY901" fmla="*/ 4113910 h 6380470"/>
              <a:gd name="connsiteX902" fmla="*/ 8914828 w 11625583"/>
              <a:gd name="connsiteY902" fmla="*/ 4113910 h 6380470"/>
              <a:gd name="connsiteX903" fmla="*/ 8979494 w 11625583"/>
              <a:gd name="connsiteY903" fmla="*/ 4178576 h 6380470"/>
              <a:gd name="connsiteX904" fmla="*/ 8914828 w 11625583"/>
              <a:gd name="connsiteY904" fmla="*/ 4243242 h 6380470"/>
              <a:gd name="connsiteX905" fmla="*/ 8850162 w 11625583"/>
              <a:gd name="connsiteY905" fmla="*/ 4178576 h 6380470"/>
              <a:gd name="connsiteX906" fmla="*/ 8914828 w 11625583"/>
              <a:gd name="connsiteY906" fmla="*/ 4113910 h 6380470"/>
              <a:gd name="connsiteX907" fmla="*/ 6742375 w 11625583"/>
              <a:gd name="connsiteY907" fmla="*/ 4113910 h 6380470"/>
              <a:gd name="connsiteX908" fmla="*/ 6807041 w 11625583"/>
              <a:gd name="connsiteY908" fmla="*/ 4178576 h 6380470"/>
              <a:gd name="connsiteX909" fmla="*/ 6742375 w 11625583"/>
              <a:gd name="connsiteY909" fmla="*/ 4243242 h 6380470"/>
              <a:gd name="connsiteX910" fmla="*/ 6677709 w 11625583"/>
              <a:gd name="connsiteY910" fmla="*/ 4178576 h 6380470"/>
              <a:gd name="connsiteX911" fmla="*/ 6742375 w 11625583"/>
              <a:gd name="connsiteY911" fmla="*/ 4113910 h 6380470"/>
              <a:gd name="connsiteX912" fmla="*/ 6585802 w 11625583"/>
              <a:gd name="connsiteY912" fmla="*/ 4113910 h 6380470"/>
              <a:gd name="connsiteX913" fmla="*/ 6650468 w 11625583"/>
              <a:gd name="connsiteY913" fmla="*/ 4178576 h 6380470"/>
              <a:gd name="connsiteX914" fmla="*/ 6585802 w 11625583"/>
              <a:gd name="connsiteY914" fmla="*/ 4243242 h 6380470"/>
              <a:gd name="connsiteX915" fmla="*/ 6521136 w 11625583"/>
              <a:gd name="connsiteY915" fmla="*/ 4178576 h 6380470"/>
              <a:gd name="connsiteX916" fmla="*/ 6585802 w 11625583"/>
              <a:gd name="connsiteY916" fmla="*/ 4113910 h 6380470"/>
              <a:gd name="connsiteX917" fmla="*/ 6429228 w 11625583"/>
              <a:gd name="connsiteY917" fmla="*/ 4113910 h 6380470"/>
              <a:gd name="connsiteX918" fmla="*/ 6493894 w 11625583"/>
              <a:gd name="connsiteY918" fmla="*/ 4178576 h 6380470"/>
              <a:gd name="connsiteX919" fmla="*/ 6429228 w 11625583"/>
              <a:gd name="connsiteY919" fmla="*/ 4243242 h 6380470"/>
              <a:gd name="connsiteX920" fmla="*/ 6364562 w 11625583"/>
              <a:gd name="connsiteY920" fmla="*/ 4178576 h 6380470"/>
              <a:gd name="connsiteX921" fmla="*/ 6429228 w 11625583"/>
              <a:gd name="connsiteY921" fmla="*/ 4113910 h 6380470"/>
              <a:gd name="connsiteX922" fmla="*/ 6276569 w 11625583"/>
              <a:gd name="connsiteY922" fmla="*/ 4113910 h 6380470"/>
              <a:gd name="connsiteX923" fmla="*/ 6341235 w 11625583"/>
              <a:gd name="connsiteY923" fmla="*/ 4178576 h 6380470"/>
              <a:gd name="connsiteX924" fmla="*/ 6276569 w 11625583"/>
              <a:gd name="connsiteY924" fmla="*/ 4243242 h 6380470"/>
              <a:gd name="connsiteX925" fmla="*/ 6211903 w 11625583"/>
              <a:gd name="connsiteY925" fmla="*/ 4178576 h 6380470"/>
              <a:gd name="connsiteX926" fmla="*/ 6276569 w 11625583"/>
              <a:gd name="connsiteY926" fmla="*/ 4113910 h 6380470"/>
              <a:gd name="connsiteX927" fmla="*/ 6119998 w 11625583"/>
              <a:gd name="connsiteY927" fmla="*/ 4113910 h 6380470"/>
              <a:gd name="connsiteX928" fmla="*/ 6184664 w 11625583"/>
              <a:gd name="connsiteY928" fmla="*/ 4178576 h 6380470"/>
              <a:gd name="connsiteX929" fmla="*/ 6119998 w 11625583"/>
              <a:gd name="connsiteY929" fmla="*/ 4243242 h 6380470"/>
              <a:gd name="connsiteX930" fmla="*/ 6055332 w 11625583"/>
              <a:gd name="connsiteY930" fmla="*/ 4178576 h 6380470"/>
              <a:gd name="connsiteX931" fmla="*/ 6119998 w 11625583"/>
              <a:gd name="connsiteY931" fmla="*/ 4113910 h 6380470"/>
              <a:gd name="connsiteX932" fmla="*/ 5967338 w 11625583"/>
              <a:gd name="connsiteY932" fmla="*/ 4113910 h 6380470"/>
              <a:gd name="connsiteX933" fmla="*/ 6032004 w 11625583"/>
              <a:gd name="connsiteY933" fmla="*/ 4178576 h 6380470"/>
              <a:gd name="connsiteX934" fmla="*/ 5967338 w 11625583"/>
              <a:gd name="connsiteY934" fmla="*/ 4243242 h 6380470"/>
              <a:gd name="connsiteX935" fmla="*/ 5902672 w 11625583"/>
              <a:gd name="connsiteY935" fmla="*/ 4178576 h 6380470"/>
              <a:gd name="connsiteX936" fmla="*/ 5967338 w 11625583"/>
              <a:gd name="connsiteY936" fmla="*/ 4113910 h 6380470"/>
              <a:gd name="connsiteX937" fmla="*/ 4256780 w 11625583"/>
              <a:gd name="connsiteY937" fmla="*/ 4113910 h 6380470"/>
              <a:gd name="connsiteX938" fmla="*/ 4321446 w 11625583"/>
              <a:gd name="connsiteY938" fmla="*/ 4178576 h 6380470"/>
              <a:gd name="connsiteX939" fmla="*/ 4256780 w 11625583"/>
              <a:gd name="connsiteY939" fmla="*/ 4243242 h 6380470"/>
              <a:gd name="connsiteX940" fmla="*/ 4192119 w 11625583"/>
              <a:gd name="connsiteY940" fmla="*/ 4178576 h 6380470"/>
              <a:gd name="connsiteX941" fmla="*/ 4256780 w 11625583"/>
              <a:gd name="connsiteY941" fmla="*/ 4113910 h 6380470"/>
              <a:gd name="connsiteX942" fmla="*/ 4100213 w 11625583"/>
              <a:gd name="connsiteY942" fmla="*/ 4113910 h 6380470"/>
              <a:gd name="connsiteX943" fmla="*/ 4164879 w 11625583"/>
              <a:gd name="connsiteY943" fmla="*/ 4178576 h 6380470"/>
              <a:gd name="connsiteX944" fmla="*/ 4100213 w 11625583"/>
              <a:gd name="connsiteY944" fmla="*/ 4243242 h 6380470"/>
              <a:gd name="connsiteX945" fmla="*/ 4035548 w 11625583"/>
              <a:gd name="connsiteY945" fmla="*/ 4178576 h 6380470"/>
              <a:gd name="connsiteX946" fmla="*/ 4100213 w 11625583"/>
              <a:gd name="connsiteY946" fmla="*/ 4113910 h 6380470"/>
              <a:gd name="connsiteX947" fmla="*/ 3947550 w 11625583"/>
              <a:gd name="connsiteY947" fmla="*/ 4113910 h 6380470"/>
              <a:gd name="connsiteX948" fmla="*/ 4012217 w 11625583"/>
              <a:gd name="connsiteY948" fmla="*/ 4178576 h 6380470"/>
              <a:gd name="connsiteX949" fmla="*/ 3947550 w 11625583"/>
              <a:gd name="connsiteY949" fmla="*/ 4243242 h 6380470"/>
              <a:gd name="connsiteX950" fmla="*/ 3882906 w 11625583"/>
              <a:gd name="connsiteY950" fmla="*/ 4178576 h 6380470"/>
              <a:gd name="connsiteX951" fmla="*/ 3947550 w 11625583"/>
              <a:gd name="connsiteY951" fmla="*/ 4113910 h 6380470"/>
              <a:gd name="connsiteX952" fmla="*/ 3791000 w 11625583"/>
              <a:gd name="connsiteY952" fmla="*/ 4113910 h 6380470"/>
              <a:gd name="connsiteX953" fmla="*/ 3855665 w 11625583"/>
              <a:gd name="connsiteY953" fmla="*/ 4178576 h 6380470"/>
              <a:gd name="connsiteX954" fmla="*/ 3791000 w 11625583"/>
              <a:gd name="connsiteY954" fmla="*/ 4243242 h 6380470"/>
              <a:gd name="connsiteX955" fmla="*/ 3726332 w 11625583"/>
              <a:gd name="connsiteY955" fmla="*/ 4178576 h 6380470"/>
              <a:gd name="connsiteX956" fmla="*/ 3791000 w 11625583"/>
              <a:gd name="connsiteY956" fmla="*/ 4113910 h 6380470"/>
              <a:gd name="connsiteX957" fmla="*/ 3630513 w 11625583"/>
              <a:gd name="connsiteY957" fmla="*/ 4113910 h 6380470"/>
              <a:gd name="connsiteX958" fmla="*/ 3695178 w 11625583"/>
              <a:gd name="connsiteY958" fmla="*/ 4178576 h 6380470"/>
              <a:gd name="connsiteX959" fmla="*/ 3630513 w 11625583"/>
              <a:gd name="connsiteY959" fmla="*/ 4243242 h 6380470"/>
              <a:gd name="connsiteX960" fmla="*/ 3565843 w 11625583"/>
              <a:gd name="connsiteY960" fmla="*/ 4178576 h 6380470"/>
              <a:gd name="connsiteX961" fmla="*/ 3630513 w 11625583"/>
              <a:gd name="connsiteY961" fmla="*/ 4113910 h 6380470"/>
              <a:gd name="connsiteX962" fmla="*/ 3481765 w 11625583"/>
              <a:gd name="connsiteY962" fmla="*/ 4113910 h 6380470"/>
              <a:gd name="connsiteX963" fmla="*/ 3546432 w 11625583"/>
              <a:gd name="connsiteY963" fmla="*/ 4178576 h 6380470"/>
              <a:gd name="connsiteX964" fmla="*/ 3481765 w 11625583"/>
              <a:gd name="connsiteY964" fmla="*/ 4243242 h 6380470"/>
              <a:gd name="connsiteX965" fmla="*/ 3417102 w 11625583"/>
              <a:gd name="connsiteY965" fmla="*/ 4178576 h 6380470"/>
              <a:gd name="connsiteX966" fmla="*/ 3481765 w 11625583"/>
              <a:gd name="connsiteY966" fmla="*/ 4113910 h 6380470"/>
              <a:gd name="connsiteX967" fmla="*/ 3321284 w 11625583"/>
              <a:gd name="connsiteY967" fmla="*/ 4113910 h 6380470"/>
              <a:gd name="connsiteX968" fmla="*/ 3385944 w 11625583"/>
              <a:gd name="connsiteY968" fmla="*/ 4178576 h 6380470"/>
              <a:gd name="connsiteX969" fmla="*/ 3321284 w 11625583"/>
              <a:gd name="connsiteY969" fmla="*/ 4243242 h 6380470"/>
              <a:gd name="connsiteX970" fmla="*/ 3256621 w 11625583"/>
              <a:gd name="connsiteY970" fmla="*/ 4178576 h 6380470"/>
              <a:gd name="connsiteX971" fmla="*/ 3321284 w 11625583"/>
              <a:gd name="connsiteY971" fmla="*/ 4113910 h 6380470"/>
              <a:gd name="connsiteX972" fmla="*/ 3172536 w 11625583"/>
              <a:gd name="connsiteY972" fmla="*/ 4113910 h 6380470"/>
              <a:gd name="connsiteX973" fmla="*/ 3237201 w 11625583"/>
              <a:gd name="connsiteY973" fmla="*/ 4178576 h 6380470"/>
              <a:gd name="connsiteX974" fmla="*/ 3172536 w 11625583"/>
              <a:gd name="connsiteY974" fmla="*/ 4243242 h 6380470"/>
              <a:gd name="connsiteX975" fmla="*/ 3107865 w 11625583"/>
              <a:gd name="connsiteY975" fmla="*/ 4178576 h 6380470"/>
              <a:gd name="connsiteX976" fmla="*/ 3172536 w 11625583"/>
              <a:gd name="connsiteY976" fmla="*/ 4113910 h 6380470"/>
              <a:gd name="connsiteX977" fmla="*/ 3012042 w 11625583"/>
              <a:gd name="connsiteY977" fmla="*/ 4113910 h 6380470"/>
              <a:gd name="connsiteX978" fmla="*/ 3076709 w 11625583"/>
              <a:gd name="connsiteY978" fmla="*/ 4178576 h 6380470"/>
              <a:gd name="connsiteX979" fmla="*/ 3012042 w 11625583"/>
              <a:gd name="connsiteY979" fmla="*/ 4243242 h 6380470"/>
              <a:gd name="connsiteX980" fmla="*/ 2947378 w 11625583"/>
              <a:gd name="connsiteY980" fmla="*/ 4178576 h 6380470"/>
              <a:gd name="connsiteX981" fmla="*/ 3012042 w 11625583"/>
              <a:gd name="connsiteY981" fmla="*/ 4113910 h 6380470"/>
              <a:gd name="connsiteX982" fmla="*/ 2855474 w 11625583"/>
              <a:gd name="connsiteY982" fmla="*/ 4113910 h 6380470"/>
              <a:gd name="connsiteX983" fmla="*/ 2920138 w 11625583"/>
              <a:gd name="connsiteY983" fmla="*/ 4178576 h 6380470"/>
              <a:gd name="connsiteX984" fmla="*/ 2855474 w 11625583"/>
              <a:gd name="connsiteY984" fmla="*/ 4243242 h 6380470"/>
              <a:gd name="connsiteX985" fmla="*/ 2790811 w 11625583"/>
              <a:gd name="connsiteY985" fmla="*/ 4178576 h 6380470"/>
              <a:gd name="connsiteX986" fmla="*/ 2855474 w 11625583"/>
              <a:gd name="connsiteY986" fmla="*/ 4113910 h 6380470"/>
              <a:gd name="connsiteX987" fmla="*/ 9384549 w 11625583"/>
              <a:gd name="connsiteY987" fmla="*/ 3972994 h 6380470"/>
              <a:gd name="connsiteX988" fmla="*/ 9449215 w 11625583"/>
              <a:gd name="connsiteY988" fmla="*/ 4037660 h 6380470"/>
              <a:gd name="connsiteX989" fmla="*/ 9384549 w 11625583"/>
              <a:gd name="connsiteY989" fmla="*/ 4102326 h 6380470"/>
              <a:gd name="connsiteX990" fmla="*/ 9319883 w 11625583"/>
              <a:gd name="connsiteY990" fmla="*/ 4037660 h 6380470"/>
              <a:gd name="connsiteX991" fmla="*/ 9384549 w 11625583"/>
              <a:gd name="connsiteY991" fmla="*/ 3972994 h 6380470"/>
              <a:gd name="connsiteX992" fmla="*/ 9227976 w 11625583"/>
              <a:gd name="connsiteY992" fmla="*/ 3972994 h 6380470"/>
              <a:gd name="connsiteX993" fmla="*/ 9292642 w 11625583"/>
              <a:gd name="connsiteY993" fmla="*/ 4037660 h 6380470"/>
              <a:gd name="connsiteX994" fmla="*/ 9227976 w 11625583"/>
              <a:gd name="connsiteY994" fmla="*/ 4102326 h 6380470"/>
              <a:gd name="connsiteX995" fmla="*/ 9163310 w 11625583"/>
              <a:gd name="connsiteY995" fmla="*/ 4037660 h 6380470"/>
              <a:gd name="connsiteX996" fmla="*/ 9227976 w 11625583"/>
              <a:gd name="connsiteY996" fmla="*/ 3972994 h 6380470"/>
              <a:gd name="connsiteX997" fmla="*/ 9075316 w 11625583"/>
              <a:gd name="connsiteY997" fmla="*/ 3972994 h 6380470"/>
              <a:gd name="connsiteX998" fmla="*/ 9139982 w 11625583"/>
              <a:gd name="connsiteY998" fmla="*/ 4037660 h 6380470"/>
              <a:gd name="connsiteX999" fmla="*/ 9075316 w 11625583"/>
              <a:gd name="connsiteY999" fmla="*/ 4102326 h 6380470"/>
              <a:gd name="connsiteX1000" fmla="*/ 9010650 w 11625583"/>
              <a:gd name="connsiteY1000" fmla="*/ 4037660 h 6380470"/>
              <a:gd name="connsiteX1001" fmla="*/ 9075316 w 11625583"/>
              <a:gd name="connsiteY1001" fmla="*/ 3972994 h 6380470"/>
              <a:gd name="connsiteX1002" fmla="*/ 8766084 w 11625583"/>
              <a:gd name="connsiteY1002" fmla="*/ 3972994 h 6380470"/>
              <a:gd name="connsiteX1003" fmla="*/ 8830750 w 11625583"/>
              <a:gd name="connsiteY1003" fmla="*/ 4037660 h 6380470"/>
              <a:gd name="connsiteX1004" fmla="*/ 8766084 w 11625583"/>
              <a:gd name="connsiteY1004" fmla="*/ 4102326 h 6380470"/>
              <a:gd name="connsiteX1005" fmla="*/ 8701418 w 11625583"/>
              <a:gd name="connsiteY1005" fmla="*/ 4037660 h 6380470"/>
              <a:gd name="connsiteX1006" fmla="*/ 8766084 w 11625583"/>
              <a:gd name="connsiteY1006" fmla="*/ 3972994 h 6380470"/>
              <a:gd name="connsiteX1007" fmla="*/ 6895035 w 11625583"/>
              <a:gd name="connsiteY1007" fmla="*/ 3972994 h 6380470"/>
              <a:gd name="connsiteX1008" fmla="*/ 6959701 w 11625583"/>
              <a:gd name="connsiteY1008" fmla="*/ 4037660 h 6380470"/>
              <a:gd name="connsiteX1009" fmla="*/ 6895035 w 11625583"/>
              <a:gd name="connsiteY1009" fmla="*/ 4102326 h 6380470"/>
              <a:gd name="connsiteX1010" fmla="*/ 6830369 w 11625583"/>
              <a:gd name="connsiteY1010" fmla="*/ 4037660 h 6380470"/>
              <a:gd name="connsiteX1011" fmla="*/ 6895035 w 11625583"/>
              <a:gd name="connsiteY1011" fmla="*/ 3972994 h 6380470"/>
              <a:gd name="connsiteX1012" fmla="*/ 6742375 w 11625583"/>
              <a:gd name="connsiteY1012" fmla="*/ 3972994 h 6380470"/>
              <a:gd name="connsiteX1013" fmla="*/ 6807041 w 11625583"/>
              <a:gd name="connsiteY1013" fmla="*/ 4037660 h 6380470"/>
              <a:gd name="connsiteX1014" fmla="*/ 6742375 w 11625583"/>
              <a:gd name="connsiteY1014" fmla="*/ 4102326 h 6380470"/>
              <a:gd name="connsiteX1015" fmla="*/ 6677709 w 11625583"/>
              <a:gd name="connsiteY1015" fmla="*/ 4037660 h 6380470"/>
              <a:gd name="connsiteX1016" fmla="*/ 6742375 w 11625583"/>
              <a:gd name="connsiteY1016" fmla="*/ 3972994 h 6380470"/>
              <a:gd name="connsiteX1017" fmla="*/ 6585802 w 11625583"/>
              <a:gd name="connsiteY1017" fmla="*/ 3972994 h 6380470"/>
              <a:gd name="connsiteX1018" fmla="*/ 6650468 w 11625583"/>
              <a:gd name="connsiteY1018" fmla="*/ 4037660 h 6380470"/>
              <a:gd name="connsiteX1019" fmla="*/ 6585802 w 11625583"/>
              <a:gd name="connsiteY1019" fmla="*/ 4102326 h 6380470"/>
              <a:gd name="connsiteX1020" fmla="*/ 6521136 w 11625583"/>
              <a:gd name="connsiteY1020" fmla="*/ 4037660 h 6380470"/>
              <a:gd name="connsiteX1021" fmla="*/ 6585802 w 11625583"/>
              <a:gd name="connsiteY1021" fmla="*/ 3972994 h 6380470"/>
              <a:gd name="connsiteX1022" fmla="*/ 6429228 w 11625583"/>
              <a:gd name="connsiteY1022" fmla="*/ 3972994 h 6380470"/>
              <a:gd name="connsiteX1023" fmla="*/ 6493894 w 11625583"/>
              <a:gd name="connsiteY1023" fmla="*/ 4037660 h 6380470"/>
              <a:gd name="connsiteX1024" fmla="*/ 6429228 w 11625583"/>
              <a:gd name="connsiteY1024" fmla="*/ 4102326 h 6380470"/>
              <a:gd name="connsiteX1025" fmla="*/ 6364562 w 11625583"/>
              <a:gd name="connsiteY1025" fmla="*/ 4037660 h 6380470"/>
              <a:gd name="connsiteX1026" fmla="*/ 6429228 w 11625583"/>
              <a:gd name="connsiteY1026" fmla="*/ 3972994 h 6380470"/>
              <a:gd name="connsiteX1027" fmla="*/ 6276569 w 11625583"/>
              <a:gd name="connsiteY1027" fmla="*/ 3972994 h 6380470"/>
              <a:gd name="connsiteX1028" fmla="*/ 6341235 w 11625583"/>
              <a:gd name="connsiteY1028" fmla="*/ 4037660 h 6380470"/>
              <a:gd name="connsiteX1029" fmla="*/ 6276569 w 11625583"/>
              <a:gd name="connsiteY1029" fmla="*/ 4102326 h 6380470"/>
              <a:gd name="connsiteX1030" fmla="*/ 6211903 w 11625583"/>
              <a:gd name="connsiteY1030" fmla="*/ 4037660 h 6380470"/>
              <a:gd name="connsiteX1031" fmla="*/ 6276569 w 11625583"/>
              <a:gd name="connsiteY1031" fmla="*/ 3972994 h 6380470"/>
              <a:gd name="connsiteX1032" fmla="*/ 6119998 w 11625583"/>
              <a:gd name="connsiteY1032" fmla="*/ 3972994 h 6380470"/>
              <a:gd name="connsiteX1033" fmla="*/ 6184664 w 11625583"/>
              <a:gd name="connsiteY1033" fmla="*/ 4037660 h 6380470"/>
              <a:gd name="connsiteX1034" fmla="*/ 6119998 w 11625583"/>
              <a:gd name="connsiteY1034" fmla="*/ 4102326 h 6380470"/>
              <a:gd name="connsiteX1035" fmla="*/ 6055332 w 11625583"/>
              <a:gd name="connsiteY1035" fmla="*/ 4037660 h 6380470"/>
              <a:gd name="connsiteX1036" fmla="*/ 6119998 w 11625583"/>
              <a:gd name="connsiteY1036" fmla="*/ 3972994 h 6380470"/>
              <a:gd name="connsiteX1037" fmla="*/ 5967338 w 11625583"/>
              <a:gd name="connsiteY1037" fmla="*/ 3972994 h 6380470"/>
              <a:gd name="connsiteX1038" fmla="*/ 6032004 w 11625583"/>
              <a:gd name="connsiteY1038" fmla="*/ 4037660 h 6380470"/>
              <a:gd name="connsiteX1039" fmla="*/ 5967338 w 11625583"/>
              <a:gd name="connsiteY1039" fmla="*/ 4102326 h 6380470"/>
              <a:gd name="connsiteX1040" fmla="*/ 5902672 w 11625583"/>
              <a:gd name="connsiteY1040" fmla="*/ 4037660 h 6380470"/>
              <a:gd name="connsiteX1041" fmla="*/ 5967338 w 11625583"/>
              <a:gd name="connsiteY1041" fmla="*/ 3972994 h 6380470"/>
              <a:gd name="connsiteX1042" fmla="*/ 5810774 w 11625583"/>
              <a:gd name="connsiteY1042" fmla="*/ 3972994 h 6380470"/>
              <a:gd name="connsiteX1043" fmla="*/ 5875431 w 11625583"/>
              <a:gd name="connsiteY1043" fmla="*/ 4037660 h 6380470"/>
              <a:gd name="connsiteX1044" fmla="*/ 5810774 w 11625583"/>
              <a:gd name="connsiteY1044" fmla="*/ 4102326 h 6380470"/>
              <a:gd name="connsiteX1045" fmla="*/ 5746103 w 11625583"/>
              <a:gd name="connsiteY1045" fmla="*/ 4037660 h 6380470"/>
              <a:gd name="connsiteX1046" fmla="*/ 5810774 w 11625583"/>
              <a:gd name="connsiteY1046" fmla="*/ 3972994 h 6380470"/>
              <a:gd name="connsiteX1047" fmla="*/ 3947550 w 11625583"/>
              <a:gd name="connsiteY1047" fmla="*/ 3972994 h 6380470"/>
              <a:gd name="connsiteX1048" fmla="*/ 4012219 w 11625583"/>
              <a:gd name="connsiteY1048" fmla="*/ 4037660 h 6380470"/>
              <a:gd name="connsiteX1049" fmla="*/ 3947550 w 11625583"/>
              <a:gd name="connsiteY1049" fmla="*/ 4102326 h 6380470"/>
              <a:gd name="connsiteX1050" fmla="*/ 3882909 w 11625583"/>
              <a:gd name="connsiteY1050" fmla="*/ 4037660 h 6380470"/>
              <a:gd name="connsiteX1051" fmla="*/ 3947550 w 11625583"/>
              <a:gd name="connsiteY1051" fmla="*/ 3972994 h 6380470"/>
              <a:gd name="connsiteX1052" fmla="*/ 3791003 w 11625583"/>
              <a:gd name="connsiteY1052" fmla="*/ 3972994 h 6380470"/>
              <a:gd name="connsiteX1053" fmla="*/ 3855668 w 11625583"/>
              <a:gd name="connsiteY1053" fmla="*/ 4037660 h 6380470"/>
              <a:gd name="connsiteX1054" fmla="*/ 3791003 w 11625583"/>
              <a:gd name="connsiteY1054" fmla="*/ 4102326 h 6380470"/>
              <a:gd name="connsiteX1055" fmla="*/ 3726335 w 11625583"/>
              <a:gd name="connsiteY1055" fmla="*/ 4037660 h 6380470"/>
              <a:gd name="connsiteX1056" fmla="*/ 3791003 w 11625583"/>
              <a:gd name="connsiteY1056" fmla="*/ 3972994 h 6380470"/>
              <a:gd name="connsiteX1057" fmla="*/ 3630515 w 11625583"/>
              <a:gd name="connsiteY1057" fmla="*/ 3972994 h 6380470"/>
              <a:gd name="connsiteX1058" fmla="*/ 3695180 w 11625583"/>
              <a:gd name="connsiteY1058" fmla="*/ 4037660 h 6380470"/>
              <a:gd name="connsiteX1059" fmla="*/ 3630515 w 11625583"/>
              <a:gd name="connsiteY1059" fmla="*/ 4102326 h 6380470"/>
              <a:gd name="connsiteX1060" fmla="*/ 3565845 w 11625583"/>
              <a:gd name="connsiteY1060" fmla="*/ 4037660 h 6380470"/>
              <a:gd name="connsiteX1061" fmla="*/ 3630515 w 11625583"/>
              <a:gd name="connsiteY1061" fmla="*/ 3972994 h 6380470"/>
              <a:gd name="connsiteX1062" fmla="*/ 3481768 w 11625583"/>
              <a:gd name="connsiteY1062" fmla="*/ 3972994 h 6380470"/>
              <a:gd name="connsiteX1063" fmla="*/ 3546437 w 11625583"/>
              <a:gd name="connsiteY1063" fmla="*/ 4037660 h 6380470"/>
              <a:gd name="connsiteX1064" fmla="*/ 3481768 w 11625583"/>
              <a:gd name="connsiteY1064" fmla="*/ 4102326 h 6380470"/>
              <a:gd name="connsiteX1065" fmla="*/ 3417106 w 11625583"/>
              <a:gd name="connsiteY1065" fmla="*/ 4037660 h 6380470"/>
              <a:gd name="connsiteX1066" fmla="*/ 3481768 w 11625583"/>
              <a:gd name="connsiteY1066" fmla="*/ 3972994 h 6380470"/>
              <a:gd name="connsiteX1067" fmla="*/ 3321288 w 11625583"/>
              <a:gd name="connsiteY1067" fmla="*/ 3972994 h 6380470"/>
              <a:gd name="connsiteX1068" fmla="*/ 3385949 w 11625583"/>
              <a:gd name="connsiteY1068" fmla="*/ 4037660 h 6380470"/>
              <a:gd name="connsiteX1069" fmla="*/ 3321288 w 11625583"/>
              <a:gd name="connsiteY1069" fmla="*/ 4102326 h 6380470"/>
              <a:gd name="connsiteX1070" fmla="*/ 3256626 w 11625583"/>
              <a:gd name="connsiteY1070" fmla="*/ 4037660 h 6380470"/>
              <a:gd name="connsiteX1071" fmla="*/ 3321288 w 11625583"/>
              <a:gd name="connsiteY1071" fmla="*/ 3972994 h 6380470"/>
              <a:gd name="connsiteX1072" fmla="*/ 3172540 w 11625583"/>
              <a:gd name="connsiteY1072" fmla="*/ 3972994 h 6380470"/>
              <a:gd name="connsiteX1073" fmla="*/ 3237208 w 11625583"/>
              <a:gd name="connsiteY1073" fmla="*/ 4037660 h 6380470"/>
              <a:gd name="connsiteX1074" fmla="*/ 3172540 w 11625583"/>
              <a:gd name="connsiteY1074" fmla="*/ 4102326 h 6380470"/>
              <a:gd name="connsiteX1075" fmla="*/ 3107868 w 11625583"/>
              <a:gd name="connsiteY1075" fmla="*/ 4037660 h 6380470"/>
              <a:gd name="connsiteX1076" fmla="*/ 3172540 w 11625583"/>
              <a:gd name="connsiteY1076" fmla="*/ 3972994 h 6380470"/>
              <a:gd name="connsiteX1077" fmla="*/ 3012045 w 11625583"/>
              <a:gd name="connsiteY1077" fmla="*/ 3972994 h 6380470"/>
              <a:gd name="connsiteX1078" fmla="*/ 3076711 w 11625583"/>
              <a:gd name="connsiteY1078" fmla="*/ 4037660 h 6380470"/>
              <a:gd name="connsiteX1079" fmla="*/ 3012045 w 11625583"/>
              <a:gd name="connsiteY1079" fmla="*/ 4102326 h 6380470"/>
              <a:gd name="connsiteX1080" fmla="*/ 2947381 w 11625583"/>
              <a:gd name="connsiteY1080" fmla="*/ 4037660 h 6380470"/>
              <a:gd name="connsiteX1081" fmla="*/ 3012045 w 11625583"/>
              <a:gd name="connsiteY1081" fmla="*/ 3972994 h 6380470"/>
              <a:gd name="connsiteX1082" fmla="*/ 2855478 w 11625583"/>
              <a:gd name="connsiteY1082" fmla="*/ 3972994 h 6380470"/>
              <a:gd name="connsiteX1083" fmla="*/ 2920141 w 11625583"/>
              <a:gd name="connsiteY1083" fmla="*/ 4037660 h 6380470"/>
              <a:gd name="connsiteX1084" fmla="*/ 2855478 w 11625583"/>
              <a:gd name="connsiteY1084" fmla="*/ 4102326 h 6380470"/>
              <a:gd name="connsiteX1085" fmla="*/ 2790815 w 11625583"/>
              <a:gd name="connsiteY1085" fmla="*/ 4037660 h 6380470"/>
              <a:gd name="connsiteX1086" fmla="*/ 2855478 w 11625583"/>
              <a:gd name="connsiteY1086" fmla="*/ 3972994 h 6380470"/>
              <a:gd name="connsiteX1087" fmla="*/ 6742377 w 11625583"/>
              <a:gd name="connsiteY1087" fmla="*/ 3835996 h 6380470"/>
              <a:gd name="connsiteX1088" fmla="*/ 6807043 w 11625583"/>
              <a:gd name="connsiteY1088" fmla="*/ 3900662 h 6380470"/>
              <a:gd name="connsiteX1089" fmla="*/ 6742377 w 11625583"/>
              <a:gd name="connsiteY1089" fmla="*/ 3965328 h 6380470"/>
              <a:gd name="connsiteX1090" fmla="*/ 6677711 w 11625583"/>
              <a:gd name="connsiteY1090" fmla="*/ 3900662 h 6380470"/>
              <a:gd name="connsiteX1091" fmla="*/ 6742377 w 11625583"/>
              <a:gd name="connsiteY1091" fmla="*/ 3835996 h 6380470"/>
              <a:gd name="connsiteX1092" fmla="*/ 6585804 w 11625583"/>
              <a:gd name="connsiteY1092" fmla="*/ 3835996 h 6380470"/>
              <a:gd name="connsiteX1093" fmla="*/ 6650470 w 11625583"/>
              <a:gd name="connsiteY1093" fmla="*/ 3900662 h 6380470"/>
              <a:gd name="connsiteX1094" fmla="*/ 6585804 w 11625583"/>
              <a:gd name="connsiteY1094" fmla="*/ 3965328 h 6380470"/>
              <a:gd name="connsiteX1095" fmla="*/ 6521138 w 11625583"/>
              <a:gd name="connsiteY1095" fmla="*/ 3900662 h 6380470"/>
              <a:gd name="connsiteX1096" fmla="*/ 6585804 w 11625583"/>
              <a:gd name="connsiteY1096" fmla="*/ 3835996 h 6380470"/>
              <a:gd name="connsiteX1097" fmla="*/ 6429231 w 11625583"/>
              <a:gd name="connsiteY1097" fmla="*/ 3835996 h 6380470"/>
              <a:gd name="connsiteX1098" fmla="*/ 6493897 w 11625583"/>
              <a:gd name="connsiteY1098" fmla="*/ 3900662 h 6380470"/>
              <a:gd name="connsiteX1099" fmla="*/ 6429231 w 11625583"/>
              <a:gd name="connsiteY1099" fmla="*/ 3965328 h 6380470"/>
              <a:gd name="connsiteX1100" fmla="*/ 6364565 w 11625583"/>
              <a:gd name="connsiteY1100" fmla="*/ 3900662 h 6380470"/>
              <a:gd name="connsiteX1101" fmla="*/ 6429231 w 11625583"/>
              <a:gd name="connsiteY1101" fmla="*/ 3835996 h 6380470"/>
              <a:gd name="connsiteX1102" fmla="*/ 6276571 w 11625583"/>
              <a:gd name="connsiteY1102" fmla="*/ 3835996 h 6380470"/>
              <a:gd name="connsiteX1103" fmla="*/ 6341237 w 11625583"/>
              <a:gd name="connsiteY1103" fmla="*/ 3900662 h 6380470"/>
              <a:gd name="connsiteX1104" fmla="*/ 6276571 w 11625583"/>
              <a:gd name="connsiteY1104" fmla="*/ 3965328 h 6380470"/>
              <a:gd name="connsiteX1105" fmla="*/ 6211905 w 11625583"/>
              <a:gd name="connsiteY1105" fmla="*/ 3900662 h 6380470"/>
              <a:gd name="connsiteX1106" fmla="*/ 6276571 w 11625583"/>
              <a:gd name="connsiteY1106" fmla="*/ 3835996 h 6380470"/>
              <a:gd name="connsiteX1107" fmla="*/ 6119999 w 11625583"/>
              <a:gd name="connsiteY1107" fmla="*/ 3835996 h 6380470"/>
              <a:gd name="connsiteX1108" fmla="*/ 6184665 w 11625583"/>
              <a:gd name="connsiteY1108" fmla="*/ 3900662 h 6380470"/>
              <a:gd name="connsiteX1109" fmla="*/ 6119999 w 11625583"/>
              <a:gd name="connsiteY1109" fmla="*/ 3965328 h 6380470"/>
              <a:gd name="connsiteX1110" fmla="*/ 6055333 w 11625583"/>
              <a:gd name="connsiteY1110" fmla="*/ 3900662 h 6380470"/>
              <a:gd name="connsiteX1111" fmla="*/ 6119999 w 11625583"/>
              <a:gd name="connsiteY1111" fmla="*/ 3835996 h 6380470"/>
              <a:gd name="connsiteX1112" fmla="*/ 5967339 w 11625583"/>
              <a:gd name="connsiteY1112" fmla="*/ 3835996 h 6380470"/>
              <a:gd name="connsiteX1113" fmla="*/ 6032005 w 11625583"/>
              <a:gd name="connsiteY1113" fmla="*/ 3900662 h 6380470"/>
              <a:gd name="connsiteX1114" fmla="*/ 5967339 w 11625583"/>
              <a:gd name="connsiteY1114" fmla="*/ 3965328 h 6380470"/>
              <a:gd name="connsiteX1115" fmla="*/ 5902673 w 11625583"/>
              <a:gd name="connsiteY1115" fmla="*/ 3900662 h 6380470"/>
              <a:gd name="connsiteX1116" fmla="*/ 5967339 w 11625583"/>
              <a:gd name="connsiteY1116" fmla="*/ 3835996 h 6380470"/>
              <a:gd name="connsiteX1117" fmla="*/ 5810776 w 11625583"/>
              <a:gd name="connsiteY1117" fmla="*/ 3835996 h 6380470"/>
              <a:gd name="connsiteX1118" fmla="*/ 5875432 w 11625583"/>
              <a:gd name="connsiteY1118" fmla="*/ 3900662 h 6380470"/>
              <a:gd name="connsiteX1119" fmla="*/ 5810776 w 11625583"/>
              <a:gd name="connsiteY1119" fmla="*/ 3965328 h 6380470"/>
              <a:gd name="connsiteX1120" fmla="*/ 5746106 w 11625583"/>
              <a:gd name="connsiteY1120" fmla="*/ 3900662 h 6380470"/>
              <a:gd name="connsiteX1121" fmla="*/ 5810776 w 11625583"/>
              <a:gd name="connsiteY1121" fmla="*/ 3835996 h 6380470"/>
              <a:gd name="connsiteX1122" fmla="*/ 3791007 w 11625583"/>
              <a:gd name="connsiteY1122" fmla="*/ 3835996 h 6380470"/>
              <a:gd name="connsiteX1123" fmla="*/ 3855672 w 11625583"/>
              <a:gd name="connsiteY1123" fmla="*/ 3900662 h 6380470"/>
              <a:gd name="connsiteX1124" fmla="*/ 3791007 w 11625583"/>
              <a:gd name="connsiteY1124" fmla="*/ 3965328 h 6380470"/>
              <a:gd name="connsiteX1125" fmla="*/ 3726338 w 11625583"/>
              <a:gd name="connsiteY1125" fmla="*/ 3900662 h 6380470"/>
              <a:gd name="connsiteX1126" fmla="*/ 3791007 w 11625583"/>
              <a:gd name="connsiteY1126" fmla="*/ 3835996 h 6380470"/>
              <a:gd name="connsiteX1127" fmla="*/ 3630520 w 11625583"/>
              <a:gd name="connsiteY1127" fmla="*/ 3835996 h 6380470"/>
              <a:gd name="connsiteX1128" fmla="*/ 3695188 w 11625583"/>
              <a:gd name="connsiteY1128" fmla="*/ 3900662 h 6380470"/>
              <a:gd name="connsiteX1129" fmla="*/ 3630520 w 11625583"/>
              <a:gd name="connsiteY1129" fmla="*/ 3965328 h 6380470"/>
              <a:gd name="connsiteX1130" fmla="*/ 3565851 w 11625583"/>
              <a:gd name="connsiteY1130" fmla="*/ 3900662 h 6380470"/>
              <a:gd name="connsiteX1131" fmla="*/ 3630520 w 11625583"/>
              <a:gd name="connsiteY1131" fmla="*/ 3835996 h 6380470"/>
              <a:gd name="connsiteX1132" fmla="*/ 3481771 w 11625583"/>
              <a:gd name="connsiteY1132" fmla="*/ 3835996 h 6380470"/>
              <a:gd name="connsiteX1133" fmla="*/ 3546439 w 11625583"/>
              <a:gd name="connsiteY1133" fmla="*/ 3900662 h 6380470"/>
              <a:gd name="connsiteX1134" fmla="*/ 3481771 w 11625583"/>
              <a:gd name="connsiteY1134" fmla="*/ 3965328 h 6380470"/>
              <a:gd name="connsiteX1135" fmla="*/ 3417108 w 11625583"/>
              <a:gd name="connsiteY1135" fmla="*/ 3900662 h 6380470"/>
              <a:gd name="connsiteX1136" fmla="*/ 3481771 w 11625583"/>
              <a:gd name="connsiteY1136" fmla="*/ 3835996 h 6380470"/>
              <a:gd name="connsiteX1137" fmla="*/ 3321291 w 11625583"/>
              <a:gd name="connsiteY1137" fmla="*/ 3835996 h 6380470"/>
              <a:gd name="connsiteX1138" fmla="*/ 3385951 w 11625583"/>
              <a:gd name="connsiteY1138" fmla="*/ 3900662 h 6380470"/>
              <a:gd name="connsiteX1139" fmla="*/ 3321291 w 11625583"/>
              <a:gd name="connsiteY1139" fmla="*/ 3965328 h 6380470"/>
              <a:gd name="connsiteX1140" fmla="*/ 3256626 w 11625583"/>
              <a:gd name="connsiteY1140" fmla="*/ 3900662 h 6380470"/>
              <a:gd name="connsiteX1141" fmla="*/ 3321291 w 11625583"/>
              <a:gd name="connsiteY1141" fmla="*/ 3835996 h 6380470"/>
              <a:gd name="connsiteX1142" fmla="*/ 3172544 w 11625583"/>
              <a:gd name="connsiteY1142" fmla="*/ 3835996 h 6380470"/>
              <a:gd name="connsiteX1143" fmla="*/ 3237212 w 11625583"/>
              <a:gd name="connsiteY1143" fmla="*/ 3900662 h 6380470"/>
              <a:gd name="connsiteX1144" fmla="*/ 3172544 w 11625583"/>
              <a:gd name="connsiteY1144" fmla="*/ 3965328 h 6380470"/>
              <a:gd name="connsiteX1145" fmla="*/ 3107874 w 11625583"/>
              <a:gd name="connsiteY1145" fmla="*/ 3900662 h 6380470"/>
              <a:gd name="connsiteX1146" fmla="*/ 3172544 w 11625583"/>
              <a:gd name="connsiteY1146" fmla="*/ 3835996 h 6380470"/>
              <a:gd name="connsiteX1147" fmla="*/ 3012048 w 11625583"/>
              <a:gd name="connsiteY1147" fmla="*/ 3835996 h 6380470"/>
              <a:gd name="connsiteX1148" fmla="*/ 3076714 w 11625583"/>
              <a:gd name="connsiteY1148" fmla="*/ 3900662 h 6380470"/>
              <a:gd name="connsiteX1149" fmla="*/ 3012048 w 11625583"/>
              <a:gd name="connsiteY1149" fmla="*/ 3965328 h 6380470"/>
              <a:gd name="connsiteX1150" fmla="*/ 2947384 w 11625583"/>
              <a:gd name="connsiteY1150" fmla="*/ 3900662 h 6380470"/>
              <a:gd name="connsiteX1151" fmla="*/ 3012048 w 11625583"/>
              <a:gd name="connsiteY1151" fmla="*/ 3835996 h 6380470"/>
              <a:gd name="connsiteX1152" fmla="*/ 9227976 w 11625583"/>
              <a:gd name="connsiteY1152" fmla="*/ 3835993 h 6380470"/>
              <a:gd name="connsiteX1153" fmla="*/ 9292642 w 11625583"/>
              <a:gd name="connsiteY1153" fmla="*/ 3900659 h 6380470"/>
              <a:gd name="connsiteX1154" fmla="*/ 9227976 w 11625583"/>
              <a:gd name="connsiteY1154" fmla="*/ 3965325 h 6380470"/>
              <a:gd name="connsiteX1155" fmla="*/ 9163310 w 11625583"/>
              <a:gd name="connsiteY1155" fmla="*/ 3900659 h 6380470"/>
              <a:gd name="connsiteX1156" fmla="*/ 9227976 w 11625583"/>
              <a:gd name="connsiteY1156" fmla="*/ 3835993 h 6380470"/>
              <a:gd name="connsiteX1157" fmla="*/ 8766084 w 11625583"/>
              <a:gd name="connsiteY1157" fmla="*/ 3835993 h 6380470"/>
              <a:gd name="connsiteX1158" fmla="*/ 8830750 w 11625583"/>
              <a:gd name="connsiteY1158" fmla="*/ 3900659 h 6380470"/>
              <a:gd name="connsiteX1159" fmla="*/ 8766084 w 11625583"/>
              <a:gd name="connsiteY1159" fmla="*/ 3965325 h 6380470"/>
              <a:gd name="connsiteX1160" fmla="*/ 8701418 w 11625583"/>
              <a:gd name="connsiteY1160" fmla="*/ 3900659 h 6380470"/>
              <a:gd name="connsiteX1161" fmla="*/ 8766084 w 11625583"/>
              <a:gd name="connsiteY1161" fmla="*/ 3835993 h 6380470"/>
              <a:gd name="connsiteX1162" fmla="*/ 7055521 w 11625583"/>
              <a:gd name="connsiteY1162" fmla="*/ 3835993 h 6380470"/>
              <a:gd name="connsiteX1163" fmla="*/ 7120187 w 11625583"/>
              <a:gd name="connsiteY1163" fmla="*/ 3900659 h 6380470"/>
              <a:gd name="connsiteX1164" fmla="*/ 7055521 w 11625583"/>
              <a:gd name="connsiteY1164" fmla="*/ 3965325 h 6380470"/>
              <a:gd name="connsiteX1165" fmla="*/ 6990855 w 11625583"/>
              <a:gd name="connsiteY1165" fmla="*/ 3900659 h 6380470"/>
              <a:gd name="connsiteX1166" fmla="*/ 7055521 w 11625583"/>
              <a:gd name="connsiteY1166" fmla="*/ 3835993 h 6380470"/>
              <a:gd name="connsiteX1167" fmla="*/ 6895035 w 11625583"/>
              <a:gd name="connsiteY1167" fmla="*/ 3835993 h 6380470"/>
              <a:gd name="connsiteX1168" fmla="*/ 6959701 w 11625583"/>
              <a:gd name="connsiteY1168" fmla="*/ 3900659 h 6380470"/>
              <a:gd name="connsiteX1169" fmla="*/ 6895035 w 11625583"/>
              <a:gd name="connsiteY1169" fmla="*/ 3965325 h 6380470"/>
              <a:gd name="connsiteX1170" fmla="*/ 6830369 w 11625583"/>
              <a:gd name="connsiteY1170" fmla="*/ 3900659 h 6380470"/>
              <a:gd name="connsiteX1171" fmla="*/ 6895035 w 11625583"/>
              <a:gd name="connsiteY1171" fmla="*/ 3835993 h 6380470"/>
              <a:gd name="connsiteX1172" fmla="*/ 9541125 w 11625583"/>
              <a:gd name="connsiteY1172" fmla="*/ 3695080 h 6380470"/>
              <a:gd name="connsiteX1173" fmla="*/ 9605791 w 11625583"/>
              <a:gd name="connsiteY1173" fmla="*/ 3759746 h 6380470"/>
              <a:gd name="connsiteX1174" fmla="*/ 9541125 w 11625583"/>
              <a:gd name="connsiteY1174" fmla="*/ 3824412 h 6380470"/>
              <a:gd name="connsiteX1175" fmla="*/ 9476459 w 11625583"/>
              <a:gd name="connsiteY1175" fmla="*/ 3759746 h 6380470"/>
              <a:gd name="connsiteX1176" fmla="*/ 9541125 w 11625583"/>
              <a:gd name="connsiteY1176" fmla="*/ 3695080 h 6380470"/>
              <a:gd name="connsiteX1177" fmla="*/ 8766086 w 11625583"/>
              <a:gd name="connsiteY1177" fmla="*/ 3695080 h 6380470"/>
              <a:gd name="connsiteX1178" fmla="*/ 8830752 w 11625583"/>
              <a:gd name="connsiteY1178" fmla="*/ 3759746 h 6380470"/>
              <a:gd name="connsiteX1179" fmla="*/ 8766086 w 11625583"/>
              <a:gd name="connsiteY1179" fmla="*/ 3824412 h 6380470"/>
              <a:gd name="connsiteX1180" fmla="*/ 8701420 w 11625583"/>
              <a:gd name="connsiteY1180" fmla="*/ 3759746 h 6380470"/>
              <a:gd name="connsiteX1181" fmla="*/ 8766086 w 11625583"/>
              <a:gd name="connsiteY1181" fmla="*/ 3695080 h 6380470"/>
              <a:gd name="connsiteX1182" fmla="*/ 8139793 w 11625583"/>
              <a:gd name="connsiteY1182" fmla="*/ 3695080 h 6380470"/>
              <a:gd name="connsiteX1183" fmla="*/ 8204459 w 11625583"/>
              <a:gd name="connsiteY1183" fmla="*/ 3759746 h 6380470"/>
              <a:gd name="connsiteX1184" fmla="*/ 8139793 w 11625583"/>
              <a:gd name="connsiteY1184" fmla="*/ 3824412 h 6380470"/>
              <a:gd name="connsiteX1185" fmla="*/ 8075127 w 11625583"/>
              <a:gd name="connsiteY1185" fmla="*/ 3759746 h 6380470"/>
              <a:gd name="connsiteX1186" fmla="*/ 8139793 w 11625583"/>
              <a:gd name="connsiteY1186" fmla="*/ 3695080 h 6380470"/>
              <a:gd name="connsiteX1187" fmla="*/ 7055523 w 11625583"/>
              <a:gd name="connsiteY1187" fmla="*/ 3695080 h 6380470"/>
              <a:gd name="connsiteX1188" fmla="*/ 7120189 w 11625583"/>
              <a:gd name="connsiteY1188" fmla="*/ 3759746 h 6380470"/>
              <a:gd name="connsiteX1189" fmla="*/ 7055523 w 11625583"/>
              <a:gd name="connsiteY1189" fmla="*/ 3824412 h 6380470"/>
              <a:gd name="connsiteX1190" fmla="*/ 6990857 w 11625583"/>
              <a:gd name="connsiteY1190" fmla="*/ 3759746 h 6380470"/>
              <a:gd name="connsiteX1191" fmla="*/ 7055523 w 11625583"/>
              <a:gd name="connsiteY1191" fmla="*/ 3695080 h 6380470"/>
              <a:gd name="connsiteX1192" fmla="*/ 6895037 w 11625583"/>
              <a:gd name="connsiteY1192" fmla="*/ 3695080 h 6380470"/>
              <a:gd name="connsiteX1193" fmla="*/ 6959703 w 11625583"/>
              <a:gd name="connsiteY1193" fmla="*/ 3759746 h 6380470"/>
              <a:gd name="connsiteX1194" fmla="*/ 6895037 w 11625583"/>
              <a:gd name="connsiteY1194" fmla="*/ 3824412 h 6380470"/>
              <a:gd name="connsiteX1195" fmla="*/ 6830371 w 11625583"/>
              <a:gd name="connsiteY1195" fmla="*/ 3759746 h 6380470"/>
              <a:gd name="connsiteX1196" fmla="*/ 6895037 w 11625583"/>
              <a:gd name="connsiteY1196" fmla="*/ 3695080 h 6380470"/>
              <a:gd name="connsiteX1197" fmla="*/ 6742377 w 11625583"/>
              <a:gd name="connsiteY1197" fmla="*/ 3695080 h 6380470"/>
              <a:gd name="connsiteX1198" fmla="*/ 6807043 w 11625583"/>
              <a:gd name="connsiteY1198" fmla="*/ 3759746 h 6380470"/>
              <a:gd name="connsiteX1199" fmla="*/ 6742377 w 11625583"/>
              <a:gd name="connsiteY1199" fmla="*/ 3824412 h 6380470"/>
              <a:gd name="connsiteX1200" fmla="*/ 6677711 w 11625583"/>
              <a:gd name="connsiteY1200" fmla="*/ 3759746 h 6380470"/>
              <a:gd name="connsiteX1201" fmla="*/ 6742377 w 11625583"/>
              <a:gd name="connsiteY1201" fmla="*/ 3695080 h 6380470"/>
              <a:gd name="connsiteX1202" fmla="*/ 6585804 w 11625583"/>
              <a:gd name="connsiteY1202" fmla="*/ 3695080 h 6380470"/>
              <a:gd name="connsiteX1203" fmla="*/ 6650470 w 11625583"/>
              <a:gd name="connsiteY1203" fmla="*/ 3759746 h 6380470"/>
              <a:gd name="connsiteX1204" fmla="*/ 6585804 w 11625583"/>
              <a:gd name="connsiteY1204" fmla="*/ 3824412 h 6380470"/>
              <a:gd name="connsiteX1205" fmla="*/ 6521138 w 11625583"/>
              <a:gd name="connsiteY1205" fmla="*/ 3759746 h 6380470"/>
              <a:gd name="connsiteX1206" fmla="*/ 6585804 w 11625583"/>
              <a:gd name="connsiteY1206" fmla="*/ 3695080 h 6380470"/>
              <a:gd name="connsiteX1207" fmla="*/ 6429231 w 11625583"/>
              <a:gd name="connsiteY1207" fmla="*/ 3695080 h 6380470"/>
              <a:gd name="connsiteX1208" fmla="*/ 6493897 w 11625583"/>
              <a:gd name="connsiteY1208" fmla="*/ 3759746 h 6380470"/>
              <a:gd name="connsiteX1209" fmla="*/ 6429231 w 11625583"/>
              <a:gd name="connsiteY1209" fmla="*/ 3824412 h 6380470"/>
              <a:gd name="connsiteX1210" fmla="*/ 6364565 w 11625583"/>
              <a:gd name="connsiteY1210" fmla="*/ 3759746 h 6380470"/>
              <a:gd name="connsiteX1211" fmla="*/ 6429231 w 11625583"/>
              <a:gd name="connsiteY1211" fmla="*/ 3695080 h 6380470"/>
              <a:gd name="connsiteX1212" fmla="*/ 6276571 w 11625583"/>
              <a:gd name="connsiteY1212" fmla="*/ 3695080 h 6380470"/>
              <a:gd name="connsiteX1213" fmla="*/ 6341237 w 11625583"/>
              <a:gd name="connsiteY1213" fmla="*/ 3759746 h 6380470"/>
              <a:gd name="connsiteX1214" fmla="*/ 6276571 w 11625583"/>
              <a:gd name="connsiteY1214" fmla="*/ 3824412 h 6380470"/>
              <a:gd name="connsiteX1215" fmla="*/ 6211905 w 11625583"/>
              <a:gd name="connsiteY1215" fmla="*/ 3759746 h 6380470"/>
              <a:gd name="connsiteX1216" fmla="*/ 6276571 w 11625583"/>
              <a:gd name="connsiteY1216" fmla="*/ 3695080 h 6380470"/>
              <a:gd name="connsiteX1217" fmla="*/ 6119999 w 11625583"/>
              <a:gd name="connsiteY1217" fmla="*/ 3695080 h 6380470"/>
              <a:gd name="connsiteX1218" fmla="*/ 6184665 w 11625583"/>
              <a:gd name="connsiteY1218" fmla="*/ 3759746 h 6380470"/>
              <a:gd name="connsiteX1219" fmla="*/ 6119999 w 11625583"/>
              <a:gd name="connsiteY1219" fmla="*/ 3824412 h 6380470"/>
              <a:gd name="connsiteX1220" fmla="*/ 6055333 w 11625583"/>
              <a:gd name="connsiteY1220" fmla="*/ 3759746 h 6380470"/>
              <a:gd name="connsiteX1221" fmla="*/ 6119999 w 11625583"/>
              <a:gd name="connsiteY1221" fmla="*/ 3695080 h 6380470"/>
              <a:gd name="connsiteX1222" fmla="*/ 5967339 w 11625583"/>
              <a:gd name="connsiteY1222" fmla="*/ 3695080 h 6380470"/>
              <a:gd name="connsiteX1223" fmla="*/ 6032005 w 11625583"/>
              <a:gd name="connsiteY1223" fmla="*/ 3759746 h 6380470"/>
              <a:gd name="connsiteX1224" fmla="*/ 5967339 w 11625583"/>
              <a:gd name="connsiteY1224" fmla="*/ 3824412 h 6380470"/>
              <a:gd name="connsiteX1225" fmla="*/ 5902673 w 11625583"/>
              <a:gd name="connsiteY1225" fmla="*/ 3759746 h 6380470"/>
              <a:gd name="connsiteX1226" fmla="*/ 5967339 w 11625583"/>
              <a:gd name="connsiteY1226" fmla="*/ 3695080 h 6380470"/>
              <a:gd name="connsiteX1227" fmla="*/ 5810776 w 11625583"/>
              <a:gd name="connsiteY1227" fmla="*/ 3695080 h 6380470"/>
              <a:gd name="connsiteX1228" fmla="*/ 5875432 w 11625583"/>
              <a:gd name="connsiteY1228" fmla="*/ 3759746 h 6380470"/>
              <a:gd name="connsiteX1229" fmla="*/ 5810776 w 11625583"/>
              <a:gd name="connsiteY1229" fmla="*/ 3824412 h 6380470"/>
              <a:gd name="connsiteX1230" fmla="*/ 5746106 w 11625583"/>
              <a:gd name="connsiteY1230" fmla="*/ 3759746 h 6380470"/>
              <a:gd name="connsiteX1231" fmla="*/ 5810776 w 11625583"/>
              <a:gd name="connsiteY1231" fmla="*/ 3695080 h 6380470"/>
              <a:gd name="connsiteX1232" fmla="*/ 5658107 w 11625583"/>
              <a:gd name="connsiteY1232" fmla="*/ 3695080 h 6380470"/>
              <a:gd name="connsiteX1233" fmla="*/ 5722777 w 11625583"/>
              <a:gd name="connsiteY1233" fmla="*/ 3759746 h 6380470"/>
              <a:gd name="connsiteX1234" fmla="*/ 5658107 w 11625583"/>
              <a:gd name="connsiteY1234" fmla="*/ 3824412 h 6380470"/>
              <a:gd name="connsiteX1235" fmla="*/ 5593441 w 11625583"/>
              <a:gd name="connsiteY1235" fmla="*/ 3759746 h 6380470"/>
              <a:gd name="connsiteX1236" fmla="*/ 5658107 w 11625583"/>
              <a:gd name="connsiteY1236" fmla="*/ 3695080 h 6380470"/>
              <a:gd name="connsiteX1237" fmla="*/ 5501536 w 11625583"/>
              <a:gd name="connsiteY1237" fmla="*/ 3695080 h 6380470"/>
              <a:gd name="connsiteX1238" fmla="*/ 5566201 w 11625583"/>
              <a:gd name="connsiteY1238" fmla="*/ 3759746 h 6380470"/>
              <a:gd name="connsiteX1239" fmla="*/ 5501536 w 11625583"/>
              <a:gd name="connsiteY1239" fmla="*/ 3824412 h 6380470"/>
              <a:gd name="connsiteX1240" fmla="*/ 5436873 w 11625583"/>
              <a:gd name="connsiteY1240" fmla="*/ 3759746 h 6380470"/>
              <a:gd name="connsiteX1241" fmla="*/ 5501536 w 11625583"/>
              <a:gd name="connsiteY1241" fmla="*/ 3695080 h 6380470"/>
              <a:gd name="connsiteX1242" fmla="*/ 5348883 w 11625583"/>
              <a:gd name="connsiteY1242" fmla="*/ 3695080 h 6380470"/>
              <a:gd name="connsiteX1243" fmla="*/ 5413547 w 11625583"/>
              <a:gd name="connsiteY1243" fmla="*/ 3759746 h 6380470"/>
              <a:gd name="connsiteX1244" fmla="*/ 5348883 w 11625583"/>
              <a:gd name="connsiteY1244" fmla="*/ 3824412 h 6380470"/>
              <a:gd name="connsiteX1245" fmla="*/ 5284218 w 11625583"/>
              <a:gd name="connsiteY1245" fmla="*/ 3759746 h 6380470"/>
              <a:gd name="connsiteX1246" fmla="*/ 5348883 w 11625583"/>
              <a:gd name="connsiteY1246" fmla="*/ 3695080 h 6380470"/>
              <a:gd name="connsiteX1247" fmla="*/ 5192310 w 11625583"/>
              <a:gd name="connsiteY1247" fmla="*/ 3695080 h 6380470"/>
              <a:gd name="connsiteX1248" fmla="*/ 5256975 w 11625583"/>
              <a:gd name="connsiteY1248" fmla="*/ 3759746 h 6380470"/>
              <a:gd name="connsiteX1249" fmla="*/ 5192310 w 11625583"/>
              <a:gd name="connsiteY1249" fmla="*/ 3824412 h 6380470"/>
              <a:gd name="connsiteX1250" fmla="*/ 5127644 w 11625583"/>
              <a:gd name="connsiteY1250" fmla="*/ 3759746 h 6380470"/>
              <a:gd name="connsiteX1251" fmla="*/ 5192310 w 11625583"/>
              <a:gd name="connsiteY1251" fmla="*/ 3695080 h 6380470"/>
              <a:gd name="connsiteX1252" fmla="*/ 3481774 w 11625583"/>
              <a:gd name="connsiteY1252" fmla="*/ 3695080 h 6380470"/>
              <a:gd name="connsiteX1253" fmla="*/ 3546442 w 11625583"/>
              <a:gd name="connsiteY1253" fmla="*/ 3759746 h 6380470"/>
              <a:gd name="connsiteX1254" fmla="*/ 3481774 w 11625583"/>
              <a:gd name="connsiteY1254" fmla="*/ 3824412 h 6380470"/>
              <a:gd name="connsiteX1255" fmla="*/ 3417111 w 11625583"/>
              <a:gd name="connsiteY1255" fmla="*/ 3759746 h 6380470"/>
              <a:gd name="connsiteX1256" fmla="*/ 3481774 w 11625583"/>
              <a:gd name="connsiteY1256" fmla="*/ 3695080 h 6380470"/>
              <a:gd name="connsiteX1257" fmla="*/ 3321295 w 11625583"/>
              <a:gd name="connsiteY1257" fmla="*/ 3695080 h 6380470"/>
              <a:gd name="connsiteX1258" fmla="*/ 3385953 w 11625583"/>
              <a:gd name="connsiteY1258" fmla="*/ 3759746 h 6380470"/>
              <a:gd name="connsiteX1259" fmla="*/ 3321295 w 11625583"/>
              <a:gd name="connsiteY1259" fmla="*/ 3824412 h 6380470"/>
              <a:gd name="connsiteX1260" fmla="*/ 3256628 w 11625583"/>
              <a:gd name="connsiteY1260" fmla="*/ 3759746 h 6380470"/>
              <a:gd name="connsiteX1261" fmla="*/ 3321295 w 11625583"/>
              <a:gd name="connsiteY1261" fmla="*/ 3695080 h 6380470"/>
              <a:gd name="connsiteX1262" fmla="*/ 3172548 w 11625583"/>
              <a:gd name="connsiteY1262" fmla="*/ 3695080 h 6380470"/>
              <a:gd name="connsiteX1263" fmla="*/ 3237218 w 11625583"/>
              <a:gd name="connsiteY1263" fmla="*/ 3759746 h 6380470"/>
              <a:gd name="connsiteX1264" fmla="*/ 3172548 w 11625583"/>
              <a:gd name="connsiteY1264" fmla="*/ 3824412 h 6380470"/>
              <a:gd name="connsiteX1265" fmla="*/ 3107876 w 11625583"/>
              <a:gd name="connsiteY1265" fmla="*/ 3759746 h 6380470"/>
              <a:gd name="connsiteX1266" fmla="*/ 3172548 w 11625583"/>
              <a:gd name="connsiteY1266" fmla="*/ 3695080 h 6380470"/>
              <a:gd name="connsiteX1267" fmla="*/ 3012051 w 11625583"/>
              <a:gd name="connsiteY1267" fmla="*/ 3695080 h 6380470"/>
              <a:gd name="connsiteX1268" fmla="*/ 3076718 w 11625583"/>
              <a:gd name="connsiteY1268" fmla="*/ 3759746 h 6380470"/>
              <a:gd name="connsiteX1269" fmla="*/ 3012051 w 11625583"/>
              <a:gd name="connsiteY1269" fmla="*/ 3824412 h 6380470"/>
              <a:gd name="connsiteX1270" fmla="*/ 2947387 w 11625583"/>
              <a:gd name="connsiteY1270" fmla="*/ 3759746 h 6380470"/>
              <a:gd name="connsiteX1271" fmla="*/ 3012051 w 11625583"/>
              <a:gd name="connsiteY1271" fmla="*/ 3695080 h 6380470"/>
              <a:gd name="connsiteX1272" fmla="*/ 9541125 w 11625583"/>
              <a:gd name="connsiteY1272" fmla="*/ 3550250 h 6380470"/>
              <a:gd name="connsiteX1273" fmla="*/ 9605791 w 11625583"/>
              <a:gd name="connsiteY1273" fmla="*/ 3614916 h 6380470"/>
              <a:gd name="connsiteX1274" fmla="*/ 9541125 w 11625583"/>
              <a:gd name="connsiteY1274" fmla="*/ 3679582 h 6380470"/>
              <a:gd name="connsiteX1275" fmla="*/ 9476459 w 11625583"/>
              <a:gd name="connsiteY1275" fmla="*/ 3614916 h 6380470"/>
              <a:gd name="connsiteX1276" fmla="*/ 9541125 w 11625583"/>
              <a:gd name="connsiteY1276" fmla="*/ 3550250 h 6380470"/>
              <a:gd name="connsiteX1277" fmla="*/ 8914831 w 11625583"/>
              <a:gd name="connsiteY1277" fmla="*/ 3550250 h 6380470"/>
              <a:gd name="connsiteX1278" fmla="*/ 8979497 w 11625583"/>
              <a:gd name="connsiteY1278" fmla="*/ 3614916 h 6380470"/>
              <a:gd name="connsiteX1279" fmla="*/ 8914831 w 11625583"/>
              <a:gd name="connsiteY1279" fmla="*/ 3679582 h 6380470"/>
              <a:gd name="connsiteX1280" fmla="*/ 8850165 w 11625583"/>
              <a:gd name="connsiteY1280" fmla="*/ 3614916 h 6380470"/>
              <a:gd name="connsiteX1281" fmla="*/ 8914831 w 11625583"/>
              <a:gd name="connsiteY1281" fmla="*/ 3550250 h 6380470"/>
              <a:gd name="connsiteX1282" fmla="*/ 8766086 w 11625583"/>
              <a:gd name="connsiteY1282" fmla="*/ 3550250 h 6380470"/>
              <a:gd name="connsiteX1283" fmla="*/ 8830752 w 11625583"/>
              <a:gd name="connsiteY1283" fmla="*/ 3614916 h 6380470"/>
              <a:gd name="connsiteX1284" fmla="*/ 8766086 w 11625583"/>
              <a:gd name="connsiteY1284" fmla="*/ 3679582 h 6380470"/>
              <a:gd name="connsiteX1285" fmla="*/ 8701420 w 11625583"/>
              <a:gd name="connsiteY1285" fmla="*/ 3614916 h 6380470"/>
              <a:gd name="connsiteX1286" fmla="*/ 8766086 w 11625583"/>
              <a:gd name="connsiteY1286" fmla="*/ 3550250 h 6380470"/>
              <a:gd name="connsiteX1287" fmla="*/ 7987135 w 11625583"/>
              <a:gd name="connsiteY1287" fmla="*/ 3550250 h 6380470"/>
              <a:gd name="connsiteX1288" fmla="*/ 8051801 w 11625583"/>
              <a:gd name="connsiteY1288" fmla="*/ 3614916 h 6380470"/>
              <a:gd name="connsiteX1289" fmla="*/ 7987135 w 11625583"/>
              <a:gd name="connsiteY1289" fmla="*/ 3679582 h 6380470"/>
              <a:gd name="connsiteX1290" fmla="*/ 7922469 w 11625583"/>
              <a:gd name="connsiteY1290" fmla="*/ 3614916 h 6380470"/>
              <a:gd name="connsiteX1291" fmla="*/ 7987135 w 11625583"/>
              <a:gd name="connsiteY1291" fmla="*/ 3550250 h 6380470"/>
              <a:gd name="connsiteX1292" fmla="*/ 7212096 w 11625583"/>
              <a:gd name="connsiteY1292" fmla="*/ 3550250 h 6380470"/>
              <a:gd name="connsiteX1293" fmla="*/ 7276762 w 11625583"/>
              <a:gd name="connsiteY1293" fmla="*/ 3614916 h 6380470"/>
              <a:gd name="connsiteX1294" fmla="*/ 7212096 w 11625583"/>
              <a:gd name="connsiteY1294" fmla="*/ 3679582 h 6380470"/>
              <a:gd name="connsiteX1295" fmla="*/ 7147430 w 11625583"/>
              <a:gd name="connsiteY1295" fmla="*/ 3614916 h 6380470"/>
              <a:gd name="connsiteX1296" fmla="*/ 7212096 w 11625583"/>
              <a:gd name="connsiteY1296" fmla="*/ 3550250 h 6380470"/>
              <a:gd name="connsiteX1297" fmla="*/ 7055523 w 11625583"/>
              <a:gd name="connsiteY1297" fmla="*/ 3550250 h 6380470"/>
              <a:gd name="connsiteX1298" fmla="*/ 7120189 w 11625583"/>
              <a:gd name="connsiteY1298" fmla="*/ 3614916 h 6380470"/>
              <a:gd name="connsiteX1299" fmla="*/ 7055523 w 11625583"/>
              <a:gd name="connsiteY1299" fmla="*/ 3679582 h 6380470"/>
              <a:gd name="connsiteX1300" fmla="*/ 6990857 w 11625583"/>
              <a:gd name="connsiteY1300" fmla="*/ 3614916 h 6380470"/>
              <a:gd name="connsiteX1301" fmla="*/ 7055523 w 11625583"/>
              <a:gd name="connsiteY1301" fmla="*/ 3550250 h 6380470"/>
              <a:gd name="connsiteX1302" fmla="*/ 6895037 w 11625583"/>
              <a:gd name="connsiteY1302" fmla="*/ 3550250 h 6380470"/>
              <a:gd name="connsiteX1303" fmla="*/ 6959703 w 11625583"/>
              <a:gd name="connsiteY1303" fmla="*/ 3614916 h 6380470"/>
              <a:gd name="connsiteX1304" fmla="*/ 6895037 w 11625583"/>
              <a:gd name="connsiteY1304" fmla="*/ 3679582 h 6380470"/>
              <a:gd name="connsiteX1305" fmla="*/ 6830371 w 11625583"/>
              <a:gd name="connsiteY1305" fmla="*/ 3614916 h 6380470"/>
              <a:gd name="connsiteX1306" fmla="*/ 6895037 w 11625583"/>
              <a:gd name="connsiteY1306" fmla="*/ 3550250 h 6380470"/>
              <a:gd name="connsiteX1307" fmla="*/ 6742377 w 11625583"/>
              <a:gd name="connsiteY1307" fmla="*/ 3550250 h 6380470"/>
              <a:gd name="connsiteX1308" fmla="*/ 6807043 w 11625583"/>
              <a:gd name="connsiteY1308" fmla="*/ 3614916 h 6380470"/>
              <a:gd name="connsiteX1309" fmla="*/ 6742377 w 11625583"/>
              <a:gd name="connsiteY1309" fmla="*/ 3679582 h 6380470"/>
              <a:gd name="connsiteX1310" fmla="*/ 6677711 w 11625583"/>
              <a:gd name="connsiteY1310" fmla="*/ 3614916 h 6380470"/>
              <a:gd name="connsiteX1311" fmla="*/ 6742377 w 11625583"/>
              <a:gd name="connsiteY1311" fmla="*/ 3550250 h 6380470"/>
              <a:gd name="connsiteX1312" fmla="*/ 6585804 w 11625583"/>
              <a:gd name="connsiteY1312" fmla="*/ 3550250 h 6380470"/>
              <a:gd name="connsiteX1313" fmla="*/ 6650470 w 11625583"/>
              <a:gd name="connsiteY1313" fmla="*/ 3614916 h 6380470"/>
              <a:gd name="connsiteX1314" fmla="*/ 6585804 w 11625583"/>
              <a:gd name="connsiteY1314" fmla="*/ 3679582 h 6380470"/>
              <a:gd name="connsiteX1315" fmla="*/ 6521138 w 11625583"/>
              <a:gd name="connsiteY1315" fmla="*/ 3614916 h 6380470"/>
              <a:gd name="connsiteX1316" fmla="*/ 6585804 w 11625583"/>
              <a:gd name="connsiteY1316" fmla="*/ 3550250 h 6380470"/>
              <a:gd name="connsiteX1317" fmla="*/ 6429231 w 11625583"/>
              <a:gd name="connsiteY1317" fmla="*/ 3550250 h 6380470"/>
              <a:gd name="connsiteX1318" fmla="*/ 6493897 w 11625583"/>
              <a:gd name="connsiteY1318" fmla="*/ 3614916 h 6380470"/>
              <a:gd name="connsiteX1319" fmla="*/ 6429231 w 11625583"/>
              <a:gd name="connsiteY1319" fmla="*/ 3679582 h 6380470"/>
              <a:gd name="connsiteX1320" fmla="*/ 6364565 w 11625583"/>
              <a:gd name="connsiteY1320" fmla="*/ 3614916 h 6380470"/>
              <a:gd name="connsiteX1321" fmla="*/ 6429231 w 11625583"/>
              <a:gd name="connsiteY1321" fmla="*/ 3550250 h 6380470"/>
              <a:gd name="connsiteX1322" fmla="*/ 6276571 w 11625583"/>
              <a:gd name="connsiteY1322" fmla="*/ 3550250 h 6380470"/>
              <a:gd name="connsiteX1323" fmla="*/ 6341237 w 11625583"/>
              <a:gd name="connsiteY1323" fmla="*/ 3614916 h 6380470"/>
              <a:gd name="connsiteX1324" fmla="*/ 6276571 w 11625583"/>
              <a:gd name="connsiteY1324" fmla="*/ 3679582 h 6380470"/>
              <a:gd name="connsiteX1325" fmla="*/ 6211905 w 11625583"/>
              <a:gd name="connsiteY1325" fmla="*/ 3614916 h 6380470"/>
              <a:gd name="connsiteX1326" fmla="*/ 6276571 w 11625583"/>
              <a:gd name="connsiteY1326" fmla="*/ 3550250 h 6380470"/>
              <a:gd name="connsiteX1327" fmla="*/ 6119999 w 11625583"/>
              <a:gd name="connsiteY1327" fmla="*/ 3550250 h 6380470"/>
              <a:gd name="connsiteX1328" fmla="*/ 6184665 w 11625583"/>
              <a:gd name="connsiteY1328" fmla="*/ 3614916 h 6380470"/>
              <a:gd name="connsiteX1329" fmla="*/ 6119999 w 11625583"/>
              <a:gd name="connsiteY1329" fmla="*/ 3679582 h 6380470"/>
              <a:gd name="connsiteX1330" fmla="*/ 6055333 w 11625583"/>
              <a:gd name="connsiteY1330" fmla="*/ 3614916 h 6380470"/>
              <a:gd name="connsiteX1331" fmla="*/ 6119999 w 11625583"/>
              <a:gd name="connsiteY1331" fmla="*/ 3550250 h 6380470"/>
              <a:gd name="connsiteX1332" fmla="*/ 5967339 w 11625583"/>
              <a:gd name="connsiteY1332" fmla="*/ 3550250 h 6380470"/>
              <a:gd name="connsiteX1333" fmla="*/ 6032005 w 11625583"/>
              <a:gd name="connsiteY1333" fmla="*/ 3614916 h 6380470"/>
              <a:gd name="connsiteX1334" fmla="*/ 5967339 w 11625583"/>
              <a:gd name="connsiteY1334" fmla="*/ 3679582 h 6380470"/>
              <a:gd name="connsiteX1335" fmla="*/ 5902673 w 11625583"/>
              <a:gd name="connsiteY1335" fmla="*/ 3614916 h 6380470"/>
              <a:gd name="connsiteX1336" fmla="*/ 5967339 w 11625583"/>
              <a:gd name="connsiteY1336" fmla="*/ 3550250 h 6380470"/>
              <a:gd name="connsiteX1337" fmla="*/ 5810778 w 11625583"/>
              <a:gd name="connsiteY1337" fmla="*/ 3550250 h 6380470"/>
              <a:gd name="connsiteX1338" fmla="*/ 5875432 w 11625583"/>
              <a:gd name="connsiteY1338" fmla="*/ 3614916 h 6380470"/>
              <a:gd name="connsiteX1339" fmla="*/ 5810778 w 11625583"/>
              <a:gd name="connsiteY1339" fmla="*/ 3679582 h 6380470"/>
              <a:gd name="connsiteX1340" fmla="*/ 5746106 w 11625583"/>
              <a:gd name="connsiteY1340" fmla="*/ 3614916 h 6380470"/>
              <a:gd name="connsiteX1341" fmla="*/ 5810778 w 11625583"/>
              <a:gd name="connsiteY1341" fmla="*/ 3550250 h 6380470"/>
              <a:gd name="connsiteX1342" fmla="*/ 5658107 w 11625583"/>
              <a:gd name="connsiteY1342" fmla="*/ 3550250 h 6380470"/>
              <a:gd name="connsiteX1343" fmla="*/ 5722777 w 11625583"/>
              <a:gd name="connsiteY1343" fmla="*/ 3614916 h 6380470"/>
              <a:gd name="connsiteX1344" fmla="*/ 5658107 w 11625583"/>
              <a:gd name="connsiteY1344" fmla="*/ 3679582 h 6380470"/>
              <a:gd name="connsiteX1345" fmla="*/ 5593441 w 11625583"/>
              <a:gd name="connsiteY1345" fmla="*/ 3614916 h 6380470"/>
              <a:gd name="connsiteX1346" fmla="*/ 5658107 w 11625583"/>
              <a:gd name="connsiteY1346" fmla="*/ 3550250 h 6380470"/>
              <a:gd name="connsiteX1347" fmla="*/ 5501536 w 11625583"/>
              <a:gd name="connsiteY1347" fmla="*/ 3550250 h 6380470"/>
              <a:gd name="connsiteX1348" fmla="*/ 5566201 w 11625583"/>
              <a:gd name="connsiteY1348" fmla="*/ 3614916 h 6380470"/>
              <a:gd name="connsiteX1349" fmla="*/ 5501536 w 11625583"/>
              <a:gd name="connsiteY1349" fmla="*/ 3679582 h 6380470"/>
              <a:gd name="connsiteX1350" fmla="*/ 5436874 w 11625583"/>
              <a:gd name="connsiteY1350" fmla="*/ 3614916 h 6380470"/>
              <a:gd name="connsiteX1351" fmla="*/ 5501536 w 11625583"/>
              <a:gd name="connsiteY1351" fmla="*/ 3550250 h 6380470"/>
              <a:gd name="connsiteX1352" fmla="*/ 5348883 w 11625583"/>
              <a:gd name="connsiteY1352" fmla="*/ 3550250 h 6380470"/>
              <a:gd name="connsiteX1353" fmla="*/ 5413547 w 11625583"/>
              <a:gd name="connsiteY1353" fmla="*/ 3614916 h 6380470"/>
              <a:gd name="connsiteX1354" fmla="*/ 5348883 w 11625583"/>
              <a:gd name="connsiteY1354" fmla="*/ 3679582 h 6380470"/>
              <a:gd name="connsiteX1355" fmla="*/ 5284218 w 11625583"/>
              <a:gd name="connsiteY1355" fmla="*/ 3614916 h 6380470"/>
              <a:gd name="connsiteX1356" fmla="*/ 5348883 w 11625583"/>
              <a:gd name="connsiteY1356" fmla="*/ 3550250 h 6380470"/>
              <a:gd name="connsiteX1357" fmla="*/ 5192310 w 11625583"/>
              <a:gd name="connsiteY1357" fmla="*/ 3550250 h 6380470"/>
              <a:gd name="connsiteX1358" fmla="*/ 5256975 w 11625583"/>
              <a:gd name="connsiteY1358" fmla="*/ 3614916 h 6380470"/>
              <a:gd name="connsiteX1359" fmla="*/ 5192310 w 11625583"/>
              <a:gd name="connsiteY1359" fmla="*/ 3679582 h 6380470"/>
              <a:gd name="connsiteX1360" fmla="*/ 5127644 w 11625583"/>
              <a:gd name="connsiteY1360" fmla="*/ 3614916 h 6380470"/>
              <a:gd name="connsiteX1361" fmla="*/ 5192310 w 11625583"/>
              <a:gd name="connsiteY1361" fmla="*/ 3550250 h 6380470"/>
              <a:gd name="connsiteX1362" fmla="*/ 5031828 w 11625583"/>
              <a:gd name="connsiteY1362" fmla="*/ 3550250 h 6380470"/>
              <a:gd name="connsiteX1363" fmla="*/ 5096490 w 11625583"/>
              <a:gd name="connsiteY1363" fmla="*/ 3614916 h 6380470"/>
              <a:gd name="connsiteX1364" fmla="*/ 5031828 w 11625583"/>
              <a:gd name="connsiteY1364" fmla="*/ 3679582 h 6380470"/>
              <a:gd name="connsiteX1365" fmla="*/ 4967158 w 11625583"/>
              <a:gd name="connsiteY1365" fmla="*/ 3614916 h 6380470"/>
              <a:gd name="connsiteX1366" fmla="*/ 5031828 w 11625583"/>
              <a:gd name="connsiteY1366" fmla="*/ 3550250 h 6380470"/>
              <a:gd name="connsiteX1367" fmla="*/ 3321299 w 11625583"/>
              <a:gd name="connsiteY1367" fmla="*/ 3550250 h 6380470"/>
              <a:gd name="connsiteX1368" fmla="*/ 3385957 w 11625583"/>
              <a:gd name="connsiteY1368" fmla="*/ 3614916 h 6380470"/>
              <a:gd name="connsiteX1369" fmla="*/ 3321299 w 11625583"/>
              <a:gd name="connsiteY1369" fmla="*/ 3679582 h 6380470"/>
              <a:gd name="connsiteX1370" fmla="*/ 3256631 w 11625583"/>
              <a:gd name="connsiteY1370" fmla="*/ 3614916 h 6380470"/>
              <a:gd name="connsiteX1371" fmla="*/ 3321299 w 11625583"/>
              <a:gd name="connsiteY1371" fmla="*/ 3550250 h 6380470"/>
              <a:gd name="connsiteX1372" fmla="*/ 3172552 w 11625583"/>
              <a:gd name="connsiteY1372" fmla="*/ 3550250 h 6380470"/>
              <a:gd name="connsiteX1373" fmla="*/ 3237221 w 11625583"/>
              <a:gd name="connsiteY1373" fmla="*/ 3614916 h 6380470"/>
              <a:gd name="connsiteX1374" fmla="*/ 3172552 w 11625583"/>
              <a:gd name="connsiteY1374" fmla="*/ 3679582 h 6380470"/>
              <a:gd name="connsiteX1375" fmla="*/ 3107879 w 11625583"/>
              <a:gd name="connsiteY1375" fmla="*/ 3614916 h 6380470"/>
              <a:gd name="connsiteX1376" fmla="*/ 3172552 w 11625583"/>
              <a:gd name="connsiteY1376" fmla="*/ 3550250 h 6380470"/>
              <a:gd name="connsiteX1377" fmla="*/ 3012054 w 11625583"/>
              <a:gd name="connsiteY1377" fmla="*/ 3550250 h 6380470"/>
              <a:gd name="connsiteX1378" fmla="*/ 3076721 w 11625583"/>
              <a:gd name="connsiteY1378" fmla="*/ 3614916 h 6380470"/>
              <a:gd name="connsiteX1379" fmla="*/ 3012054 w 11625583"/>
              <a:gd name="connsiteY1379" fmla="*/ 3679582 h 6380470"/>
              <a:gd name="connsiteX1380" fmla="*/ 2947391 w 11625583"/>
              <a:gd name="connsiteY1380" fmla="*/ 3614916 h 6380470"/>
              <a:gd name="connsiteX1381" fmla="*/ 3012054 w 11625583"/>
              <a:gd name="connsiteY1381" fmla="*/ 3550250 h 6380470"/>
              <a:gd name="connsiteX1382" fmla="*/ 2855489 w 11625583"/>
              <a:gd name="connsiteY1382" fmla="*/ 3550250 h 6380470"/>
              <a:gd name="connsiteX1383" fmla="*/ 2920151 w 11625583"/>
              <a:gd name="connsiteY1383" fmla="*/ 3614916 h 6380470"/>
              <a:gd name="connsiteX1384" fmla="*/ 2855489 w 11625583"/>
              <a:gd name="connsiteY1384" fmla="*/ 3679582 h 6380470"/>
              <a:gd name="connsiteX1385" fmla="*/ 2790826 w 11625583"/>
              <a:gd name="connsiteY1385" fmla="*/ 3614916 h 6380470"/>
              <a:gd name="connsiteX1386" fmla="*/ 2855489 w 11625583"/>
              <a:gd name="connsiteY1386" fmla="*/ 3550250 h 6380470"/>
              <a:gd name="connsiteX1387" fmla="*/ 2698923 w 11625583"/>
              <a:gd name="connsiteY1387" fmla="*/ 3550250 h 6380470"/>
              <a:gd name="connsiteX1388" fmla="*/ 2763586 w 11625583"/>
              <a:gd name="connsiteY1388" fmla="*/ 3614916 h 6380470"/>
              <a:gd name="connsiteX1389" fmla="*/ 2698923 w 11625583"/>
              <a:gd name="connsiteY1389" fmla="*/ 3679582 h 6380470"/>
              <a:gd name="connsiteX1390" fmla="*/ 2634261 w 11625583"/>
              <a:gd name="connsiteY1390" fmla="*/ 3614916 h 6380470"/>
              <a:gd name="connsiteX1391" fmla="*/ 2698923 w 11625583"/>
              <a:gd name="connsiteY1391" fmla="*/ 3550250 h 6380470"/>
              <a:gd name="connsiteX1392" fmla="*/ 9541125 w 11625583"/>
              <a:gd name="connsiteY1392" fmla="*/ 3401506 h 6380470"/>
              <a:gd name="connsiteX1393" fmla="*/ 9605791 w 11625583"/>
              <a:gd name="connsiteY1393" fmla="*/ 3466172 h 6380470"/>
              <a:gd name="connsiteX1394" fmla="*/ 9541125 w 11625583"/>
              <a:gd name="connsiteY1394" fmla="*/ 3530838 h 6380470"/>
              <a:gd name="connsiteX1395" fmla="*/ 9476459 w 11625583"/>
              <a:gd name="connsiteY1395" fmla="*/ 3466172 h 6380470"/>
              <a:gd name="connsiteX1396" fmla="*/ 9541125 w 11625583"/>
              <a:gd name="connsiteY1396" fmla="*/ 3401506 h 6380470"/>
              <a:gd name="connsiteX1397" fmla="*/ 8914831 w 11625583"/>
              <a:gd name="connsiteY1397" fmla="*/ 3401506 h 6380470"/>
              <a:gd name="connsiteX1398" fmla="*/ 8979497 w 11625583"/>
              <a:gd name="connsiteY1398" fmla="*/ 3466172 h 6380470"/>
              <a:gd name="connsiteX1399" fmla="*/ 8914831 w 11625583"/>
              <a:gd name="connsiteY1399" fmla="*/ 3530838 h 6380470"/>
              <a:gd name="connsiteX1400" fmla="*/ 8850165 w 11625583"/>
              <a:gd name="connsiteY1400" fmla="*/ 3466172 h 6380470"/>
              <a:gd name="connsiteX1401" fmla="*/ 8914831 w 11625583"/>
              <a:gd name="connsiteY1401" fmla="*/ 3401506 h 6380470"/>
              <a:gd name="connsiteX1402" fmla="*/ 8766086 w 11625583"/>
              <a:gd name="connsiteY1402" fmla="*/ 3401506 h 6380470"/>
              <a:gd name="connsiteX1403" fmla="*/ 8830752 w 11625583"/>
              <a:gd name="connsiteY1403" fmla="*/ 3466172 h 6380470"/>
              <a:gd name="connsiteX1404" fmla="*/ 8766086 w 11625583"/>
              <a:gd name="connsiteY1404" fmla="*/ 3530838 h 6380470"/>
              <a:gd name="connsiteX1405" fmla="*/ 8701420 w 11625583"/>
              <a:gd name="connsiteY1405" fmla="*/ 3466172 h 6380470"/>
              <a:gd name="connsiteX1406" fmla="*/ 8766086 w 11625583"/>
              <a:gd name="connsiteY1406" fmla="*/ 3401506 h 6380470"/>
              <a:gd name="connsiteX1407" fmla="*/ 8139793 w 11625583"/>
              <a:gd name="connsiteY1407" fmla="*/ 3401506 h 6380470"/>
              <a:gd name="connsiteX1408" fmla="*/ 8204459 w 11625583"/>
              <a:gd name="connsiteY1408" fmla="*/ 3466172 h 6380470"/>
              <a:gd name="connsiteX1409" fmla="*/ 8139793 w 11625583"/>
              <a:gd name="connsiteY1409" fmla="*/ 3530838 h 6380470"/>
              <a:gd name="connsiteX1410" fmla="*/ 8075127 w 11625583"/>
              <a:gd name="connsiteY1410" fmla="*/ 3466172 h 6380470"/>
              <a:gd name="connsiteX1411" fmla="*/ 8139793 w 11625583"/>
              <a:gd name="connsiteY1411" fmla="*/ 3401506 h 6380470"/>
              <a:gd name="connsiteX1412" fmla="*/ 7987135 w 11625583"/>
              <a:gd name="connsiteY1412" fmla="*/ 3401506 h 6380470"/>
              <a:gd name="connsiteX1413" fmla="*/ 8051801 w 11625583"/>
              <a:gd name="connsiteY1413" fmla="*/ 3466172 h 6380470"/>
              <a:gd name="connsiteX1414" fmla="*/ 7987135 w 11625583"/>
              <a:gd name="connsiteY1414" fmla="*/ 3530838 h 6380470"/>
              <a:gd name="connsiteX1415" fmla="*/ 7922469 w 11625583"/>
              <a:gd name="connsiteY1415" fmla="*/ 3466172 h 6380470"/>
              <a:gd name="connsiteX1416" fmla="*/ 7987135 w 11625583"/>
              <a:gd name="connsiteY1416" fmla="*/ 3401506 h 6380470"/>
              <a:gd name="connsiteX1417" fmla="*/ 6742377 w 11625583"/>
              <a:gd name="connsiteY1417" fmla="*/ 3401506 h 6380470"/>
              <a:gd name="connsiteX1418" fmla="*/ 6807043 w 11625583"/>
              <a:gd name="connsiteY1418" fmla="*/ 3466172 h 6380470"/>
              <a:gd name="connsiteX1419" fmla="*/ 6742377 w 11625583"/>
              <a:gd name="connsiteY1419" fmla="*/ 3530838 h 6380470"/>
              <a:gd name="connsiteX1420" fmla="*/ 6677711 w 11625583"/>
              <a:gd name="connsiteY1420" fmla="*/ 3466172 h 6380470"/>
              <a:gd name="connsiteX1421" fmla="*/ 6742377 w 11625583"/>
              <a:gd name="connsiteY1421" fmla="*/ 3401506 h 6380470"/>
              <a:gd name="connsiteX1422" fmla="*/ 6585804 w 11625583"/>
              <a:gd name="connsiteY1422" fmla="*/ 3401506 h 6380470"/>
              <a:gd name="connsiteX1423" fmla="*/ 6650470 w 11625583"/>
              <a:gd name="connsiteY1423" fmla="*/ 3466172 h 6380470"/>
              <a:gd name="connsiteX1424" fmla="*/ 6585804 w 11625583"/>
              <a:gd name="connsiteY1424" fmla="*/ 3530838 h 6380470"/>
              <a:gd name="connsiteX1425" fmla="*/ 6521138 w 11625583"/>
              <a:gd name="connsiteY1425" fmla="*/ 3466172 h 6380470"/>
              <a:gd name="connsiteX1426" fmla="*/ 6585804 w 11625583"/>
              <a:gd name="connsiteY1426" fmla="*/ 3401506 h 6380470"/>
              <a:gd name="connsiteX1427" fmla="*/ 6429231 w 11625583"/>
              <a:gd name="connsiteY1427" fmla="*/ 3401506 h 6380470"/>
              <a:gd name="connsiteX1428" fmla="*/ 6493897 w 11625583"/>
              <a:gd name="connsiteY1428" fmla="*/ 3466172 h 6380470"/>
              <a:gd name="connsiteX1429" fmla="*/ 6429231 w 11625583"/>
              <a:gd name="connsiteY1429" fmla="*/ 3530838 h 6380470"/>
              <a:gd name="connsiteX1430" fmla="*/ 6364565 w 11625583"/>
              <a:gd name="connsiteY1430" fmla="*/ 3466172 h 6380470"/>
              <a:gd name="connsiteX1431" fmla="*/ 6429231 w 11625583"/>
              <a:gd name="connsiteY1431" fmla="*/ 3401506 h 6380470"/>
              <a:gd name="connsiteX1432" fmla="*/ 6276571 w 11625583"/>
              <a:gd name="connsiteY1432" fmla="*/ 3401506 h 6380470"/>
              <a:gd name="connsiteX1433" fmla="*/ 6341237 w 11625583"/>
              <a:gd name="connsiteY1433" fmla="*/ 3466172 h 6380470"/>
              <a:gd name="connsiteX1434" fmla="*/ 6276571 w 11625583"/>
              <a:gd name="connsiteY1434" fmla="*/ 3530838 h 6380470"/>
              <a:gd name="connsiteX1435" fmla="*/ 6211905 w 11625583"/>
              <a:gd name="connsiteY1435" fmla="*/ 3466172 h 6380470"/>
              <a:gd name="connsiteX1436" fmla="*/ 6276571 w 11625583"/>
              <a:gd name="connsiteY1436" fmla="*/ 3401506 h 6380470"/>
              <a:gd name="connsiteX1437" fmla="*/ 6119999 w 11625583"/>
              <a:gd name="connsiteY1437" fmla="*/ 3401506 h 6380470"/>
              <a:gd name="connsiteX1438" fmla="*/ 6184665 w 11625583"/>
              <a:gd name="connsiteY1438" fmla="*/ 3466172 h 6380470"/>
              <a:gd name="connsiteX1439" fmla="*/ 6119999 w 11625583"/>
              <a:gd name="connsiteY1439" fmla="*/ 3530838 h 6380470"/>
              <a:gd name="connsiteX1440" fmla="*/ 6055333 w 11625583"/>
              <a:gd name="connsiteY1440" fmla="*/ 3466172 h 6380470"/>
              <a:gd name="connsiteX1441" fmla="*/ 6119999 w 11625583"/>
              <a:gd name="connsiteY1441" fmla="*/ 3401506 h 6380470"/>
              <a:gd name="connsiteX1442" fmla="*/ 5967338 w 11625583"/>
              <a:gd name="connsiteY1442" fmla="*/ 3401504 h 6380470"/>
              <a:gd name="connsiteX1443" fmla="*/ 6032004 w 11625583"/>
              <a:gd name="connsiteY1443" fmla="*/ 3466170 h 6380470"/>
              <a:gd name="connsiteX1444" fmla="*/ 5967338 w 11625583"/>
              <a:gd name="connsiteY1444" fmla="*/ 3530836 h 6380470"/>
              <a:gd name="connsiteX1445" fmla="*/ 5902672 w 11625583"/>
              <a:gd name="connsiteY1445" fmla="*/ 3466170 h 6380470"/>
              <a:gd name="connsiteX1446" fmla="*/ 5967338 w 11625583"/>
              <a:gd name="connsiteY1446" fmla="*/ 3401504 h 6380470"/>
              <a:gd name="connsiteX1447" fmla="*/ 5810778 w 11625583"/>
              <a:gd name="connsiteY1447" fmla="*/ 3401504 h 6380470"/>
              <a:gd name="connsiteX1448" fmla="*/ 5875431 w 11625583"/>
              <a:gd name="connsiteY1448" fmla="*/ 3466170 h 6380470"/>
              <a:gd name="connsiteX1449" fmla="*/ 5810778 w 11625583"/>
              <a:gd name="connsiteY1449" fmla="*/ 3530836 h 6380470"/>
              <a:gd name="connsiteX1450" fmla="*/ 5746106 w 11625583"/>
              <a:gd name="connsiteY1450" fmla="*/ 3466170 h 6380470"/>
              <a:gd name="connsiteX1451" fmla="*/ 5810778 w 11625583"/>
              <a:gd name="connsiteY1451" fmla="*/ 3401504 h 6380470"/>
              <a:gd name="connsiteX1452" fmla="*/ 5658107 w 11625583"/>
              <a:gd name="connsiteY1452" fmla="*/ 3401504 h 6380470"/>
              <a:gd name="connsiteX1453" fmla="*/ 5722777 w 11625583"/>
              <a:gd name="connsiteY1453" fmla="*/ 3466170 h 6380470"/>
              <a:gd name="connsiteX1454" fmla="*/ 5658107 w 11625583"/>
              <a:gd name="connsiteY1454" fmla="*/ 3530836 h 6380470"/>
              <a:gd name="connsiteX1455" fmla="*/ 5593441 w 11625583"/>
              <a:gd name="connsiteY1455" fmla="*/ 3466170 h 6380470"/>
              <a:gd name="connsiteX1456" fmla="*/ 5658107 w 11625583"/>
              <a:gd name="connsiteY1456" fmla="*/ 3401504 h 6380470"/>
              <a:gd name="connsiteX1457" fmla="*/ 5501536 w 11625583"/>
              <a:gd name="connsiteY1457" fmla="*/ 3401504 h 6380470"/>
              <a:gd name="connsiteX1458" fmla="*/ 5566202 w 11625583"/>
              <a:gd name="connsiteY1458" fmla="*/ 3466170 h 6380470"/>
              <a:gd name="connsiteX1459" fmla="*/ 5501536 w 11625583"/>
              <a:gd name="connsiteY1459" fmla="*/ 3530836 h 6380470"/>
              <a:gd name="connsiteX1460" fmla="*/ 5436874 w 11625583"/>
              <a:gd name="connsiteY1460" fmla="*/ 3466170 h 6380470"/>
              <a:gd name="connsiteX1461" fmla="*/ 5501536 w 11625583"/>
              <a:gd name="connsiteY1461" fmla="*/ 3401504 h 6380470"/>
              <a:gd name="connsiteX1462" fmla="*/ 5348883 w 11625583"/>
              <a:gd name="connsiteY1462" fmla="*/ 3401504 h 6380470"/>
              <a:gd name="connsiteX1463" fmla="*/ 5413547 w 11625583"/>
              <a:gd name="connsiteY1463" fmla="*/ 3466170 h 6380470"/>
              <a:gd name="connsiteX1464" fmla="*/ 5348883 w 11625583"/>
              <a:gd name="connsiteY1464" fmla="*/ 3530836 h 6380470"/>
              <a:gd name="connsiteX1465" fmla="*/ 5284218 w 11625583"/>
              <a:gd name="connsiteY1465" fmla="*/ 3466170 h 6380470"/>
              <a:gd name="connsiteX1466" fmla="*/ 5348883 w 11625583"/>
              <a:gd name="connsiteY1466" fmla="*/ 3401504 h 6380470"/>
              <a:gd name="connsiteX1467" fmla="*/ 5192310 w 11625583"/>
              <a:gd name="connsiteY1467" fmla="*/ 3401504 h 6380470"/>
              <a:gd name="connsiteX1468" fmla="*/ 5256973 w 11625583"/>
              <a:gd name="connsiteY1468" fmla="*/ 3466170 h 6380470"/>
              <a:gd name="connsiteX1469" fmla="*/ 5192310 w 11625583"/>
              <a:gd name="connsiteY1469" fmla="*/ 3530836 h 6380470"/>
              <a:gd name="connsiteX1470" fmla="*/ 5127643 w 11625583"/>
              <a:gd name="connsiteY1470" fmla="*/ 3466170 h 6380470"/>
              <a:gd name="connsiteX1471" fmla="*/ 5192310 w 11625583"/>
              <a:gd name="connsiteY1471" fmla="*/ 3401504 h 6380470"/>
              <a:gd name="connsiteX1472" fmla="*/ 5031826 w 11625583"/>
              <a:gd name="connsiteY1472" fmla="*/ 3401504 h 6380470"/>
              <a:gd name="connsiteX1473" fmla="*/ 5096490 w 11625583"/>
              <a:gd name="connsiteY1473" fmla="*/ 3466170 h 6380470"/>
              <a:gd name="connsiteX1474" fmla="*/ 5031826 w 11625583"/>
              <a:gd name="connsiteY1474" fmla="*/ 3530836 h 6380470"/>
              <a:gd name="connsiteX1475" fmla="*/ 4967156 w 11625583"/>
              <a:gd name="connsiteY1475" fmla="*/ 3466170 h 6380470"/>
              <a:gd name="connsiteX1476" fmla="*/ 5031826 w 11625583"/>
              <a:gd name="connsiteY1476" fmla="*/ 3401504 h 6380470"/>
              <a:gd name="connsiteX1477" fmla="*/ 2698926 w 11625583"/>
              <a:gd name="connsiteY1477" fmla="*/ 3401504 h 6380470"/>
              <a:gd name="connsiteX1478" fmla="*/ 2763588 w 11625583"/>
              <a:gd name="connsiteY1478" fmla="*/ 3466170 h 6380470"/>
              <a:gd name="connsiteX1479" fmla="*/ 2698926 w 11625583"/>
              <a:gd name="connsiteY1479" fmla="*/ 3530836 h 6380470"/>
              <a:gd name="connsiteX1480" fmla="*/ 2634264 w 11625583"/>
              <a:gd name="connsiteY1480" fmla="*/ 3466170 h 6380470"/>
              <a:gd name="connsiteX1481" fmla="*/ 2698926 w 11625583"/>
              <a:gd name="connsiteY1481" fmla="*/ 3401504 h 6380470"/>
              <a:gd name="connsiteX1482" fmla="*/ 2546275 w 11625583"/>
              <a:gd name="connsiteY1482" fmla="*/ 3401504 h 6380470"/>
              <a:gd name="connsiteX1483" fmla="*/ 2610938 w 11625583"/>
              <a:gd name="connsiteY1483" fmla="*/ 3466170 h 6380470"/>
              <a:gd name="connsiteX1484" fmla="*/ 2546275 w 11625583"/>
              <a:gd name="connsiteY1484" fmla="*/ 3530836 h 6380470"/>
              <a:gd name="connsiteX1485" fmla="*/ 2481613 w 11625583"/>
              <a:gd name="connsiteY1485" fmla="*/ 3466170 h 6380470"/>
              <a:gd name="connsiteX1486" fmla="*/ 2546275 w 11625583"/>
              <a:gd name="connsiteY1486" fmla="*/ 3401504 h 6380470"/>
              <a:gd name="connsiteX1487" fmla="*/ 9541123 w 11625583"/>
              <a:gd name="connsiteY1487" fmla="*/ 3264501 h 6380470"/>
              <a:gd name="connsiteX1488" fmla="*/ 9605789 w 11625583"/>
              <a:gd name="connsiteY1488" fmla="*/ 3329167 h 6380470"/>
              <a:gd name="connsiteX1489" fmla="*/ 9541123 w 11625583"/>
              <a:gd name="connsiteY1489" fmla="*/ 3393833 h 6380470"/>
              <a:gd name="connsiteX1490" fmla="*/ 9476457 w 11625583"/>
              <a:gd name="connsiteY1490" fmla="*/ 3329167 h 6380470"/>
              <a:gd name="connsiteX1491" fmla="*/ 9541123 w 11625583"/>
              <a:gd name="connsiteY1491" fmla="*/ 3264501 h 6380470"/>
              <a:gd name="connsiteX1492" fmla="*/ 9384550 w 11625583"/>
              <a:gd name="connsiteY1492" fmla="*/ 3264501 h 6380470"/>
              <a:gd name="connsiteX1493" fmla="*/ 9449216 w 11625583"/>
              <a:gd name="connsiteY1493" fmla="*/ 3329167 h 6380470"/>
              <a:gd name="connsiteX1494" fmla="*/ 9384550 w 11625583"/>
              <a:gd name="connsiteY1494" fmla="*/ 3393833 h 6380470"/>
              <a:gd name="connsiteX1495" fmla="*/ 9319884 w 11625583"/>
              <a:gd name="connsiteY1495" fmla="*/ 3329167 h 6380470"/>
              <a:gd name="connsiteX1496" fmla="*/ 9384550 w 11625583"/>
              <a:gd name="connsiteY1496" fmla="*/ 3264501 h 6380470"/>
              <a:gd name="connsiteX1497" fmla="*/ 9075317 w 11625583"/>
              <a:gd name="connsiteY1497" fmla="*/ 3264501 h 6380470"/>
              <a:gd name="connsiteX1498" fmla="*/ 9139983 w 11625583"/>
              <a:gd name="connsiteY1498" fmla="*/ 3329167 h 6380470"/>
              <a:gd name="connsiteX1499" fmla="*/ 9075317 w 11625583"/>
              <a:gd name="connsiteY1499" fmla="*/ 3393833 h 6380470"/>
              <a:gd name="connsiteX1500" fmla="*/ 9010651 w 11625583"/>
              <a:gd name="connsiteY1500" fmla="*/ 3329167 h 6380470"/>
              <a:gd name="connsiteX1501" fmla="*/ 9075317 w 11625583"/>
              <a:gd name="connsiteY1501" fmla="*/ 3264501 h 6380470"/>
              <a:gd name="connsiteX1502" fmla="*/ 8914829 w 11625583"/>
              <a:gd name="connsiteY1502" fmla="*/ 3264501 h 6380470"/>
              <a:gd name="connsiteX1503" fmla="*/ 8979495 w 11625583"/>
              <a:gd name="connsiteY1503" fmla="*/ 3329167 h 6380470"/>
              <a:gd name="connsiteX1504" fmla="*/ 8914829 w 11625583"/>
              <a:gd name="connsiteY1504" fmla="*/ 3393833 h 6380470"/>
              <a:gd name="connsiteX1505" fmla="*/ 8850163 w 11625583"/>
              <a:gd name="connsiteY1505" fmla="*/ 3329167 h 6380470"/>
              <a:gd name="connsiteX1506" fmla="*/ 8914829 w 11625583"/>
              <a:gd name="connsiteY1506" fmla="*/ 3264501 h 6380470"/>
              <a:gd name="connsiteX1507" fmla="*/ 8766086 w 11625583"/>
              <a:gd name="connsiteY1507" fmla="*/ 3264501 h 6380470"/>
              <a:gd name="connsiteX1508" fmla="*/ 8830752 w 11625583"/>
              <a:gd name="connsiteY1508" fmla="*/ 3329167 h 6380470"/>
              <a:gd name="connsiteX1509" fmla="*/ 8766086 w 11625583"/>
              <a:gd name="connsiteY1509" fmla="*/ 3393833 h 6380470"/>
              <a:gd name="connsiteX1510" fmla="*/ 8701420 w 11625583"/>
              <a:gd name="connsiteY1510" fmla="*/ 3329167 h 6380470"/>
              <a:gd name="connsiteX1511" fmla="*/ 8766086 w 11625583"/>
              <a:gd name="connsiteY1511" fmla="*/ 3264501 h 6380470"/>
              <a:gd name="connsiteX1512" fmla="*/ 8601683 w 11625583"/>
              <a:gd name="connsiteY1512" fmla="*/ 3264501 h 6380470"/>
              <a:gd name="connsiteX1513" fmla="*/ 8666349 w 11625583"/>
              <a:gd name="connsiteY1513" fmla="*/ 3329167 h 6380470"/>
              <a:gd name="connsiteX1514" fmla="*/ 8601683 w 11625583"/>
              <a:gd name="connsiteY1514" fmla="*/ 3393833 h 6380470"/>
              <a:gd name="connsiteX1515" fmla="*/ 8537017 w 11625583"/>
              <a:gd name="connsiteY1515" fmla="*/ 3329167 h 6380470"/>
              <a:gd name="connsiteX1516" fmla="*/ 8601683 w 11625583"/>
              <a:gd name="connsiteY1516" fmla="*/ 3264501 h 6380470"/>
              <a:gd name="connsiteX1517" fmla="*/ 8139792 w 11625583"/>
              <a:gd name="connsiteY1517" fmla="*/ 3264501 h 6380470"/>
              <a:gd name="connsiteX1518" fmla="*/ 8204458 w 11625583"/>
              <a:gd name="connsiteY1518" fmla="*/ 3329167 h 6380470"/>
              <a:gd name="connsiteX1519" fmla="*/ 8139792 w 11625583"/>
              <a:gd name="connsiteY1519" fmla="*/ 3393833 h 6380470"/>
              <a:gd name="connsiteX1520" fmla="*/ 8075126 w 11625583"/>
              <a:gd name="connsiteY1520" fmla="*/ 3329167 h 6380470"/>
              <a:gd name="connsiteX1521" fmla="*/ 8139792 w 11625583"/>
              <a:gd name="connsiteY1521" fmla="*/ 3264501 h 6380470"/>
              <a:gd name="connsiteX1522" fmla="*/ 7987133 w 11625583"/>
              <a:gd name="connsiteY1522" fmla="*/ 3264501 h 6380470"/>
              <a:gd name="connsiteX1523" fmla="*/ 8051799 w 11625583"/>
              <a:gd name="connsiteY1523" fmla="*/ 3329167 h 6380470"/>
              <a:gd name="connsiteX1524" fmla="*/ 7987133 w 11625583"/>
              <a:gd name="connsiteY1524" fmla="*/ 3393833 h 6380470"/>
              <a:gd name="connsiteX1525" fmla="*/ 7922467 w 11625583"/>
              <a:gd name="connsiteY1525" fmla="*/ 3329167 h 6380470"/>
              <a:gd name="connsiteX1526" fmla="*/ 7987133 w 11625583"/>
              <a:gd name="connsiteY1526" fmla="*/ 3264501 h 6380470"/>
              <a:gd name="connsiteX1527" fmla="*/ 7212096 w 11625583"/>
              <a:gd name="connsiteY1527" fmla="*/ 3264501 h 6380470"/>
              <a:gd name="connsiteX1528" fmla="*/ 7276762 w 11625583"/>
              <a:gd name="connsiteY1528" fmla="*/ 3329167 h 6380470"/>
              <a:gd name="connsiteX1529" fmla="*/ 7212096 w 11625583"/>
              <a:gd name="connsiteY1529" fmla="*/ 3393833 h 6380470"/>
              <a:gd name="connsiteX1530" fmla="*/ 7147430 w 11625583"/>
              <a:gd name="connsiteY1530" fmla="*/ 3329167 h 6380470"/>
              <a:gd name="connsiteX1531" fmla="*/ 7212096 w 11625583"/>
              <a:gd name="connsiteY1531" fmla="*/ 3264501 h 6380470"/>
              <a:gd name="connsiteX1532" fmla="*/ 7055523 w 11625583"/>
              <a:gd name="connsiteY1532" fmla="*/ 3264501 h 6380470"/>
              <a:gd name="connsiteX1533" fmla="*/ 7120189 w 11625583"/>
              <a:gd name="connsiteY1533" fmla="*/ 3329167 h 6380470"/>
              <a:gd name="connsiteX1534" fmla="*/ 7055523 w 11625583"/>
              <a:gd name="connsiteY1534" fmla="*/ 3393833 h 6380470"/>
              <a:gd name="connsiteX1535" fmla="*/ 6990857 w 11625583"/>
              <a:gd name="connsiteY1535" fmla="*/ 3329167 h 6380470"/>
              <a:gd name="connsiteX1536" fmla="*/ 7055523 w 11625583"/>
              <a:gd name="connsiteY1536" fmla="*/ 3264501 h 6380470"/>
              <a:gd name="connsiteX1537" fmla="*/ 6895037 w 11625583"/>
              <a:gd name="connsiteY1537" fmla="*/ 3264501 h 6380470"/>
              <a:gd name="connsiteX1538" fmla="*/ 6959703 w 11625583"/>
              <a:gd name="connsiteY1538" fmla="*/ 3329167 h 6380470"/>
              <a:gd name="connsiteX1539" fmla="*/ 6895037 w 11625583"/>
              <a:gd name="connsiteY1539" fmla="*/ 3393833 h 6380470"/>
              <a:gd name="connsiteX1540" fmla="*/ 6830371 w 11625583"/>
              <a:gd name="connsiteY1540" fmla="*/ 3329167 h 6380470"/>
              <a:gd name="connsiteX1541" fmla="*/ 6895037 w 11625583"/>
              <a:gd name="connsiteY1541" fmla="*/ 3264501 h 6380470"/>
              <a:gd name="connsiteX1542" fmla="*/ 6585802 w 11625583"/>
              <a:gd name="connsiteY1542" fmla="*/ 3264501 h 6380470"/>
              <a:gd name="connsiteX1543" fmla="*/ 6650468 w 11625583"/>
              <a:gd name="connsiteY1543" fmla="*/ 3329167 h 6380470"/>
              <a:gd name="connsiteX1544" fmla="*/ 6585802 w 11625583"/>
              <a:gd name="connsiteY1544" fmla="*/ 3393833 h 6380470"/>
              <a:gd name="connsiteX1545" fmla="*/ 6521136 w 11625583"/>
              <a:gd name="connsiteY1545" fmla="*/ 3329167 h 6380470"/>
              <a:gd name="connsiteX1546" fmla="*/ 6585802 w 11625583"/>
              <a:gd name="connsiteY1546" fmla="*/ 3264501 h 6380470"/>
              <a:gd name="connsiteX1547" fmla="*/ 6429229 w 11625583"/>
              <a:gd name="connsiteY1547" fmla="*/ 3264501 h 6380470"/>
              <a:gd name="connsiteX1548" fmla="*/ 6493895 w 11625583"/>
              <a:gd name="connsiteY1548" fmla="*/ 3329167 h 6380470"/>
              <a:gd name="connsiteX1549" fmla="*/ 6429229 w 11625583"/>
              <a:gd name="connsiteY1549" fmla="*/ 3393833 h 6380470"/>
              <a:gd name="connsiteX1550" fmla="*/ 6364563 w 11625583"/>
              <a:gd name="connsiteY1550" fmla="*/ 3329167 h 6380470"/>
              <a:gd name="connsiteX1551" fmla="*/ 6429229 w 11625583"/>
              <a:gd name="connsiteY1551" fmla="*/ 3264501 h 6380470"/>
              <a:gd name="connsiteX1552" fmla="*/ 6276571 w 11625583"/>
              <a:gd name="connsiteY1552" fmla="*/ 3264501 h 6380470"/>
              <a:gd name="connsiteX1553" fmla="*/ 6341237 w 11625583"/>
              <a:gd name="connsiteY1553" fmla="*/ 3329167 h 6380470"/>
              <a:gd name="connsiteX1554" fmla="*/ 6276571 w 11625583"/>
              <a:gd name="connsiteY1554" fmla="*/ 3393833 h 6380470"/>
              <a:gd name="connsiteX1555" fmla="*/ 6211905 w 11625583"/>
              <a:gd name="connsiteY1555" fmla="*/ 3329167 h 6380470"/>
              <a:gd name="connsiteX1556" fmla="*/ 6276571 w 11625583"/>
              <a:gd name="connsiteY1556" fmla="*/ 3264501 h 6380470"/>
              <a:gd name="connsiteX1557" fmla="*/ 6119999 w 11625583"/>
              <a:gd name="connsiteY1557" fmla="*/ 3264501 h 6380470"/>
              <a:gd name="connsiteX1558" fmla="*/ 6184665 w 11625583"/>
              <a:gd name="connsiteY1558" fmla="*/ 3329167 h 6380470"/>
              <a:gd name="connsiteX1559" fmla="*/ 6119999 w 11625583"/>
              <a:gd name="connsiteY1559" fmla="*/ 3393833 h 6380470"/>
              <a:gd name="connsiteX1560" fmla="*/ 6055333 w 11625583"/>
              <a:gd name="connsiteY1560" fmla="*/ 3329167 h 6380470"/>
              <a:gd name="connsiteX1561" fmla="*/ 6119999 w 11625583"/>
              <a:gd name="connsiteY1561" fmla="*/ 3264501 h 6380470"/>
              <a:gd name="connsiteX1562" fmla="*/ 5967338 w 11625583"/>
              <a:gd name="connsiteY1562" fmla="*/ 3264501 h 6380470"/>
              <a:gd name="connsiteX1563" fmla="*/ 6032004 w 11625583"/>
              <a:gd name="connsiteY1563" fmla="*/ 3329167 h 6380470"/>
              <a:gd name="connsiteX1564" fmla="*/ 5967338 w 11625583"/>
              <a:gd name="connsiteY1564" fmla="*/ 3393833 h 6380470"/>
              <a:gd name="connsiteX1565" fmla="*/ 5902672 w 11625583"/>
              <a:gd name="connsiteY1565" fmla="*/ 3329167 h 6380470"/>
              <a:gd name="connsiteX1566" fmla="*/ 5967338 w 11625583"/>
              <a:gd name="connsiteY1566" fmla="*/ 3264501 h 6380470"/>
              <a:gd name="connsiteX1567" fmla="*/ 5810780 w 11625583"/>
              <a:gd name="connsiteY1567" fmla="*/ 3264501 h 6380470"/>
              <a:gd name="connsiteX1568" fmla="*/ 5875431 w 11625583"/>
              <a:gd name="connsiteY1568" fmla="*/ 3329167 h 6380470"/>
              <a:gd name="connsiteX1569" fmla="*/ 5810780 w 11625583"/>
              <a:gd name="connsiteY1569" fmla="*/ 3393833 h 6380470"/>
              <a:gd name="connsiteX1570" fmla="*/ 5746106 w 11625583"/>
              <a:gd name="connsiteY1570" fmla="*/ 3329167 h 6380470"/>
              <a:gd name="connsiteX1571" fmla="*/ 5810780 w 11625583"/>
              <a:gd name="connsiteY1571" fmla="*/ 3264501 h 6380470"/>
              <a:gd name="connsiteX1572" fmla="*/ 5658107 w 11625583"/>
              <a:gd name="connsiteY1572" fmla="*/ 3264501 h 6380470"/>
              <a:gd name="connsiteX1573" fmla="*/ 5722777 w 11625583"/>
              <a:gd name="connsiteY1573" fmla="*/ 3329167 h 6380470"/>
              <a:gd name="connsiteX1574" fmla="*/ 5658107 w 11625583"/>
              <a:gd name="connsiteY1574" fmla="*/ 3393833 h 6380470"/>
              <a:gd name="connsiteX1575" fmla="*/ 5593441 w 11625583"/>
              <a:gd name="connsiteY1575" fmla="*/ 3329167 h 6380470"/>
              <a:gd name="connsiteX1576" fmla="*/ 5658107 w 11625583"/>
              <a:gd name="connsiteY1576" fmla="*/ 3264501 h 6380470"/>
              <a:gd name="connsiteX1577" fmla="*/ 5501536 w 11625583"/>
              <a:gd name="connsiteY1577" fmla="*/ 3264501 h 6380470"/>
              <a:gd name="connsiteX1578" fmla="*/ 5566202 w 11625583"/>
              <a:gd name="connsiteY1578" fmla="*/ 3329167 h 6380470"/>
              <a:gd name="connsiteX1579" fmla="*/ 5501536 w 11625583"/>
              <a:gd name="connsiteY1579" fmla="*/ 3393833 h 6380470"/>
              <a:gd name="connsiteX1580" fmla="*/ 5436876 w 11625583"/>
              <a:gd name="connsiteY1580" fmla="*/ 3329167 h 6380470"/>
              <a:gd name="connsiteX1581" fmla="*/ 5501536 w 11625583"/>
              <a:gd name="connsiteY1581" fmla="*/ 3264501 h 6380470"/>
              <a:gd name="connsiteX1582" fmla="*/ 5348883 w 11625583"/>
              <a:gd name="connsiteY1582" fmla="*/ 3264501 h 6380470"/>
              <a:gd name="connsiteX1583" fmla="*/ 5413547 w 11625583"/>
              <a:gd name="connsiteY1583" fmla="*/ 3329167 h 6380470"/>
              <a:gd name="connsiteX1584" fmla="*/ 5348883 w 11625583"/>
              <a:gd name="connsiteY1584" fmla="*/ 3393833 h 6380470"/>
              <a:gd name="connsiteX1585" fmla="*/ 5284218 w 11625583"/>
              <a:gd name="connsiteY1585" fmla="*/ 3329167 h 6380470"/>
              <a:gd name="connsiteX1586" fmla="*/ 5348883 w 11625583"/>
              <a:gd name="connsiteY1586" fmla="*/ 3264501 h 6380470"/>
              <a:gd name="connsiteX1587" fmla="*/ 5192310 w 11625583"/>
              <a:gd name="connsiteY1587" fmla="*/ 3264501 h 6380470"/>
              <a:gd name="connsiteX1588" fmla="*/ 5256973 w 11625583"/>
              <a:gd name="connsiteY1588" fmla="*/ 3329167 h 6380470"/>
              <a:gd name="connsiteX1589" fmla="*/ 5192310 w 11625583"/>
              <a:gd name="connsiteY1589" fmla="*/ 3393833 h 6380470"/>
              <a:gd name="connsiteX1590" fmla="*/ 5127643 w 11625583"/>
              <a:gd name="connsiteY1590" fmla="*/ 3329167 h 6380470"/>
              <a:gd name="connsiteX1591" fmla="*/ 5192310 w 11625583"/>
              <a:gd name="connsiteY1591" fmla="*/ 3264501 h 6380470"/>
              <a:gd name="connsiteX1592" fmla="*/ 5031828 w 11625583"/>
              <a:gd name="connsiteY1592" fmla="*/ 3264501 h 6380470"/>
              <a:gd name="connsiteX1593" fmla="*/ 5096490 w 11625583"/>
              <a:gd name="connsiteY1593" fmla="*/ 3329167 h 6380470"/>
              <a:gd name="connsiteX1594" fmla="*/ 5031828 w 11625583"/>
              <a:gd name="connsiteY1594" fmla="*/ 3393833 h 6380470"/>
              <a:gd name="connsiteX1595" fmla="*/ 4967156 w 11625583"/>
              <a:gd name="connsiteY1595" fmla="*/ 3329167 h 6380470"/>
              <a:gd name="connsiteX1596" fmla="*/ 5031828 w 11625583"/>
              <a:gd name="connsiteY1596" fmla="*/ 3264501 h 6380470"/>
              <a:gd name="connsiteX1597" fmla="*/ 3172560 w 11625583"/>
              <a:gd name="connsiteY1597" fmla="*/ 3264501 h 6380470"/>
              <a:gd name="connsiteX1598" fmla="*/ 3237227 w 11625583"/>
              <a:gd name="connsiteY1598" fmla="*/ 3329167 h 6380470"/>
              <a:gd name="connsiteX1599" fmla="*/ 3172560 w 11625583"/>
              <a:gd name="connsiteY1599" fmla="*/ 3393833 h 6380470"/>
              <a:gd name="connsiteX1600" fmla="*/ 3107886 w 11625583"/>
              <a:gd name="connsiteY1600" fmla="*/ 3329167 h 6380470"/>
              <a:gd name="connsiteX1601" fmla="*/ 3172560 w 11625583"/>
              <a:gd name="connsiteY1601" fmla="*/ 3264501 h 6380470"/>
              <a:gd name="connsiteX1602" fmla="*/ 2546279 w 11625583"/>
              <a:gd name="connsiteY1602" fmla="*/ 3264501 h 6380470"/>
              <a:gd name="connsiteX1603" fmla="*/ 2610943 w 11625583"/>
              <a:gd name="connsiteY1603" fmla="*/ 3329167 h 6380470"/>
              <a:gd name="connsiteX1604" fmla="*/ 2546279 w 11625583"/>
              <a:gd name="connsiteY1604" fmla="*/ 3393833 h 6380470"/>
              <a:gd name="connsiteX1605" fmla="*/ 2481617 w 11625583"/>
              <a:gd name="connsiteY1605" fmla="*/ 3329167 h 6380470"/>
              <a:gd name="connsiteX1606" fmla="*/ 2546279 w 11625583"/>
              <a:gd name="connsiteY1606" fmla="*/ 3264501 h 6380470"/>
              <a:gd name="connsiteX1607" fmla="*/ 2389697 w 11625583"/>
              <a:gd name="connsiteY1607" fmla="*/ 3264501 h 6380470"/>
              <a:gd name="connsiteX1608" fmla="*/ 2454380 w 11625583"/>
              <a:gd name="connsiteY1608" fmla="*/ 3329167 h 6380470"/>
              <a:gd name="connsiteX1609" fmla="*/ 2389697 w 11625583"/>
              <a:gd name="connsiteY1609" fmla="*/ 3393833 h 6380470"/>
              <a:gd name="connsiteX1610" fmla="*/ 2325045 w 11625583"/>
              <a:gd name="connsiteY1610" fmla="*/ 3329167 h 6380470"/>
              <a:gd name="connsiteX1611" fmla="*/ 2389697 w 11625583"/>
              <a:gd name="connsiteY1611" fmla="*/ 3264501 h 6380470"/>
              <a:gd name="connsiteX1612" fmla="*/ 2237042 w 11625583"/>
              <a:gd name="connsiteY1612" fmla="*/ 3264501 h 6380470"/>
              <a:gd name="connsiteX1613" fmla="*/ 2301715 w 11625583"/>
              <a:gd name="connsiteY1613" fmla="*/ 3329167 h 6380470"/>
              <a:gd name="connsiteX1614" fmla="*/ 2237042 w 11625583"/>
              <a:gd name="connsiteY1614" fmla="*/ 3393833 h 6380470"/>
              <a:gd name="connsiteX1615" fmla="*/ 2172369 w 11625583"/>
              <a:gd name="connsiteY1615" fmla="*/ 3329167 h 6380470"/>
              <a:gd name="connsiteX1616" fmla="*/ 2237042 w 11625583"/>
              <a:gd name="connsiteY1616" fmla="*/ 3264501 h 6380470"/>
              <a:gd name="connsiteX1617" fmla="*/ 2084374 w 11625583"/>
              <a:gd name="connsiteY1617" fmla="*/ 3264501 h 6380470"/>
              <a:gd name="connsiteX1618" fmla="*/ 2149037 w 11625583"/>
              <a:gd name="connsiteY1618" fmla="*/ 3329167 h 6380470"/>
              <a:gd name="connsiteX1619" fmla="*/ 2084374 w 11625583"/>
              <a:gd name="connsiteY1619" fmla="*/ 3393833 h 6380470"/>
              <a:gd name="connsiteX1620" fmla="*/ 2019717 w 11625583"/>
              <a:gd name="connsiteY1620" fmla="*/ 3329167 h 6380470"/>
              <a:gd name="connsiteX1621" fmla="*/ 2084374 w 11625583"/>
              <a:gd name="connsiteY1621" fmla="*/ 3264501 h 6380470"/>
              <a:gd name="connsiteX1622" fmla="*/ 8914829 w 11625583"/>
              <a:gd name="connsiteY1622" fmla="*/ 3131417 h 6380470"/>
              <a:gd name="connsiteX1623" fmla="*/ 8979495 w 11625583"/>
              <a:gd name="connsiteY1623" fmla="*/ 3196083 h 6380470"/>
              <a:gd name="connsiteX1624" fmla="*/ 8914829 w 11625583"/>
              <a:gd name="connsiteY1624" fmla="*/ 3260749 h 6380470"/>
              <a:gd name="connsiteX1625" fmla="*/ 8850163 w 11625583"/>
              <a:gd name="connsiteY1625" fmla="*/ 3196083 h 6380470"/>
              <a:gd name="connsiteX1626" fmla="*/ 8914829 w 11625583"/>
              <a:gd name="connsiteY1626" fmla="*/ 3131417 h 6380470"/>
              <a:gd name="connsiteX1627" fmla="*/ 8766086 w 11625583"/>
              <a:gd name="connsiteY1627" fmla="*/ 3131417 h 6380470"/>
              <a:gd name="connsiteX1628" fmla="*/ 8830752 w 11625583"/>
              <a:gd name="connsiteY1628" fmla="*/ 3196083 h 6380470"/>
              <a:gd name="connsiteX1629" fmla="*/ 8766086 w 11625583"/>
              <a:gd name="connsiteY1629" fmla="*/ 3260749 h 6380470"/>
              <a:gd name="connsiteX1630" fmla="*/ 8701420 w 11625583"/>
              <a:gd name="connsiteY1630" fmla="*/ 3196083 h 6380470"/>
              <a:gd name="connsiteX1631" fmla="*/ 8766086 w 11625583"/>
              <a:gd name="connsiteY1631" fmla="*/ 3131417 h 6380470"/>
              <a:gd name="connsiteX1632" fmla="*/ 8601683 w 11625583"/>
              <a:gd name="connsiteY1632" fmla="*/ 3131417 h 6380470"/>
              <a:gd name="connsiteX1633" fmla="*/ 8666349 w 11625583"/>
              <a:gd name="connsiteY1633" fmla="*/ 3196083 h 6380470"/>
              <a:gd name="connsiteX1634" fmla="*/ 8601683 w 11625583"/>
              <a:gd name="connsiteY1634" fmla="*/ 3260749 h 6380470"/>
              <a:gd name="connsiteX1635" fmla="*/ 8537017 w 11625583"/>
              <a:gd name="connsiteY1635" fmla="*/ 3196083 h 6380470"/>
              <a:gd name="connsiteX1636" fmla="*/ 8601683 w 11625583"/>
              <a:gd name="connsiteY1636" fmla="*/ 3131417 h 6380470"/>
              <a:gd name="connsiteX1637" fmla="*/ 8296367 w 11625583"/>
              <a:gd name="connsiteY1637" fmla="*/ 3131417 h 6380470"/>
              <a:gd name="connsiteX1638" fmla="*/ 8361033 w 11625583"/>
              <a:gd name="connsiteY1638" fmla="*/ 3196083 h 6380470"/>
              <a:gd name="connsiteX1639" fmla="*/ 8296367 w 11625583"/>
              <a:gd name="connsiteY1639" fmla="*/ 3260749 h 6380470"/>
              <a:gd name="connsiteX1640" fmla="*/ 8231701 w 11625583"/>
              <a:gd name="connsiteY1640" fmla="*/ 3196083 h 6380470"/>
              <a:gd name="connsiteX1641" fmla="*/ 8296367 w 11625583"/>
              <a:gd name="connsiteY1641" fmla="*/ 3131417 h 6380470"/>
              <a:gd name="connsiteX1642" fmla="*/ 8139792 w 11625583"/>
              <a:gd name="connsiteY1642" fmla="*/ 3131417 h 6380470"/>
              <a:gd name="connsiteX1643" fmla="*/ 8204458 w 11625583"/>
              <a:gd name="connsiteY1643" fmla="*/ 3196083 h 6380470"/>
              <a:gd name="connsiteX1644" fmla="*/ 8139792 w 11625583"/>
              <a:gd name="connsiteY1644" fmla="*/ 3260749 h 6380470"/>
              <a:gd name="connsiteX1645" fmla="*/ 8075126 w 11625583"/>
              <a:gd name="connsiteY1645" fmla="*/ 3196083 h 6380470"/>
              <a:gd name="connsiteX1646" fmla="*/ 8139792 w 11625583"/>
              <a:gd name="connsiteY1646" fmla="*/ 3131417 h 6380470"/>
              <a:gd name="connsiteX1647" fmla="*/ 7987133 w 11625583"/>
              <a:gd name="connsiteY1647" fmla="*/ 3131417 h 6380470"/>
              <a:gd name="connsiteX1648" fmla="*/ 8051799 w 11625583"/>
              <a:gd name="connsiteY1648" fmla="*/ 3196083 h 6380470"/>
              <a:gd name="connsiteX1649" fmla="*/ 7987133 w 11625583"/>
              <a:gd name="connsiteY1649" fmla="*/ 3260749 h 6380470"/>
              <a:gd name="connsiteX1650" fmla="*/ 7922467 w 11625583"/>
              <a:gd name="connsiteY1650" fmla="*/ 3196083 h 6380470"/>
              <a:gd name="connsiteX1651" fmla="*/ 7987133 w 11625583"/>
              <a:gd name="connsiteY1651" fmla="*/ 3131417 h 6380470"/>
              <a:gd name="connsiteX1652" fmla="*/ 7830562 w 11625583"/>
              <a:gd name="connsiteY1652" fmla="*/ 3131417 h 6380470"/>
              <a:gd name="connsiteX1653" fmla="*/ 7895228 w 11625583"/>
              <a:gd name="connsiteY1653" fmla="*/ 3196083 h 6380470"/>
              <a:gd name="connsiteX1654" fmla="*/ 7830562 w 11625583"/>
              <a:gd name="connsiteY1654" fmla="*/ 3260749 h 6380470"/>
              <a:gd name="connsiteX1655" fmla="*/ 7765896 w 11625583"/>
              <a:gd name="connsiteY1655" fmla="*/ 3196083 h 6380470"/>
              <a:gd name="connsiteX1656" fmla="*/ 7830562 w 11625583"/>
              <a:gd name="connsiteY1656" fmla="*/ 3131417 h 6380470"/>
              <a:gd name="connsiteX1657" fmla="*/ 7368669 w 11625583"/>
              <a:gd name="connsiteY1657" fmla="*/ 3131417 h 6380470"/>
              <a:gd name="connsiteX1658" fmla="*/ 7433335 w 11625583"/>
              <a:gd name="connsiteY1658" fmla="*/ 3196083 h 6380470"/>
              <a:gd name="connsiteX1659" fmla="*/ 7368669 w 11625583"/>
              <a:gd name="connsiteY1659" fmla="*/ 3260749 h 6380470"/>
              <a:gd name="connsiteX1660" fmla="*/ 7304003 w 11625583"/>
              <a:gd name="connsiteY1660" fmla="*/ 3196083 h 6380470"/>
              <a:gd name="connsiteX1661" fmla="*/ 7368669 w 11625583"/>
              <a:gd name="connsiteY1661" fmla="*/ 3131417 h 6380470"/>
              <a:gd name="connsiteX1662" fmla="*/ 7212096 w 11625583"/>
              <a:gd name="connsiteY1662" fmla="*/ 3131417 h 6380470"/>
              <a:gd name="connsiteX1663" fmla="*/ 7276762 w 11625583"/>
              <a:gd name="connsiteY1663" fmla="*/ 3196083 h 6380470"/>
              <a:gd name="connsiteX1664" fmla="*/ 7212096 w 11625583"/>
              <a:gd name="connsiteY1664" fmla="*/ 3260749 h 6380470"/>
              <a:gd name="connsiteX1665" fmla="*/ 7147430 w 11625583"/>
              <a:gd name="connsiteY1665" fmla="*/ 3196083 h 6380470"/>
              <a:gd name="connsiteX1666" fmla="*/ 7212096 w 11625583"/>
              <a:gd name="connsiteY1666" fmla="*/ 3131417 h 6380470"/>
              <a:gd name="connsiteX1667" fmla="*/ 7055523 w 11625583"/>
              <a:gd name="connsiteY1667" fmla="*/ 3131417 h 6380470"/>
              <a:gd name="connsiteX1668" fmla="*/ 7120189 w 11625583"/>
              <a:gd name="connsiteY1668" fmla="*/ 3196083 h 6380470"/>
              <a:gd name="connsiteX1669" fmla="*/ 7055523 w 11625583"/>
              <a:gd name="connsiteY1669" fmla="*/ 3260749 h 6380470"/>
              <a:gd name="connsiteX1670" fmla="*/ 6990857 w 11625583"/>
              <a:gd name="connsiteY1670" fmla="*/ 3196083 h 6380470"/>
              <a:gd name="connsiteX1671" fmla="*/ 7055523 w 11625583"/>
              <a:gd name="connsiteY1671" fmla="*/ 3131417 h 6380470"/>
              <a:gd name="connsiteX1672" fmla="*/ 6895037 w 11625583"/>
              <a:gd name="connsiteY1672" fmla="*/ 3131417 h 6380470"/>
              <a:gd name="connsiteX1673" fmla="*/ 6959703 w 11625583"/>
              <a:gd name="connsiteY1673" fmla="*/ 3196083 h 6380470"/>
              <a:gd name="connsiteX1674" fmla="*/ 6895037 w 11625583"/>
              <a:gd name="connsiteY1674" fmla="*/ 3260749 h 6380470"/>
              <a:gd name="connsiteX1675" fmla="*/ 6830371 w 11625583"/>
              <a:gd name="connsiteY1675" fmla="*/ 3196083 h 6380470"/>
              <a:gd name="connsiteX1676" fmla="*/ 6895037 w 11625583"/>
              <a:gd name="connsiteY1676" fmla="*/ 3131417 h 6380470"/>
              <a:gd name="connsiteX1677" fmla="*/ 6585802 w 11625583"/>
              <a:gd name="connsiteY1677" fmla="*/ 3131417 h 6380470"/>
              <a:gd name="connsiteX1678" fmla="*/ 6650468 w 11625583"/>
              <a:gd name="connsiteY1678" fmla="*/ 3196083 h 6380470"/>
              <a:gd name="connsiteX1679" fmla="*/ 6585802 w 11625583"/>
              <a:gd name="connsiteY1679" fmla="*/ 3260749 h 6380470"/>
              <a:gd name="connsiteX1680" fmla="*/ 6521136 w 11625583"/>
              <a:gd name="connsiteY1680" fmla="*/ 3196083 h 6380470"/>
              <a:gd name="connsiteX1681" fmla="*/ 6585802 w 11625583"/>
              <a:gd name="connsiteY1681" fmla="*/ 3131417 h 6380470"/>
              <a:gd name="connsiteX1682" fmla="*/ 6429229 w 11625583"/>
              <a:gd name="connsiteY1682" fmla="*/ 3131417 h 6380470"/>
              <a:gd name="connsiteX1683" fmla="*/ 6493895 w 11625583"/>
              <a:gd name="connsiteY1683" fmla="*/ 3196083 h 6380470"/>
              <a:gd name="connsiteX1684" fmla="*/ 6429229 w 11625583"/>
              <a:gd name="connsiteY1684" fmla="*/ 3260749 h 6380470"/>
              <a:gd name="connsiteX1685" fmla="*/ 6364563 w 11625583"/>
              <a:gd name="connsiteY1685" fmla="*/ 3196083 h 6380470"/>
              <a:gd name="connsiteX1686" fmla="*/ 6429229 w 11625583"/>
              <a:gd name="connsiteY1686" fmla="*/ 3131417 h 6380470"/>
              <a:gd name="connsiteX1687" fmla="*/ 6276571 w 11625583"/>
              <a:gd name="connsiteY1687" fmla="*/ 3131417 h 6380470"/>
              <a:gd name="connsiteX1688" fmla="*/ 6341237 w 11625583"/>
              <a:gd name="connsiteY1688" fmla="*/ 3196083 h 6380470"/>
              <a:gd name="connsiteX1689" fmla="*/ 6276571 w 11625583"/>
              <a:gd name="connsiteY1689" fmla="*/ 3260749 h 6380470"/>
              <a:gd name="connsiteX1690" fmla="*/ 6211905 w 11625583"/>
              <a:gd name="connsiteY1690" fmla="*/ 3196083 h 6380470"/>
              <a:gd name="connsiteX1691" fmla="*/ 6276571 w 11625583"/>
              <a:gd name="connsiteY1691" fmla="*/ 3131417 h 6380470"/>
              <a:gd name="connsiteX1692" fmla="*/ 6119999 w 11625583"/>
              <a:gd name="connsiteY1692" fmla="*/ 3131417 h 6380470"/>
              <a:gd name="connsiteX1693" fmla="*/ 6184665 w 11625583"/>
              <a:gd name="connsiteY1693" fmla="*/ 3196083 h 6380470"/>
              <a:gd name="connsiteX1694" fmla="*/ 6119999 w 11625583"/>
              <a:gd name="connsiteY1694" fmla="*/ 3260749 h 6380470"/>
              <a:gd name="connsiteX1695" fmla="*/ 6055333 w 11625583"/>
              <a:gd name="connsiteY1695" fmla="*/ 3196083 h 6380470"/>
              <a:gd name="connsiteX1696" fmla="*/ 6119999 w 11625583"/>
              <a:gd name="connsiteY1696" fmla="*/ 3131417 h 6380470"/>
              <a:gd name="connsiteX1697" fmla="*/ 5967338 w 11625583"/>
              <a:gd name="connsiteY1697" fmla="*/ 3131417 h 6380470"/>
              <a:gd name="connsiteX1698" fmla="*/ 6032004 w 11625583"/>
              <a:gd name="connsiteY1698" fmla="*/ 3196083 h 6380470"/>
              <a:gd name="connsiteX1699" fmla="*/ 5967338 w 11625583"/>
              <a:gd name="connsiteY1699" fmla="*/ 3260749 h 6380470"/>
              <a:gd name="connsiteX1700" fmla="*/ 5902672 w 11625583"/>
              <a:gd name="connsiteY1700" fmla="*/ 3196083 h 6380470"/>
              <a:gd name="connsiteX1701" fmla="*/ 5967338 w 11625583"/>
              <a:gd name="connsiteY1701" fmla="*/ 3131417 h 6380470"/>
              <a:gd name="connsiteX1702" fmla="*/ 5810780 w 11625583"/>
              <a:gd name="connsiteY1702" fmla="*/ 3131417 h 6380470"/>
              <a:gd name="connsiteX1703" fmla="*/ 5875431 w 11625583"/>
              <a:gd name="connsiteY1703" fmla="*/ 3196083 h 6380470"/>
              <a:gd name="connsiteX1704" fmla="*/ 5810780 w 11625583"/>
              <a:gd name="connsiteY1704" fmla="*/ 3260749 h 6380470"/>
              <a:gd name="connsiteX1705" fmla="*/ 5746108 w 11625583"/>
              <a:gd name="connsiteY1705" fmla="*/ 3196083 h 6380470"/>
              <a:gd name="connsiteX1706" fmla="*/ 5810780 w 11625583"/>
              <a:gd name="connsiteY1706" fmla="*/ 3131417 h 6380470"/>
              <a:gd name="connsiteX1707" fmla="*/ 5658107 w 11625583"/>
              <a:gd name="connsiteY1707" fmla="*/ 3131417 h 6380470"/>
              <a:gd name="connsiteX1708" fmla="*/ 5722777 w 11625583"/>
              <a:gd name="connsiteY1708" fmla="*/ 3196083 h 6380470"/>
              <a:gd name="connsiteX1709" fmla="*/ 5658107 w 11625583"/>
              <a:gd name="connsiteY1709" fmla="*/ 3260749 h 6380470"/>
              <a:gd name="connsiteX1710" fmla="*/ 5593441 w 11625583"/>
              <a:gd name="connsiteY1710" fmla="*/ 3196083 h 6380470"/>
              <a:gd name="connsiteX1711" fmla="*/ 5658107 w 11625583"/>
              <a:gd name="connsiteY1711" fmla="*/ 3131417 h 6380470"/>
              <a:gd name="connsiteX1712" fmla="*/ 5501538 w 11625583"/>
              <a:gd name="connsiteY1712" fmla="*/ 3131417 h 6380470"/>
              <a:gd name="connsiteX1713" fmla="*/ 5566202 w 11625583"/>
              <a:gd name="connsiteY1713" fmla="*/ 3196083 h 6380470"/>
              <a:gd name="connsiteX1714" fmla="*/ 5501538 w 11625583"/>
              <a:gd name="connsiteY1714" fmla="*/ 3260749 h 6380470"/>
              <a:gd name="connsiteX1715" fmla="*/ 5436876 w 11625583"/>
              <a:gd name="connsiteY1715" fmla="*/ 3196083 h 6380470"/>
              <a:gd name="connsiteX1716" fmla="*/ 5501538 w 11625583"/>
              <a:gd name="connsiteY1716" fmla="*/ 3131417 h 6380470"/>
              <a:gd name="connsiteX1717" fmla="*/ 5348883 w 11625583"/>
              <a:gd name="connsiteY1717" fmla="*/ 3131417 h 6380470"/>
              <a:gd name="connsiteX1718" fmla="*/ 5413549 w 11625583"/>
              <a:gd name="connsiteY1718" fmla="*/ 3196083 h 6380470"/>
              <a:gd name="connsiteX1719" fmla="*/ 5348883 w 11625583"/>
              <a:gd name="connsiteY1719" fmla="*/ 3260749 h 6380470"/>
              <a:gd name="connsiteX1720" fmla="*/ 5284218 w 11625583"/>
              <a:gd name="connsiteY1720" fmla="*/ 3196083 h 6380470"/>
              <a:gd name="connsiteX1721" fmla="*/ 5348883 w 11625583"/>
              <a:gd name="connsiteY1721" fmla="*/ 3131417 h 6380470"/>
              <a:gd name="connsiteX1722" fmla="*/ 5192310 w 11625583"/>
              <a:gd name="connsiteY1722" fmla="*/ 3131417 h 6380470"/>
              <a:gd name="connsiteX1723" fmla="*/ 5256975 w 11625583"/>
              <a:gd name="connsiteY1723" fmla="*/ 3196083 h 6380470"/>
              <a:gd name="connsiteX1724" fmla="*/ 5192310 w 11625583"/>
              <a:gd name="connsiteY1724" fmla="*/ 3260749 h 6380470"/>
              <a:gd name="connsiteX1725" fmla="*/ 5127644 w 11625583"/>
              <a:gd name="connsiteY1725" fmla="*/ 3196083 h 6380470"/>
              <a:gd name="connsiteX1726" fmla="*/ 5192310 w 11625583"/>
              <a:gd name="connsiteY1726" fmla="*/ 3131417 h 6380470"/>
              <a:gd name="connsiteX1727" fmla="*/ 5031828 w 11625583"/>
              <a:gd name="connsiteY1727" fmla="*/ 3131417 h 6380470"/>
              <a:gd name="connsiteX1728" fmla="*/ 5096490 w 11625583"/>
              <a:gd name="connsiteY1728" fmla="*/ 3196083 h 6380470"/>
              <a:gd name="connsiteX1729" fmla="*/ 5031828 w 11625583"/>
              <a:gd name="connsiteY1729" fmla="*/ 3260749 h 6380470"/>
              <a:gd name="connsiteX1730" fmla="*/ 4967158 w 11625583"/>
              <a:gd name="connsiteY1730" fmla="*/ 3196083 h 6380470"/>
              <a:gd name="connsiteX1731" fmla="*/ 5031828 w 11625583"/>
              <a:gd name="connsiteY1731" fmla="*/ 3131417 h 6380470"/>
              <a:gd name="connsiteX1732" fmla="*/ 2855500 w 11625583"/>
              <a:gd name="connsiteY1732" fmla="*/ 3131417 h 6380470"/>
              <a:gd name="connsiteX1733" fmla="*/ 2920162 w 11625583"/>
              <a:gd name="connsiteY1733" fmla="*/ 3196083 h 6380470"/>
              <a:gd name="connsiteX1734" fmla="*/ 2855500 w 11625583"/>
              <a:gd name="connsiteY1734" fmla="*/ 3260749 h 6380470"/>
              <a:gd name="connsiteX1735" fmla="*/ 2790838 w 11625583"/>
              <a:gd name="connsiteY1735" fmla="*/ 3196083 h 6380470"/>
              <a:gd name="connsiteX1736" fmla="*/ 2855500 w 11625583"/>
              <a:gd name="connsiteY1736" fmla="*/ 3131417 h 6380470"/>
              <a:gd name="connsiteX1737" fmla="*/ 2546285 w 11625583"/>
              <a:gd name="connsiteY1737" fmla="*/ 3131417 h 6380470"/>
              <a:gd name="connsiteX1738" fmla="*/ 2610949 w 11625583"/>
              <a:gd name="connsiteY1738" fmla="*/ 3196083 h 6380470"/>
              <a:gd name="connsiteX1739" fmla="*/ 2546285 w 11625583"/>
              <a:gd name="connsiteY1739" fmla="*/ 3260749 h 6380470"/>
              <a:gd name="connsiteX1740" fmla="*/ 2481623 w 11625583"/>
              <a:gd name="connsiteY1740" fmla="*/ 3196083 h 6380470"/>
              <a:gd name="connsiteX1741" fmla="*/ 2546285 w 11625583"/>
              <a:gd name="connsiteY1741" fmla="*/ 3131417 h 6380470"/>
              <a:gd name="connsiteX1742" fmla="*/ 2237047 w 11625583"/>
              <a:gd name="connsiteY1742" fmla="*/ 3131417 h 6380470"/>
              <a:gd name="connsiteX1743" fmla="*/ 2301721 w 11625583"/>
              <a:gd name="connsiteY1743" fmla="*/ 3196083 h 6380470"/>
              <a:gd name="connsiteX1744" fmla="*/ 2237047 w 11625583"/>
              <a:gd name="connsiteY1744" fmla="*/ 3260749 h 6380470"/>
              <a:gd name="connsiteX1745" fmla="*/ 2172373 w 11625583"/>
              <a:gd name="connsiteY1745" fmla="*/ 3196083 h 6380470"/>
              <a:gd name="connsiteX1746" fmla="*/ 2237047 w 11625583"/>
              <a:gd name="connsiteY1746" fmla="*/ 3131417 h 6380470"/>
              <a:gd name="connsiteX1747" fmla="*/ 2084377 w 11625583"/>
              <a:gd name="connsiteY1747" fmla="*/ 3131417 h 6380470"/>
              <a:gd name="connsiteX1748" fmla="*/ 2149042 w 11625583"/>
              <a:gd name="connsiteY1748" fmla="*/ 3196083 h 6380470"/>
              <a:gd name="connsiteX1749" fmla="*/ 2084377 w 11625583"/>
              <a:gd name="connsiteY1749" fmla="*/ 3260749 h 6380470"/>
              <a:gd name="connsiteX1750" fmla="*/ 2019725 w 11625583"/>
              <a:gd name="connsiteY1750" fmla="*/ 3196083 h 6380470"/>
              <a:gd name="connsiteX1751" fmla="*/ 2084377 w 11625583"/>
              <a:gd name="connsiteY1751" fmla="*/ 3131417 h 6380470"/>
              <a:gd name="connsiteX1752" fmla="*/ 9227976 w 11625583"/>
              <a:gd name="connsiteY1752" fmla="*/ 2986586 h 6380470"/>
              <a:gd name="connsiteX1753" fmla="*/ 9292642 w 11625583"/>
              <a:gd name="connsiteY1753" fmla="*/ 3051252 h 6380470"/>
              <a:gd name="connsiteX1754" fmla="*/ 9227976 w 11625583"/>
              <a:gd name="connsiteY1754" fmla="*/ 3115919 h 6380470"/>
              <a:gd name="connsiteX1755" fmla="*/ 9163310 w 11625583"/>
              <a:gd name="connsiteY1755" fmla="*/ 3051252 h 6380470"/>
              <a:gd name="connsiteX1756" fmla="*/ 9227976 w 11625583"/>
              <a:gd name="connsiteY1756" fmla="*/ 2986586 h 6380470"/>
              <a:gd name="connsiteX1757" fmla="*/ 9075317 w 11625583"/>
              <a:gd name="connsiteY1757" fmla="*/ 2986586 h 6380470"/>
              <a:gd name="connsiteX1758" fmla="*/ 9139983 w 11625583"/>
              <a:gd name="connsiteY1758" fmla="*/ 3051252 h 6380470"/>
              <a:gd name="connsiteX1759" fmla="*/ 9075317 w 11625583"/>
              <a:gd name="connsiteY1759" fmla="*/ 3115919 h 6380470"/>
              <a:gd name="connsiteX1760" fmla="*/ 9010651 w 11625583"/>
              <a:gd name="connsiteY1760" fmla="*/ 3051252 h 6380470"/>
              <a:gd name="connsiteX1761" fmla="*/ 9075317 w 11625583"/>
              <a:gd name="connsiteY1761" fmla="*/ 2986586 h 6380470"/>
              <a:gd name="connsiteX1762" fmla="*/ 9384550 w 11625583"/>
              <a:gd name="connsiteY1762" fmla="*/ 2986584 h 6380470"/>
              <a:gd name="connsiteX1763" fmla="*/ 9449216 w 11625583"/>
              <a:gd name="connsiteY1763" fmla="*/ 3051250 h 6380470"/>
              <a:gd name="connsiteX1764" fmla="*/ 9384550 w 11625583"/>
              <a:gd name="connsiteY1764" fmla="*/ 3115917 h 6380470"/>
              <a:gd name="connsiteX1765" fmla="*/ 9319884 w 11625583"/>
              <a:gd name="connsiteY1765" fmla="*/ 3051250 h 6380470"/>
              <a:gd name="connsiteX1766" fmla="*/ 9384550 w 11625583"/>
              <a:gd name="connsiteY1766" fmla="*/ 2986584 h 6380470"/>
              <a:gd name="connsiteX1767" fmla="*/ 8914829 w 11625583"/>
              <a:gd name="connsiteY1767" fmla="*/ 2986584 h 6380470"/>
              <a:gd name="connsiteX1768" fmla="*/ 8979495 w 11625583"/>
              <a:gd name="connsiteY1768" fmla="*/ 3051250 h 6380470"/>
              <a:gd name="connsiteX1769" fmla="*/ 8914829 w 11625583"/>
              <a:gd name="connsiteY1769" fmla="*/ 3115917 h 6380470"/>
              <a:gd name="connsiteX1770" fmla="*/ 8850163 w 11625583"/>
              <a:gd name="connsiteY1770" fmla="*/ 3051250 h 6380470"/>
              <a:gd name="connsiteX1771" fmla="*/ 8914829 w 11625583"/>
              <a:gd name="connsiteY1771" fmla="*/ 2986584 h 6380470"/>
              <a:gd name="connsiteX1772" fmla="*/ 8766086 w 11625583"/>
              <a:gd name="connsiteY1772" fmla="*/ 2986584 h 6380470"/>
              <a:gd name="connsiteX1773" fmla="*/ 8830752 w 11625583"/>
              <a:gd name="connsiteY1773" fmla="*/ 3051250 h 6380470"/>
              <a:gd name="connsiteX1774" fmla="*/ 8766086 w 11625583"/>
              <a:gd name="connsiteY1774" fmla="*/ 3115917 h 6380470"/>
              <a:gd name="connsiteX1775" fmla="*/ 8701420 w 11625583"/>
              <a:gd name="connsiteY1775" fmla="*/ 3051250 h 6380470"/>
              <a:gd name="connsiteX1776" fmla="*/ 8766086 w 11625583"/>
              <a:gd name="connsiteY1776" fmla="*/ 2986584 h 6380470"/>
              <a:gd name="connsiteX1777" fmla="*/ 8601683 w 11625583"/>
              <a:gd name="connsiteY1777" fmla="*/ 2986584 h 6380470"/>
              <a:gd name="connsiteX1778" fmla="*/ 8666349 w 11625583"/>
              <a:gd name="connsiteY1778" fmla="*/ 3051250 h 6380470"/>
              <a:gd name="connsiteX1779" fmla="*/ 8601683 w 11625583"/>
              <a:gd name="connsiteY1779" fmla="*/ 3115917 h 6380470"/>
              <a:gd name="connsiteX1780" fmla="*/ 8537017 w 11625583"/>
              <a:gd name="connsiteY1780" fmla="*/ 3051250 h 6380470"/>
              <a:gd name="connsiteX1781" fmla="*/ 8601683 w 11625583"/>
              <a:gd name="connsiteY1781" fmla="*/ 2986584 h 6380470"/>
              <a:gd name="connsiteX1782" fmla="*/ 8449025 w 11625583"/>
              <a:gd name="connsiteY1782" fmla="*/ 2986584 h 6380470"/>
              <a:gd name="connsiteX1783" fmla="*/ 8513691 w 11625583"/>
              <a:gd name="connsiteY1783" fmla="*/ 3051250 h 6380470"/>
              <a:gd name="connsiteX1784" fmla="*/ 8449025 w 11625583"/>
              <a:gd name="connsiteY1784" fmla="*/ 3115917 h 6380470"/>
              <a:gd name="connsiteX1785" fmla="*/ 8384359 w 11625583"/>
              <a:gd name="connsiteY1785" fmla="*/ 3051250 h 6380470"/>
              <a:gd name="connsiteX1786" fmla="*/ 8449025 w 11625583"/>
              <a:gd name="connsiteY1786" fmla="*/ 2986584 h 6380470"/>
              <a:gd name="connsiteX1787" fmla="*/ 8139793 w 11625583"/>
              <a:gd name="connsiteY1787" fmla="*/ 2986584 h 6380470"/>
              <a:gd name="connsiteX1788" fmla="*/ 8204459 w 11625583"/>
              <a:gd name="connsiteY1788" fmla="*/ 3051250 h 6380470"/>
              <a:gd name="connsiteX1789" fmla="*/ 8139793 w 11625583"/>
              <a:gd name="connsiteY1789" fmla="*/ 3115917 h 6380470"/>
              <a:gd name="connsiteX1790" fmla="*/ 8075127 w 11625583"/>
              <a:gd name="connsiteY1790" fmla="*/ 3051250 h 6380470"/>
              <a:gd name="connsiteX1791" fmla="*/ 8139793 w 11625583"/>
              <a:gd name="connsiteY1791" fmla="*/ 2986584 h 6380470"/>
              <a:gd name="connsiteX1792" fmla="*/ 7987133 w 11625583"/>
              <a:gd name="connsiteY1792" fmla="*/ 2986584 h 6380470"/>
              <a:gd name="connsiteX1793" fmla="*/ 8051799 w 11625583"/>
              <a:gd name="connsiteY1793" fmla="*/ 3051250 h 6380470"/>
              <a:gd name="connsiteX1794" fmla="*/ 7987133 w 11625583"/>
              <a:gd name="connsiteY1794" fmla="*/ 3115917 h 6380470"/>
              <a:gd name="connsiteX1795" fmla="*/ 7922467 w 11625583"/>
              <a:gd name="connsiteY1795" fmla="*/ 3051250 h 6380470"/>
              <a:gd name="connsiteX1796" fmla="*/ 7987133 w 11625583"/>
              <a:gd name="connsiteY1796" fmla="*/ 2986584 h 6380470"/>
              <a:gd name="connsiteX1797" fmla="*/ 7830562 w 11625583"/>
              <a:gd name="connsiteY1797" fmla="*/ 2986584 h 6380470"/>
              <a:gd name="connsiteX1798" fmla="*/ 7895228 w 11625583"/>
              <a:gd name="connsiteY1798" fmla="*/ 3051250 h 6380470"/>
              <a:gd name="connsiteX1799" fmla="*/ 7830562 w 11625583"/>
              <a:gd name="connsiteY1799" fmla="*/ 3115917 h 6380470"/>
              <a:gd name="connsiteX1800" fmla="*/ 7765896 w 11625583"/>
              <a:gd name="connsiteY1800" fmla="*/ 3051250 h 6380470"/>
              <a:gd name="connsiteX1801" fmla="*/ 7830562 w 11625583"/>
              <a:gd name="connsiteY1801" fmla="*/ 2986584 h 6380470"/>
              <a:gd name="connsiteX1802" fmla="*/ 7368669 w 11625583"/>
              <a:gd name="connsiteY1802" fmla="*/ 2986584 h 6380470"/>
              <a:gd name="connsiteX1803" fmla="*/ 7433335 w 11625583"/>
              <a:gd name="connsiteY1803" fmla="*/ 3051250 h 6380470"/>
              <a:gd name="connsiteX1804" fmla="*/ 7368669 w 11625583"/>
              <a:gd name="connsiteY1804" fmla="*/ 3115917 h 6380470"/>
              <a:gd name="connsiteX1805" fmla="*/ 7304003 w 11625583"/>
              <a:gd name="connsiteY1805" fmla="*/ 3051250 h 6380470"/>
              <a:gd name="connsiteX1806" fmla="*/ 7368669 w 11625583"/>
              <a:gd name="connsiteY1806" fmla="*/ 2986584 h 6380470"/>
              <a:gd name="connsiteX1807" fmla="*/ 6742377 w 11625583"/>
              <a:gd name="connsiteY1807" fmla="*/ 2986584 h 6380470"/>
              <a:gd name="connsiteX1808" fmla="*/ 6807043 w 11625583"/>
              <a:gd name="connsiteY1808" fmla="*/ 3051250 h 6380470"/>
              <a:gd name="connsiteX1809" fmla="*/ 6742377 w 11625583"/>
              <a:gd name="connsiteY1809" fmla="*/ 3115917 h 6380470"/>
              <a:gd name="connsiteX1810" fmla="*/ 6677711 w 11625583"/>
              <a:gd name="connsiteY1810" fmla="*/ 3051250 h 6380470"/>
              <a:gd name="connsiteX1811" fmla="*/ 6742377 w 11625583"/>
              <a:gd name="connsiteY1811" fmla="*/ 2986584 h 6380470"/>
              <a:gd name="connsiteX1812" fmla="*/ 6429229 w 11625583"/>
              <a:gd name="connsiteY1812" fmla="*/ 2986584 h 6380470"/>
              <a:gd name="connsiteX1813" fmla="*/ 6493895 w 11625583"/>
              <a:gd name="connsiteY1813" fmla="*/ 3051250 h 6380470"/>
              <a:gd name="connsiteX1814" fmla="*/ 6429229 w 11625583"/>
              <a:gd name="connsiteY1814" fmla="*/ 3115917 h 6380470"/>
              <a:gd name="connsiteX1815" fmla="*/ 6364563 w 11625583"/>
              <a:gd name="connsiteY1815" fmla="*/ 3051250 h 6380470"/>
              <a:gd name="connsiteX1816" fmla="*/ 6429229 w 11625583"/>
              <a:gd name="connsiteY1816" fmla="*/ 2986584 h 6380470"/>
              <a:gd name="connsiteX1817" fmla="*/ 6276571 w 11625583"/>
              <a:gd name="connsiteY1817" fmla="*/ 2986584 h 6380470"/>
              <a:gd name="connsiteX1818" fmla="*/ 6341237 w 11625583"/>
              <a:gd name="connsiteY1818" fmla="*/ 3051250 h 6380470"/>
              <a:gd name="connsiteX1819" fmla="*/ 6276571 w 11625583"/>
              <a:gd name="connsiteY1819" fmla="*/ 3115917 h 6380470"/>
              <a:gd name="connsiteX1820" fmla="*/ 6211905 w 11625583"/>
              <a:gd name="connsiteY1820" fmla="*/ 3051250 h 6380470"/>
              <a:gd name="connsiteX1821" fmla="*/ 6276571 w 11625583"/>
              <a:gd name="connsiteY1821" fmla="*/ 2986584 h 6380470"/>
              <a:gd name="connsiteX1822" fmla="*/ 5967339 w 11625583"/>
              <a:gd name="connsiteY1822" fmla="*/ 2986584 h 6380470"/>
              <a:gd name="connsiteX1823" fmla="*/ 6032005 w 11625583"/>
              <a:gd name="connsiteY1823" fmla="*/ 3051250 h 6380470"/>
              <a:gd name="connsiteX1824" fmla="*/ 5967339 w 11625583"/>
              <a:gd name="connsiteY1824" fmla="*/ 3115917 h 6380470"/>
              <a:gd name="connsiteX1825" fmla="*/ 5902673 w 11625583"/>
              <a:gd name="connsiteY1825" fmla="*/ 3051250 h 6380470"/>
              <a:gd name="connsiteX1826" fmla="*/ 5967339 w 11625583"/>
              <a:gd name="connsiteY1826" fmla="*/ 2986584 h 6380470"/>
              <a:gd name="connsiteX1827" fmla="*/ 5810783 w 11625583"/>
              <a:gd name="connsiteY1827" fmla="*/ 2986584 h 6380470"/>
              <a:gd name="connsiteX1828" fmla="*/ 5875431 w 11625583"/>
              <a:gd name="connsiteY1828" fmla="*/ 3051250 h 6380470"/>
              <a:gd name="connsiteX1829" fmla="*/ 5810783 w 11625583"/>
              <a:gd name="connsiteY1829" fmla="*/ 3115917 h 6380470"/>
              <a:gd name="connsiteX1830" fmla="*/ 5746108 w 11625583"/>
              <a:gd name="connsiteY1830" fmla="*/ 3051250 h 6380470"/>
              <a:gd name="connsiteX1831" fmla="*/ 5810783 w 11625583"/>
              <a:gd name="connsiteY1831" fmla="*/ 2986584 h 6380470"/>
              <a:gd name="connsiteX1832" fmla="*/ 5658107 w 11625583"/>
              <a:gd name="connsiteY1832" fmla="*/ 2986584 h 6380470"/>
              <a:gd name="connsiteX1833" fmla="*/ 5722777 w 11625583"/>
              <a:gd name="connsiteY1833" fmla="*/ 3051250 h 6380470"/>
              <a:gd name="connsiteX1834" fmla="*/ 5658107 w 11625583"/>
              <a:gd name="connsiteY1834" fmla="*/ 3115917 h 6380470"/>
              <a:gd name="connsiteX1835" fmla="*/ 5593441 w 11625583"/>
              <a:gd name="connsiteY1835" fmla="*/ 3051250 h 6380470"/>
              <a:gd name="connsiteX1836" fmla="*/ 5658107 w 11625583"/>
              <a:gd name="connsiteY1836" fmla="*/ 2986584 h 6380470"/>
              <a:gd name="connsiteX1837" fmla="*/ 5501538 w 11625583"/>
              <a:gd name="connsiteY1837" fmla="*/ 2986584 h 6380470"/>
              <a:gd name="connsiteX1838" fmla="*/ 5566202 w 11625583"/>
              <a:gd name="connsiteY1838" fmla="*/ 3051250 h 6380470"/>
              <a:gd name="connsiteX1839" fmla="*/ 5501538 w 11625583"/>
              <a:gd name="connsiteY1839" fmla="*/ 3115917 h 6380470"/>
              <a:gd name="connsiteX1840" fmla="*/ 5436877 w 11625583"/>
              <a:gd name="connsiteY1840" fmla="*/ 3051250 h 6380470"/>
              <a:gd name="connsiteX1841" fmla="*/ 5501538 w 11625583"/>
              <a:gd name="connsiteY1841" fmla="*/ 2986584 h 6380470"/>
              <a:gd name="connsiteX1842" fmla="*/ 5192312 w 11625583"/>
              <a:gd name="connsiteY1842" fmla="*/ 2986584 h 6380470"/>
              <a:gd name="connsiteX1843" fmla="*/ 5256975 w 11625583"/>
              <a:gd name="connsiteY1843" fmla="*/ 3051250 h 6380470"/>
              <a:gd name="connsiteX1844" fmla="*/ 5192312 w 11625583"/>
              <a:gd name="connsiteY1844" fmla="*/ 3115917 h 6380470"/>
              <a:gd name="connsiteX1845" fmla="*/ 5127645 w 11625583"/>
              <a:gd name="connsiteY1845" fmla="*/ 3051250 h 6380470"/>
              <a:gd name="connsiteX1846" fmla="*/ 5192312 w 11625583"/>
              <a:gd name="connsiteY1846" fmla="*/ 2986584 h 6380470"/>
              <a:gd name="connsiteX1847" fmla="*/ 8296368 w 11625583"/>
              <a:gd name="connsiteY1847" fmla="*/ 2986583 h 6380470"/>
              <a:gd name="connsiteX1848" fmla="*/ 8361034 w 11625583"/>
              <a:gd name="connsiteY1848" fmla="*/ 3051249 h 6380470"/>
              <a:gd name="connsiteX1849" fmla="*/ 8296368 w 11625583"/>
              <a:gd name="connsiteY1849" fmla="*/ 3115916 h 6380470"/>
              <a:gd name="connsiteX1850" fmla="*/ 8231702 w 11625583"/>
              <a:gd name="connsiteY1850" fmla="*/ 3051249 h 6380470"/>
              <a:gd name="connsiteX1851" fmla="*/ 8296368 w 11625583"/>
              <a:gd name="connsiteY1851" fmla="*/ 2986583 h 6380470"/>
              <a:gd name="connsiteX1852" fmla="*/ 7677904 w 11625583"/>
              <a:gd name="connsiteY1852" fmla="*/ 2986583 h 6380470"/>
              <a:gd name="connsiteX1853" fmla="*/ 7742570 w 11625583"/>
              <a:gd name="connsiteY1853" fmla="*/ 3051249 h 6380470"/>
              <a:gd name="connsiteX1854" fmla="*/ 7677904 w 11625583"/>
              <a:gd name="connsiteY1854" fmla="*/ 3115916 h 6380470"/>
              <a:gd name="connsiteX1855" fmla="*/ 7613238 w 11625583"/>
              <a:gd name="connsiteY1855" fmla="*/ 3051249 h 6380470"/>
              <a:gd name="connsiteX1856" fmla="*/ 7677904 w 11625583"/>
              <a:gd name="connsiteY1856" fmla="*/ 2986583 h 6380470"/>
              <a:gd name="connsiteX1857" fmla="*/ 7521331 w 11625583"/>
              <a:gd name="connsiteY1857" fmla="*/ 2986583 h 6380470"/>
              <a:gd name="connsiteX1858" fmla="*/ 7585997 w 11625583"/>
              <a:gd name="connsiteY1858" fmla="*/ 3051249 h 6380470"/>
              <a:gd name="connsiteX1859" fmla="*/ 7521331 w 11625583"/>
              <a:gd name="connsiteY1859" fmla="*/ 3115916 h 6380470"/>
              <a:gd name="connsiteX1860" fmla="*/ 7456665 w 11625583"/>
              <a:gd name="connsiteY1860" fmla="*/ 3051249 h 6380470"/>
              <a:gd name="connsiteX1861" fmla="*/ 7521331 w 11625583"/>
              <a:gd name="connsiteY1861" fmla="*/ 2986583 h 6380470"/>
              <a:gd name="connsiteX1862" fmla="*/ 7212096 w 11625583"/>
              <a:gd name="connsiteY1862" fmla="*/ 2986583 h 6380470"/>
              <a:gd name="connsiteX1863" fmla="*/ 7276762 w 11625583"/>
              <a:gd name="connsiteY1863" fmla="*/ 3051249 h 6380470"/>
              <a:gd name="connsiteX1864" fmla="*/ 7212096 w 11625583"/>
              <a:gd name="connsiteY1864" fmla="*/ 3115916 h 6380470"/>
              <a:gd name="connsiteX1865" fmla="*/ 7147430 w 11625583"/>
              <a:gd name="connsiteY1865" fmla="*/ 3051249 h 6380470"/>
              <a:gd name="connsiteX1866" fmla="*/ 7212096 w 11625583"/>
              <a:gd name="connsiteY1866" fmla="*/ 2986583 h 6380470"/>
              <a:gd name="connsiteX1867" fmla="*/ 7055523 w 11625583"/>
              <a:gd name="connsiteY1867" fmla="*/ 2986583 h 6380470"/>
              <a:gd name="connsiteX1868" fmla="*/ 7120189 w 11625583"/>
              <a:gd name="connsiteY1868" fmla="*/ 3051249 h 6380470"/>
              <a:gd name="connsiteX1869" fmla="*/ 7055523 w 11625583"/>
              <a:gd name="connsiteY1869" fmla="*/ 3115916 h 6380470"/>
              <a:gd name="connsiteX1870" fmla="*/ 6990857 w 11625583"/>
              <a:gd name="connsiteY1870" fmla="*/ 3051249 h 6380470"/>
              <a:gd name="connsiteX1871" fmla="*/ 7055523 w 11625583"/>
              <a:gd name="connsiteY1871" fmla="*/ 2986583 h 6380470"/>
              <a:gd name="connsiteX1872" fmla="*/ 6895037 w 11625583"/>
              <a:gd name="connsiteY1872" fmla="*/ 2986583 h 6380470"/>
              <a:gd name="connsiteX1873" fmla="*/ 6959703 w 11625583"/>
              <a:gd name="connsiteY1873" fmla="*/ 3051249 h 6380470"/>
              <a:gd name="connsiteX1874" fmla="*/ 6895037 w 11625583"/>
              <a:gd name="connsiteY1874" fmla="*/ 3115916 h 6380470"/>
              <a:gd name="connsiteX1875" fmla="*/ 6830371 w 11625583"/>
              <a:gd name="connsiteY1875" fmla="*/ 3051249 h 6380470"/>
              <a:gd name="connsiteX1876" fmla="*/ 6895037 w 11625583"/>
              <a:gd name="connsiteY1876" fmla="*/ 2986583 h 6380470"/>
              <a:gd name="connsiteX1877" fmla="*/ 6585804 w 11625583"/>
              <a:gd name="connsiteY1877" fmla="*/ 2986583 h 6380470"/>
              <a:gd name="connsiteX1878" fmla="*/ 6650470 w 11625583"/>
              <a:gd name="connsiteY1878" fmla="*/ 3051249 h 6380470"/>
              <a:gd name="connsiteX1879" fmla="*/ 6585804 w 11625583"/>
              <a:gd name="connsiteY1879" fmla="*/ 3115916 h 6380470"/>
              <a:gd name="connsiteX1880" fmla="*/ 6521138 w 11625583"/>
              <a:gd name="connsiteY1880" fmla="*/ 3051249 h 6380470"/>
              <a:gd name="connsiteX1881" fmla="*/ 6585804 w 11625583"/>
              <a:gd name="connsiteY1881" fmla="*/ 2986583 h 6380470"/>
              <a:gd name="connsiteX1882" fmla="*/ 6119999 w 11625583"/>
              <a:gd name="connsiteY1882" fmla="*/ 2986583 h 6380470"/>
              <a:gd name="connsiteX1883" fmla="*/ 6184665 w 11625583"/>
              <a:gd name="connsiteY1883" fmla="*/ 3051249 h 6380470"/>
              <a:gd name="connsiteX1884" fmla="*/ 6119999 w 11625583"/>
              <a:gd name="connsiteY1884" fmla="*/ 3115916 h 6380470"/>
              <a:gd name="connsiteX1885" fmla="*/ 6055333 w 11625583"/>
              <a:gd name="connsiteY1885" fmla="*/ 3051249 h 6380470"/>
              <a:gd name="connsiteX1886" fmla="*/ 6119999 w 11625583"/>
              <a:gd name="connsiteY1886" fmla="*/ 2986583 h 6380470"/>
              <a:gd name="connsiteX1887" fmla="*/ 5348883 w 11625583"/>
              <a:gd name="connsiteY1887" fmla="*/ 2986583 h 6380470"/>
              <a:gd name="connsiteX1888" fmla="*/ 5413550 w 11625583"/>
              <a:gd name="connsiteY1888" fmla="*/ 3051249 h 6380470"/>
              <a:gd name="connsiteX1889" fmla="*/ 5348883 w 11625583"/>
              <a:gd name="connsiteY1889" fmla="*/ 3115916 h 6380470"/>
              <a:gd name="connsiteX1890" fmla="*/ 5284221 w 11625583"/>
              <a:gd name="connsiteY1890" fmla="*/ 3051249 h 6380470"/>
              <a:gd name="connsiteX1891" fmla="*/ 5348883 w 11625583"/>
              <a:gd name="connsiteY1891" fmla="*/ 2986583 h 6380470"/>
              <a:gd name="connsiteX1892" fmla="*/ 5031831 w 11625583"/>
              <a:gd name="connsiteY1892" fmla="*/ 2986583 h 6380470"/>
              <a:gd name="connsiteX1893" fmla="*/ 5096494 w 11625583"/>
              <a:gd name="connsiteY1893" fmla="*/ 3051249 h 6380470"/>
              <a:gd name="connsiteX1894" fmla="*/ 5031831 w 11625583"/>
              <a:gd name="connsiteY1894" fmla="*/ 3115916 h 6380470"/>
              <a:gd name="connsiteX1895" fmla="*/ 4967160 w 11625583"/>
              <a:gd name="connsiteY1895" fmla="*/ 3051249 h 6380470"/>
              <a:gd name="connsiteX1896" fmla="*/ 5031831 w 11625583"/>
              <a:gd name="connsiteY1896" fmla="*/ 2986583 h 6380470"/>
              <a:gd name="connsiteX1897" fmla="*/ 2237053 w 11625583"/>
              <a:gd name="connsiteY1897" fmla="*/ 2986583 h 6380470"/>
              <a:gd name="connsiteX1898" fmla="*/ 2301728 w 11625583"/>
              <a:gd name="connsiteY1898" fmla="*/ 3051249 h 6380470"/>
              <a:gd name="connsiteX1899" fmla="*/ 2237053 w 11625583"/>
              <a:gd name="connsiteY1899" fmla="*/ 3115916 h 6380470"/>
              <a:gd name="connsiteX1900" fmla="*/ 2172378 w 11625583"/>
              <a:gd name="connsiteY1900" fmla="*/ 3051249 h 6380470"/>
              <a:gd name="connsiteX1901" fmla="*/ 2237053 w 11625583"/>
              <a:gd name="connsiteY1901" fmla="*/ 2986583 h 6380470"/>
              <a:gd name="connsiteX1902" fmla="*/ 2084380 w 11625583"/>
              <a:gd name="connsiteY1902" fmla="*/ 2986583 h 6380470"/>
              <a:gd name="connsiteX1903" fmla="*/ 2149047 w 11625583"/>
              <a:gd name="connsiteY1903" fmla="*/ 3051249 h 6380470"/>
              <a:gd name="connsiteX1904" fmla="*/ 2084380 w 11625583"/>
              <a:gd name="connsiteY1904" fmla="*/ 3115916 h 6380470"/>
              <a:gd name="connsiteX1905" fmla="*/ 2019725 w 11625583"/>
              <a:gd name="connsiteY1905" fmla="*/ 3051249 h 6380470"/>
              <a:gd name="connsiteX1906" fmla="*/ 2084380 w 11625583"/>
              <a:gd name="connsiteY1906" fmla="*/ 2986583 h 6380470"/>
              <a:gd name="connsiteX1907" fmla="*/ 1927806 w 11625583"/>
              <a:gd name="connsiteY1907" fmla="*/ 2986583 h 6380470"/>
              <a:gd name="connsiteX1908" fmla="*/ 1992481 w 11625583"/>
              <a:gd name="connsiteY1908" fmla="*/ 3051249 h 6380470"/>
              <a:gd name="connsiteX1909" fmla="*/ 1927806 w 11625583"/>
              <a:gd name="connsiteY1909" fmla="*/ 3115916 h 6380470"/>
              <a:gd name="connsiteX1910" fmla="*/ 1863153 w 11625583"/>
              <a:gd name="connsiteY1910" fmla="*/ 3051249 h 6380470"/>
              <a:gd name="connsiteX1911" fmla="*/ 1927806 w 11625583"/>
              <a:gd name="connsiteY1911" fmla="*/ 2986583 h 6380470"/>
              <a:gd name="connsiteX1912" fmla="*/ 9384550 w 11625583"/>
              <a:gd name="connsiteY1912" fmla="*/ 2841752 h 6380470"/>
              <a:gd name="connsiteX1913" fmla="*/ 9449216 w 11625583"/>
              <a:gd name="connsiteY1913" fmla="*/ 2906419 h 6380470"/>
              <a:gd name="connsiteX1914" fmla="*/ 9384550 w 11625583"/>
              <a:gd name="connsiteY1914" fmla="*/ 2971084 h 6380470"/>
              <a:gd name="connsiteX1915" fmla="*/ 9319884 w 11625583"/>
              <a:gd name="connsiteY1915" fmla="*/ 2906419 h 6380470"/>
              <a:gd name="connsiteX1916" fmla="*/ 9384550 w 11625583"/>
              <a:gd name="connsiteY1916" fmla="*/ 2841752 h 6380470"/>
              <a:gd name="connsiteX1917" fmla="*/ 9227977 w 11625583"/>
              <a:gd name="connsiteY1917" fmla="*/ 2841752 h 6380470"/>
              <a:gd name="connsiteX1918" fmla="*/ 9292643 w 11625583"/>
              <a:gd name="connsiteY1918" fmla="*/ 2906419 h 6380470"/>
              <a:gd name="connsiteX1919" fmla="*/ 9227977 w 11625583"/>
              <a:gd name="connsiteY1919" fmla="*/ 2971084 h 6380470"/>
              <a:gd name="connsiteX1920" fmla="*/ 9163311 w 11625583"/>
              <a:gd name="connsiteY1920" fmla="*/ 2906419 h 6380470"/>
              <a:gd name="connsiteX1921" fmla="*/ 9227977 w 11625583"/>
              <a:gd name="connsiteY1921" fmla="*/ 2841752 h 6380470"/>
              <a:gd name="connsiteX1922" fmla="*/ 9075319 w 11625583"/>
              <a:gd name="connsiteY1922" fmla="*/ 2841752 h 6380470"/>
              <a:gd name="connsiteX1923" fmla="*/ 9139985 w 11625583"/>
              <a:gd name="connsiteY1923" fmla="*/ 2906419 h 6380470"/>
              <a:gd name="connsiteX1924" fmla="*/ 9075319 w 11625583"/>
              <a:gd name="connsiteY1924" fmla="*/ 2971084 h 6380470"/>
              <a:gd name="connsiteX1925" fmla="*/ 9010653 w 11625583"/>
              <a:gd name="connsiteY1925" fmla="*/ 2906419 h 6380470"/>
              <a:gd name="connsiteX1926" fmla="*/ 9075319 w 11625583"/>
              <a:gd name="connsiteY1926" fmla="*/ 2841752 h 6380470"/>
              <a:gd name="connsiteX1927" fmla="*/ 8914831 w 11625583"/>
              <a:gd name="connsiteY1927" fmla="*/ 2841752 h 6380470"/>
              <a:gd name="connsiteX1928" fmla="*/ 8979497 w 11625583"/>
              <a:gd name="connsiteY1928" fmla="*/ 2906419 h 6380470"/>
              <a:gd name="connsiteX1929" fmla="*/ 8914831 w 11625583"/>
              <a:gd name="connsiteY1929" fmla="*/ 2971084 h 6380470"/>
              <a:gd name="connsiteX1930" fmla="*/ 8850165 w 11625583"/>
              <a:gd name="connsiteY1930" fmla="*/ 2906419 h 6380470"/>
              <a:gd name="connsiteX1931" fmla="*/ 8914831 w 11625583"/>
              <a:gd name="connsiteY1931" fmla="*/ 2841752 h 6380470"/>
              <a:gd name="connsiteX1932" fmla="*/ 8766086 w 11625583"/>
              <a:gd name="connsiteY1932" fmla="*/ 2841752 h 6380470"/>
              <a:gd name="connsiteX1933" fmla="*/ 8830752 w 11625583"/>
              <a:gd name="connsiteY1933" fmla="*/ 2906419 h 6380470"/>
              <a:gd name="connsiteX1934" fmla="*/ 8766086 w 11625583"/>
              <a:gd name="connsiteY1934" fmla="*/ 2971084 h 6380470"/>
              <a:gd name="connsiteX1935" fmla="*/ 8701420 w 11625583"/>
              <a:gd name="connsiteY1935" fmla="*/ 2906419 h 6380470"/>
              <a:gd name="connsiteX1936" fmla="*/ 8766086 w 11625583"/>
              <a:gd name="connsiteY1936" fmla="*/ 2841752 h 6380470"/>
              <a:gd name="connsiteX1937" fmla="*/ 8601683 w 11625583"/>
              <a:gd name="connsiteY1937" fmla="*/ 2841752 h 6380470"/>
              <a:gd name="connsiteX1938" fmla="*/ 8666349 w 11625583"/>
              <a:gd name="connsiteY1938" fmla="*/ 2906419 h 6380470"/>
              <a:gd name="connsiteX1939" fmla="*/ 8601683 w 11625583"/>
              <a:gd name="connsiteY1939" fmla="*/ 2971084 h 6380470"/>
              <a:gd name="connsiteX1940" fmla="*/ 8537017 w 11625583"/>
              <a:gd name="connsiteY1940" fmla="*/ 2906419 h 6380470"/>
              <a:gd name="connsiteX1941" fmla="*/ 8601683 w 11625583"/>
              <a:gd name="connsiteY1941" fmla="*/ 2841752 h 6380470"/>
              <a:gd name="connsiteX1942" fmla="*/ 8449025 w 11625583"/>
              <a:gd name="connsiteY1942" fmla="*/ 2841752 h 6380470"/>
              <a:gd name="connsiteX1943" fmla="*/ 8513691 w 11625583"/>
              <a:gd name="connsiteY1943" fmla="*/ 2906419 h 6380470"/>
              <a:gd name="connsiteX1944" fmla="*/ 8449025 w 11625583"/>
              <a:gd name="connsiteY1944" fmla="*/ 2971084 h 6380470"/>
              <a:gd name="connsiteX1945" fmla="*/ 8384359 w 11625583"/>
              <a:gd name="connsiteY1945" fmla="*/ 2906419 h 6380470"/>
              <a:gd name="connsiteX1946" fmla="*/ 8449025 w 11625583"/>
              <a:gd name="connsiteY1946" fmla="*/ 2841752 h 6380470"/>
              <a:gd name="connsiteX1947" fmla="*/ 8296368 w 11625583"/>
              <a:gd name="connsiteY1947" fmla="*/ 2841752 h 6380470"/>
              <a:gd name="connsiteX1948" fmla="*/ 8361034 w 11625583"/>
              <a:gd name="connsiteY1948" fmla="*/ 2906419 h 6380470"/>
              <a:gd name="connsiteX1949" fmla="*/ 8296368 w 11625583"/>
              <a:gd name="connsiteY1949" fmla="*/ 2971084 h 6380470"/>
              <a:gd name="connsiteX1950" fmla="*/ 8231702 w 11625583"/>
              <a:gd name="connsiteY1950" fmla="*/ 2906419 h 6380470"/>
              <a:gd name="connsiteX1951" fmla="*/ 8296368 w 11625583"/>
              <a:gd name="connsiteY1951" fmla="*/ 2841752 h 6380470"/>
              <a:gd name="connsiteX1952" fmla="*/ 8139793 w 11625583"/>
              <a:gd name="connsiteY1952" fmla="*/ 2841752 h 6380470"/>
              <a:gd name="connsiteX1953" fmla="*/ 8204459 w 11625583"/>
              <a:gd name="connsiteY1953" fmla="*/ 2906419 h 6380470"/>
              <a:gd name="connsiteX1954" fmla="*/ 8139793 w 11625583"/>
              <a:gd name="connsiteY1954" fmla="*/ 2971084 h 6380470"/>
              <a:gd name="connsiteX1955" fmla="*/ 8075127 w 11625583"/>
              <a:gd name="connsiteY1955" fmla="*/ 2906419 h 6380470"/>
              <a:gd name="connsiteX1956" fmla="*/ 8139793 w 11625583"/>
              <a:gd name="connsiteY1956" fmla="*/ 2841752 h 6380470"/>
              <a:gd name="connsiteX1957" fmla="*/ 7987133 w 11625583"/>
              <a:gd name="connsiteY1957" fmla="*/ 2841752 h 6380470"/>
              <a:gd name="connsiteX1958" fmla="*/ 8051799 w 11625583"/>
              <a:gd name="connsiteY1958" fmla="*/ 2906419 h 6380470"/>
              <a:gd name="connsiteX1959" fmla="*/ 7987133 w 11625583"/>
              <a:gd name="connsiteY1959" fmla="*/ 2971084 h 6380470"/>
              <a:gd name="connsiteX1960" fmla="*/ 7922467 w 11625583"/>
              <a:gd name="connsiteY1960" fmla="*/ 2906419 h 6380470"/>
              <a:gd name="connsiteX1961" fmla="*/ 7987133 w 11625583"/>
              <a:gd name="connsiteY1961" fmla="*/ 2841752 h 6380470"/>
              <a:gd name="connsiteX1962" fmla="*/ 7830562 w 11625583"/>
              <a:gd name="connsiteY1962" fmla="*/ 2841752 h 6380470"/>
              <a:gd name="connsiteX1963" fmla="*/ 7895228 w 11625583"/>
              <a:gd name="connsiteY1963" fmla="*/ 2906419 h 6380470"/>
              <a:gd name="connsiteX1964" fmla="*/ 7830562 w 11625583"/>
              <a:gd name="connsiteY1964" fmla="*/ 2971084 h 6380470"/>
              <a:gd name="connsiteX1965" fmla="*/ 7765896 w 11625583"/>
              <a:gd name="connsiteY1965" fmla="*/ 2906419 h 6380470"/>
              <a:gd name="connsiteX1966" fmla="*/ 7830562 w 11625583"/>
              <a:gd name="connsiteY1966" fmla="*/ 2841752 h 6380470"/>
              <a:gd name="connsiteX1967" fmla="*/ 7677904 w 11625583"/>
              <a:gd name="connsiteY1967" fmla="*/ 2841752 h 6380470"/>
              <a:gd name="connsiteX1968" fmla="*/ 7742570 w 11625583"/>
              <a:gd name="connsiteY1968" fmla="*/ 2906419 h 6380470"/>
              <a:gd name="connsiteX1969" fmla="*/ 7677904 w 11625583"/>
              <a:gd name="connsiteY1969" fmla="*/ 2971084 h 6380470"/>
              <a:gd name="connsiteX1970" fmla="*/ 7613238 w 11625583"/>
              <a:gd name="connsiteY1970" fmla="*/ 2906419 h 6380470"/>
              <a:gd name="connsiteX1971" fmla="*/ 7677904 w 11625583"/>
              <a:gd name="connsiteY1971" fmla="*/ 2841752 h 6380470"/>
              <a:gd name="connsiteX1972" fmla="*/ 7521331 w 11625583"/>
              <a:gd name="connsiteY1972" fmla="*/ 2841752 h 6380470"/>
              <a:gd name="connsiteX1973" fmla="*/ 7585997 w 11625583"/>
              <a:gd name="connsiteY1973" fmla="*/ 2906419 h 6380470"/>
              <a:gd name="connsiteX1974" fmla="*/ 7521331 w 11625583"/>
              <a:gd name="connsiteY1974" fmla="*/ 2971084 h 6380470"/>
              <a:gd name="connsiteX1975" fmla="*/ 7456665 w 11625583"/>
              <a:gd name="connsiteY1975" fmla="*/ 2906419 h 6380470"/>
              <a:gd name="connsiteX1976" fmla="*/ 7521331 w 11625583"/>
              <a:gd name="connsiteY1976" fmla="*/ 2841752 h 6380470"/>
              <a:gd name="connsiteX1977" fmla="*/ 7368669 w 11625583"/>
              <a:gd name="connsiteY1977" fmla="*/ 2841752 h 6380470"/>
              <a:gd name="connsiteX1978" fmla="*/ 7433335 w 11625583"/>
              <a:gd name="connsiteY1978" fmla="*/ 2906419 h 6380470"/>
              <a:gd name="connsiteX1979" fmla="*/ 7368669 w 11625583"/>
              <a:gd name="connsiteY1979" fmla="*/ 2971084 h 6380470"/>
              <a:gd name="connsiteX1980" fmla="*/ 7304003 w 11625583"/>
              <a:gd name="connsiteY1980" fmla="*/ 2906419 h 6380470"/>
              <a:gd name="connsiteX1981" fmla="*/ 7368669 w 11625583"/>
              <a:gd name="connsiteY1981" fmla="*/ 2841752 h 6380470"/>
              <a:gd name="connsiteX1982" fmla="*/ 7212096 w 11625583"/>
              <a:gd name="connsiteY1982" fmla="*/ 2841752 h 6380470"/>
              <a:gd name="connsiteX1983" fmla="*/ 7276762 w 11625583"/>
              <a:gd name="connsiteY1983" fmla="*/ 2906419 h 6380470"/>
              <a:gd name="connsiteX1984" fmla="*/ 7212096 w 11625583"/>
              <a:gd name="connsiteY1984" fmla="*/ 2971084 h 6380470"/>
              <a:gd name="connsiteX1985" fmla="*/ 7147430 w 11625583"/>
              <a:gd name="connsiteY1985" fmla="*/ 2906419 h 6380470"/>
              <a:gd name="connsiteX1986" fmla="*/ 7212096 w 11625583"/>
              <a:gd name="connsiteY1986" fmla="*/ 2841752 h 6380470"/>
              <a:gd name="connsiteX1987" fmla="*/ 7055523 w 11625583"/>
              <a:gd name="connsiteY1987" fmla="*/ 2841752 h 6380470"/>
              <a:gd name="connsiteX1988" fmla="*/ 7120189 w 11625583"/>
              <a:gd name="connsiteY1988" fmla="*/ 2906419 h 6380470"/>
              <a:gd name="connsiteX1989" fmla="*/ 7055523 w 11625583"/>
              <a:gd name="connsiteY1989" fmla="*/ 2971084 h 6380470"/>
              <a:gd name="connsiteX1990" fmla="*/ 6990857 w 11625583"/>
              <a:gd name="connsiteY1990" fmla="*/ 2906419 h 6380470"/>
              <a:gd name="connsiteX1991" fmla="*/ 7055523 w 11625583"/>
              <a:gd name="connsiteY1991" fmla="*/ 2841752 h 6380470"/>
              <a:gd name="connsiteX1992" fmla="*/ 6895037 w 11625583"/>
              <a:gd name="connsiteY1992" fmla="*/ 2841752 h 6380470"/>
              <a:gd name="connsiteX1993" fmla="*/ 6959703 w 11625583"/>
              <a:gd name="connsiteY1993" fmla="*/ 2906419 h 6380470"/>
              <a:gd name="connsiteX1994" fmla="*/ 6895037 w 11625583"/>
              <a:gd name="connsiteY1994" fmla="*/ 2971084 h 6380470"/>
              <a:gd name="connsiteX1995" fmla="*/ 6830371 w 11625583"/>
              <a:gd name="connsiteY1995" fmla="*/ 2906419 h 6380470"/>
              <a:gd name="connsiteX1996" fmla="*/ 6895037 w 11625583"/>
              <a:gd name="connsiteY1996" fmla="*/ 2841752 h 6380470"/>
              <a:gd name="connsiteX1997" fmla="*/ 6742377 w 11625583"/>
              <a:gd name="connsiteY1997" fmla="*/ 2841752 h 6380470"/>
              <a:gd name="connsiteX1998" fmla="*/ 6807043 w 11625583"/>
              <a:gd name="connsiteY1998" fmla="*/ 2906419 h 6380470"/>
              <a:gd name="connsiteX1999" fmla="*/ 6742377 w 11625583"/>
              <a:gd name="connsiteY1999" fmla="*/ 2971084 h 6380470"/>
              <a:gd name="connsiteX2000" fmla="*/ 6677711 w 11625583"/>
              <a:gd name="connsiteY2000" fmla="*/ 2906419 h 6380470"/>
              <a:gd name="connsiteX2001" fmla="*/ 6742377 w 11625583"/>
              <a:gd name="connsiteY2001" fmla="*/ 2841752 h 6380470"/>
              <a:gd name="connsiteX2002" fmla="*/ 6585804 w 11625583"/>
              <a:gd name="connsiteY2002" fmla="*/ 2841752 h 6380470"/>
              <a:gd name="connsiteX2003" fmla="*/ 6650470 w 11625583"/>
              <a:gd name="connsiteY2003" fmla="*/ 2906419 h 6380470"/>
              <a:gd name="connsiteX2004" fmla="*/ 6585804 w 11625583"/>
              <a:gd name="connsiteY2004" fmla="*/ 2971084 h 6380470"/>
              <a:gd name="connsiteX2005" fmla="*/ 6521138 w 11625583"/>
              <a:gd name="connsiteY2005" fmla="*/ 2906419 h 6380470"/>
              <a:gd name="connsiteX2006" fmla="*/ 6585804 w 11625583"/>
              <a:gd name="connsiteY2006" fmla="*/ 2841752 h 6380470"/>
              <a:gd name="connsiteX2007" fmla="*/ 6429229 w 11625583"/>
              <a:gd name="connsiteY2007" fmla="*/ 2841752 h 6380470"/>
              <a:gd name="connsiteX2008" fmla="*/ 6493895 w 11625583"/>
              <a:gd name="connsiteY2008" fmla="*/ 2906419 h 6380470"/>
              <a:gd name="connsiteX2009" fmla="*/ 6429229 w 11625583"/>
              <a:gd name="connsiteY2009" fmla="*/ 2971084 h 6380470"/>
              <a:gd name="connsiteX2010" fmla="*/ 6364563 w 11625583"/>
              <a:gd name="connsiteY2010" fmla="*/ 2906419 h 6380470"/>
              <a:gd name="connsiteX2011" fmla="*/ 6429229 w 11625583"/>
              <a:gd name="connsiteY2011" fmla="*/ 2841752 h 6380470"/>
              <a:gd name="connsiteX2012" fmla="*/ 6276571 w 11625583"/>
              <a:gd name="connsiteY2012" fmla="*/ 2841752 h 6380470"/>
              <a:gd name="connsiteX2013" fmla="*/ 6341237 w 11625583"/>
              <a:gd name="connsiteY2013" fmla="*/ 2906419 h 6380470"/>
              <a:gd name="connsiteX2014" fmla="*/ 6276571 w 11625583"/>
              <a:gd name="connsiteY2014" fmla="*/ 2971084 h 6380470"/>
              <a:gd name="connsiteX2015" fmla="*/ 6211905 w 11625583"/>
              <a:gd name="connsiteY2015" fmla="*/ 2906419 h 6380470"/>
              <a:gd name="connsiteX2016" fmla="*/ 6276571 w 11625583"/>
              <a:gd name="connsiteY2016" fmla="*/ 2841752 h 6380470"/>
              <a:gd name="connsiteX2017" fmla="*/ 6119999 w 11625583"/>
              <a:gd name="connsiteY2017" fmla="*/ 2841752 h 6380470"/>
              <a:gd name="connsiteX2018" fmla="*/ 6184665 w 11625583"/>
              <a:gd name="connsiteY2018" fmla="*/ 2906419 h 6380470"/>
              <a:gd name="connsiteX2019" fmla="*/ 6119999 w 11625583"/>
              <a:gd name="connsiteY2019" fmla="*/ 2971084 h 6380470"/>
              <a:gd name="connsiteX2020" fmla="*/ 6055333 w 11625583"/>
              <a:gd name="connsiteY2020" fmla="*/ 2906419 h 6380470"/>
              <a:gd name="connsiteX2021" fmla="*/ 6119999 w 11625583"/>
              <a:gd name="connsiteY2021" fmla="*/ 2841752 h 6380470"/>
              <a:gd name="connsiteX2022" fmla="*/ 5967339 w 11625583"/>
              <a:gd name="connsiteY2022" fmla="*/ 2841752 h 6380470"/>
              <a:gd name="connsiteX2023" fmla="*/ 6032005 w 11625583"/>
              <a:gd name="connsiteY2023" fmla="*/ 2906419 h 6380470"/>
              <a:gd name="connsiteX2024" fmla="*/ 5967339 w 11625583"/>
              <a:gd name="connsiteY2024" fmla="*/ 2971084 h 6380470"/>
              <a:gd name="connsiteX2025" fmla="*/ 5902673 w 11625583"/>
              <a:gd name="connsiteY2025" fmla="*/ 2906419 h 6380470"/>
              <a:gd name="connsiteX2026" fmla="*/ 5967339 w 11625583"/>
              <a:gd name="connsiteY2026" fmla="*/ 2841752 h 6380470"/>
              <a:gd name="connsiteX2027" fmla="*/ 5810785 w 11625583"/>
              <a:gd name="connsiteY2027" fmla="*/ 2841752 h 6380470"/>
              <a:gd name="connsiteX2028" fmla="*/ 5875431 w 11625583"/>
              <a:gd name="connsiteY2028" fmla="*/ 2906419 h 6380470"/>
              <a:gd name="connsiteX2029" fmla="*/ 5810785 w 11625583"/>
              <a:gd name="connsiteY2029" fmla="*/ 2971084 h 6380470"/>
              <a:gd name="connsiteX2030" fmla="*/ 5746108 w 11625583"/>
              <a:gd name="connsiteY2030" fmla="*/ 2906419 h 6380470"/>
              <a:gd name="connsiteX2031" fmla="*/ 5810785 w 11625583"/>
              <a:gd name="connsiteY2031" fmla="*/ 2841752 h 6380470"/>
              <a:gd name="connsiteX2032" fmla="*/ 5658107 w 11625583"/>
              <a:gd name="connsiteY2032" fmla="*/ 2841752 h 6380470"/>
              <a:gd name="connsiteX2033" fmla="*/ 5722779 w 11625583"/>
              <a:gd name="connsiteY2033" fmla="*/ 2906419 h 6380470"/>
              <a:gd name="connsiteX2034" fmla="*/ 5658107 w 11625583"/>
              <a:gd name="connsiteY2034" fmla="*/ 2971084 h 6380470"/>
              <a:gd name="connsiteX2035" fmla="*/ 5593441 w 11625583"/>
              <a:gd name="connsiteY2035" fmla="*/ 2906419 h 6380470"/>
              <a:gd name="connsiteX2036" fmla="*/ 5658107 w 11625583"/>
              <a:gd name="connsiteY2036" fmla="*/ 2841752 h 6380470"/>
              <a:gd name="connsiteX2037" fmla="*/ 5501538 w 11625583"/>
              <a:gd name="connsiteY2037" fmla="*/ 2841752 h 6380470"/>
              <a:gd name="connsiteX2038" fmla="*/ 5566202 w 11625583"/>
              <a:gd name="connsiteY2038" fmla="*/ 2906419 h 6380470"/>
              <a:gd name="connsiteX2039" fmla="*/ 5501538 w 11625583"/>
              <a:gd name="connsiteY2039" fmla="*/ 2971084 h 6380470"/>
              <a:gd name="connsiteX2040" fmla="*/ 5436878 w 11625583"/>
              <a:gd name="connsiteY2040" fmla="*/ 2906419 h 6380470"/>
              <a:gd name="connsiteX2041" fmla="*/ 5501538 w 11625583"/>
              <a:gd name="connsiteY2041" fmla="*/ 2841752 h 6380470"/>
              <a:gd name="connsiteX2042" fmla="*/ 5348883 w 11625583"/>
              <a:gd name="connsiteY2042" fmla="*/ 2841752 h 6380470"/>
              <a:gd name="connsiteX2043" fmla="*/ 5413550 w 11625583"/>
              <a:gd name="connsiteY2043" fmla="*/ 2906419 h 6380470"/>
              <a:gd name="connsiteX2044" fmla="*/ 5348883 w 11625583"/>
              <a:gd name="connsiteY2044" fmla="*/ 2971084 h 6380470"/>
              <a:gd name="connsiteX2045" fmla="*/ 5284222 w 11625583"/>
              <a:gd name="connsiteY2045" fmla="*/ 2906419 h 6380470"/>
              <a:gd name="connsiteX2046" fmla="*/ 5348883 w 11625583"/>
              <a:gd name="connsiteY2046" fmla="*/ 2841752 h 6380470"/>
              <a:gd name="connsiteX2047" fmla="*/ 5192312 w 11625583"/>
              <a:gd name="connsiteY2047" fmla="*/ 2841752 h 6380470"/>
              <a:gd name="connsiteX2048" fmla="*/ 5256975 w 11625583"/>
              <a:gd name="connsiteY2048" fmla="*/ 2906419 h 6380470"/>
              <a:gd name="connsiteX2049" fmla="*/ 5192312 w 11625583"/>
              <a:gd name="connsiteY2049" fmla="*/ 2971084 h 6380470"/>
              <a:gd name="connsiteX2050" fmla="*/ 5127646 w 11625583"/>
              <a:gd name="connsiteY2050" fmla="*/ 2906419 h 6380470"/>
              <a:gd name="connsiteX2051" fmla="*/ 5192312 w 11625583"/>
              <a:gd name="connsiteY2051" fmla="*/ 2841752 h 6380470"/>
              <a:gd name="connsiteX2052" fmla="*/ 2855510 w 11625583"/>
              <a:gd name="connsiteY2052" fmla="*/ 2841752 h 6380470"/>
              <a:gd name="connsiteX2053" fmla="*/ 2920171 w 11625583"/>
              <a:gd name="connsiteY2053" fmla="*/ 2906419 h 6380470"/>
              <a:gd name="connsiteX2054" fmla="*/ 2855510 w 11625583"/>
              <a:gd name="connsiteY2054" fmla="*/ 2971084 h 6380470"/>
              <a:gd name="connsiteX2055" fmla="*/ 2790849 w 11625583"/>
              <a:gd name="connsiteY2055" fmla="*/ 2906419 h 6380470"/>
              <a:gd name="connsiteX2056" fmla="*/ 2855510 w 11625583"/>
              <a:gd name="connsiteY2056" fmla="*/ 2841752 h 6380470"/>
              <a:gd name="connsiteX2057" fmla="*/ 2237059 w 11625583"/>
              <a:gd name="connsiteY2057" fmla="*/ 2841752 h 6380470"/>
              <a:gd name="connsiteX2058" fmla="*/ 2301735 w 11625583"/>
              <a:gd name="connsiteY2058" fmla="*/ 2906419 h 6380470"/>
              <a:gd name="connsiteX2059" fmla="*/ 2237059 w 11625583"/>
              <a:gd name="connsiteY2059" fmla="*/ 2971084 h 6380470"/>
              <a:gd name="connsiteX2060" fmla="*/ 2172383 w 11625583"/>
              <a:gd name="connsiteY2060" fmla="*/ 2906419 h 6380470"/>
              <a:gd name="connsiteX2061" fmla="*/ 2237059 w 11625583"/>
              <a:gd name="connsiteY2061" fmla="*/ 2841752 h 6380470"/>
              <a:gd name="connsiteX2062" fmla="*/ 2084385 w 11625583"/>
              <a:gd name="connsiteY2062" fmla="*/ 2841752 h 6380470"/>
              <a:gd name="connsiteX2063" fmla="*/ 2149052 w 11625583"/>
              <a:gd name="connsiteY2063" fmla="*/ 2906419 h 6380470"/>
              <a:gd name="connsiteX2064" fmla="*/ 2084385 w 11625583"/>
              <a:gd name="connsiteY2064" fmla="*/ 2971084 h 6380470"/>
              <a:gd name="connsiteX2065" fmla="*/ 2019732 w 11625583"/>
              <a:gd name="connsiteY2065" fmla="*/ 2906419 h 6380470"/>
              <a:gd name="connsiteX2066" fmla="*/ 2084385 w 11625583"/>
              <a:gd name="connsiteY2066" fmla="*/ 2841752 h 6380470"/>
              <a:gd name="connsiteX2067" fmla="*/ 1927808 w 11625583"/>
              <a:gd name="connsiteY2067" fmla="*/ 2841752 h 6380470"/>
              <a:gd name="connsiteX2068" fmla="*/ 1992485 w 11625583"/>
              <a:gd name="connsiteY2068" fmla="*/ 2906419 h 6380470"/>
              <a:gd name="connsiteX2069" fmla="*/ 1927808 w 11625583"/>
              <a:gd name="connsiteY2069" fmla="*/ 2971084 h 6380470"/>
              <a:gd name="connsiteX2070" fmla="*/ 1863159 w 11625583"/>
              <a:gd name="connsiteY2070" fmla="*/ 2906419 h 6380470"/>
              <a:gd name="connsiteX2071" fmla="*/ 1927808 w 11625583"/>
              <a:gd name="connsiteY2071" fmla="*/ 2841752 h 6380470"/>
              <a:gd name="connsiteX2072" fmla="*/ 1775154 w 11625583"/>
              <a:gd name="connsiteY2072" fmla="*/ 2841752 h 6380470"/>
              <a:gd name="connsiteX2073" fmla="*/ 1839830 w 11625583"/>
              <a:gd name="connsiteY2073" fmla="*/ 2906419 h 6380470"/>
              <a:gd name="connsiteX2074" fmla="*/ 1775154 w 11625583"/>
              <a:gd name="connsiteY2074" fmla="*/ 2971084 h 6380470"/>
              <a:gd name="connsiteX2075" fmla="*/ 1710486 w 11625583"/>
              <a:gd name="connsiteY2075" fmla="*/ 2906419 h 6380470"/>
              <a:gd name="connsiteX2076" fmla="*/ 1775154 w 11625583"/>
              <a:gd name="connsiteY2076" fmla="*/ 2841752 h 6380470"/>
              <a:gd name="connsiteX2077" fmla="*/ 8296367 w 11625583"/>
              <a:gd name="connsiteY2077" fmla="*/ 2700840 h 6380470"/>
              <a:gd name="connsiteX2078" fmla="*/ 8361033 w 11625583"/>
              <a:gd name="connsiteY2078" fmla="*/ 2765506 h 6380470"/>
              <a:gd name="connsiteX2079" fmla="*/ 8296367 w 11625583"/>
              <a:gd name="connsiteY2079" fmla="*/ 2830172 h 6380470"/>
              <a:gd name="connsiteX2080" fmla="*/ 8231701 w 11625583"/>
              <a:gd name="connsiteY2080" fmla="*/ 2765506 h 6380470"/>
              <a:gd name="connsiteX2081" fmla="*/ 8296367 w 11625583"/>
              <a:gd name="connsiteY2081" fmla="*/ 2700840 h 6380470"/>
              <a:gd name="connsiteX2082" fmla="*/ 7677902 w 11625583"/>
              <a:gd name="connsiteY2082" fmla="*/ 2700840 h 6380470"/>
              <a:gd name="connsiteX2083" fmla="*/ 7742568 w 11625583"/>
              <a:gd name="connsiteY2083" fmla="*/ 2765506 h 6380470"/>
              <a:gd name="connsiteX2084" fmla="*/ 7677902 w 11625583"/>
              <a:gd name="connsiteY2084" fmla="*/ 2830172 h 6380470"/>
              <a:gd name="connsiteX2085" fmla="*/ 7613236 w 11625583"/>
              <a:gd name="connsiteY2085" fmla="*/ 2765506 h 6380470"/>
              <a:gd name="connsiteX2086" fmla="*/ 7677902 w 11625583"/>
              <a:gd name="connsiteY2086" fmla="*/ 2700840 h 6380470"/>
              <a:gd name="connsiteX2087" fmla="*/ 7521329 w 11625583"/>
              <a:gd name="connsiteY2087" fmla="*/ 2700840 h 6380470"/>
              <a:gd name="connsiteX2088" fmla="*/ 7585995 w 11625583"/>
              <a:gd name="connsiteY2088" fmla="*/ 2765506 h 6380470"/>
              <a:gd name="connsiteX2089" fmla="*/ 7521329 w 11625583"/>
              <a:gd name="connsiteY2089" fmla="*/ 2830172 h 6380470"/>
              <a:gd name="connsiteX2090" fmla="*/ 7456663 w 11625583"/>
              <a:gd name="connsiteY2090" fmla="*/ 2765506 h 6380470"/>
              <a:gd name="connsiteX2091" fmla="*/ 7521329 w 11625583"/>
              <a:gd name="connsiteY2091" fmla="*/ 2700840 h 6380470"/>
              <a:gd name="connsiteX2092" fmla="*/ 7212096 w 11625583"/>
              <a:gd name="connsiteY2092" fmla="*/ 2700840 h 6380470"/>
              <a:gd name="connsiteX2093" fmla="*/ 7276762 w 11625583"/>
              <a:gd name="connsiteY2093" fmla="*/ 2765506 h 6380470"/>
              <a:gd name="connsiteX2094" fmla="*/ 7212096 w 11625583"/>
              <a:gd name="connsiteY2094" fmla="*/ 2830172 h 6380470"/>
              <a:gd name="connsiteX2095" fmla="*/ 7147430 w 11625583"/>
              <a:gd name="connsiteY2095" fmla="*/ 2765506 h 6380470"/>
              <a:gd name="connsiteX2096" fmla="*/ 7212096 w 11625583"/>
              <a:gd name="connsiteY2096" fmla="*/ 2700840 h 6380470"/>
              <a:gd name="connsiteX2097" fmla="*/ 7055523 w 11625583"/>
              <a:gd name="connsiteY2097" fmla="*/ 2700840 h 6380470"/>
              <a:gd name="connsiteX2098" fmla="*/ 7120189 w 11625583"/>
              <a:gd name="connsiteY2098" fmla="*/ 2765506 h 6380470"/>
              <a:gd name="connsiteX2099" fmla="*/ 7055523 w 11625583"/>
              <a:gd name="connsiteY2099" fmla="*/ 2830172 h 6380470"/>
              <a:gd name="connsiteX2100" fmla="*/ 6990857 w 11625583"/>
              <a:gd name="connsiteY2100" fmla="*/ 2765506 h 6380470"/>
              <a:gd name="connsiteX2101" fmla="*/ 7055523 w 11625583"/>
              <a:gd name="connsiteY2101" fmla="*/ 2700840 h 6380470"/>
              <a:gd name="connsiteX2102" fmla="*/ 6895037 w 11625583"/>
              <a:gd name="connsiteY2102" fmla="*/ 2700840 h 6380470"/>
              <a:gd name="connsiteX2103" fmla="*/ 6959703 w 11625583"/>
              <a:gd name="connsiteY2103" fmla="*/ 2765506 h 6380470"/>
              <a:gd name="connsiteX2104" fmla="*/ 6895037 w 11625583"/>
              <a:gd name="connsiteY2104" fmla="*/ 2830172 h 6380470"/>
              <a:gd name="connsiteX2105" fmla="*/ 6830371 w 11625583"/>
              <a:gd name="connsiteY2105" fmla="*/ 2765506 h 6380470"/>
              <a:gd name="connsiteX2106" fmla="*/ 6895037 w 11625583"/>
              <a:gd name="connsiteY2106" fmla="*/ 2700840 h 6380470"/>
              <a:gd name="connsiteX2107" fmla="*/ 6119999 w 11625583"/>
              <a:gd name="connsiteY2107" fmla="*/ 2700840 h 6380470"/>
              <a:gd name="connsiteX2108" fmla="*/ 6184665 w 11625583"/>
              <a:gd name="connsiteY2108" fmla="*/ 2765506 h 6380470"/>
              <a:gd name="connsiteX2109" fmla="*/ 6119999 w 11625583"/>
              <a:gd name="connsiteY2109" fmla="*/ 2830172 h 6380470"/>
              <a:gd name="connsiteX2110" fmla="*/ 6055333 w 11625583"/>
              <a:gd name="connsiteY2110" fmla="*/ 2765506 h 6380470"/>
              <a:gd name="connsiteX2111" fmla="*/ 6119999 w 11625583"/>
              <a:gd name="connsiteY2111" fmla="*/ 2700840 h 6380470"/>
              <a:gd name="connsiteX2112" fmla="*/ 5348883 w 11625583"/>
              <a:gd name="connsiteY2112" fmla="*/ 2700840 h 6380470"/>
              <a:gd name="connsiteX2113" fmla="*/ 5413550 w 11625583"/>
              <a:gd name="connsiteY2113" fmla="*/ 2765506 h 6380470"/>
              <a:gd name="connsiteX2114" fmla="*/ 5348883 w 11625583"/>
              <a:gd name="connsiteY2114" fmla="*/ 2830172 h 6380470"/>
              <a:gd name="connsiteX2115" fmla="*/ 5284222 w 11625583"/>
              <a:gd name="connsiteY2115" fmla="*/ 2765506 h 6380470"/>
              <a:gd name="connsiteX2116" fmla="*/ 5348883 w 11625583"/>
              <a:gd name="connsiteY2116" fmla="*/ 2700840 h 6380470"/>
              <a:gd name="connsiteX2117" fmla="*/ 2855515 w 11625583"/>
              <a:gd name="connsiteY2117" fmla="*/ 2700840 h 6380470"/>
              <a:gd name="connsiteX2118" fmla="*/ 2920176 w 11625583"/>
              <a:gd name="connsiteY2118" fmla="*/ 2765506 h 6380470"/>
              <a:gd name="connsiteX2119" fmla="*/ 2855515 w 11625583"/>
              <a:gd name="connsiteY2119" fmla="*/ 2830172 h 6380470"/>
              <a:gd name="connsiteX2120" fmla="*/ 2790855 w 11625583"/>
              <a:gd name="connsiteY2120" fmla="*/ 2765506 h 6380470"/>
              <a:gd name="connsiteX2121" fmla="*/ 2855515 w 11625583"/>
              <a:gd name="connsiteY2121" fmla="*/ 2700840 h 6380470"/>
              <a:gd name="connsiteX2122" fmla="*/ 2698955 w 11625583"/>
              <a:gd name="connsiteY2122" fmla="*/ 2700840 h 6380470"/>
              <a:gd name="connsiteX2123" fmla="*/ 2763616 w 11625583"/>
              <a:gd name="connsiteY2123" fmla="*/ 2765506 h 6380470"/>
              <a:gd name="connsiteX2124" fmla="*/ 2698955 w 11625583"/>
              <a:gd name="connsiteY2124" fmla="*/ 2830172 h 6380470"/>
              <a:gd name="connsiteX2125" fmla="*/ 2634295 w 11625583"/>
              <a:gd name="connsiteY2125" fmla="*/ 2765506 h 6380470"/>
              <a:gd name="connsiteX2126" fmla="*/ 2698955 w 11625583"/>
              <a:gd name="connsiteY2126" fmla="*/ 2700840 h 6380470"/>
              <a:gd name="connsiteX2127" fmla="*/ 2389740 w 11625583"/>
              <a:gd name="connsiteY2127" fmla="*/ 2700840 h 6380470"/>
              <a:gd name="connsiteX2128" fmla="*/ 2454407 w 11625583"/>
              <a:gd name="connsiteY2128" fmla="*/ 2765506 h 6380470"/>
              <a:gd name="connsiteX2129" fmla="*/ 2389740 w 11625583"/>
              <a:gd name="connsiteY2129" fmla="*/ 2830172 h 6380470"/>
              <a:gd name="connsiteX2130" fmla="*/ 2325073 w 11625583"/>
              <a:gd name="connsiteY2130" fmla="*/ 2765506 h 6380470"/>
              <a:gd name="connsiteX2131" fmla="*/ 2389740 w 11625583"/>
              <a:gd name="connsiteY2131" fmla="*/ 2700840 h 6380470"/>
              <a:gd name="connsiteX2132" fmla="*/ 2237065 w 11625583"/>
              <a:gd name="connsiteY2132" fmla="*/ 2700840 h 6380470"/>
              <a:gd name="connsiteX2133" fmla="*/ 2301741 w 11625583"/>
              <a:gd name="connsiteY2133" fmla="*/ 2765506 h 6380470"/>
              <a:gd name="connsiteX2134" fmla="*/ 2237065 w 11625583"/>
              <a:gd name="connsiteY2134" fmla="*/ 2830172 h 6380470"/>
              <a:gd name="connsiteX2135" fmla="*/ 2172389 w 11625583"/>
              <a:gd name="connsiteY2135" fmla="*/ 2765506 h 6380470"/>
              <a:gd name="connsiteX2136" fmla="*/ 2237065 w 11625583"/>
              <a:gd name="connsiteY2136" fmla="*/ 2700840 h 6380470"/>
              <a:gd name="connsiteX2137" fmla="*/ 2084396 w 11625583"/>
              <a:gd name="connsiteY2137" fmla="*/ 2700840 h 6380470"/>
              <a:gd name="connsiteX2138" fmla="*/ 2149059 w 11625583"/>
              <a:gd name="connsiteY2138" fmla="*/ 2765506 h 6380470"/>
              <a:gd name="connsiteX2139" fmla="*/ 2084396 w 11625583"/>
              <a:gd name="connsiteY2139" fmla="*/ 2830172 h 6380470"/>
              <a:gd name="connsiteX2140" fmla="*/ 2019738 w 11625583"/>
              <a:gd name="connsiteY2140" fmla="*/ 2765506 h 6380470"/>
              <a:gd name="connsiteX2141" fmla="*/ 2084396 w 11625583"/>
              <a:gd name="connsiteY2141" fmla="*/ 2700840 h 6380470"/>
              <a:gd name="connsiteX2142" fmla="*/ 1927818 w 11625583"/>
              <a:gd name="connsiteY2142" fmla="*/ 2700840 h 6380470"/>
              <a:gd name="connsiteX2143" fmla="*/ 1992493 w 11625583"/>
              <a:gd name="connsiteY2143" fmla="*/ 2765506 h 6380470"/>
              <a:gd name="connsiteX2144" fmla="*/ 1927818 w 11625583"/>
              <a:gd name="connsiteY2144" fmla="*/ 2830172 h 6380470"/>
              <a:gd name="connsiteX2145" fmla="*/ 1863165 w 11625583"/>
              <a:gd name="connsiteY2145" fmla="*/ 2765506 h 6380470"/>
              <a:gd name="connsiteX2146" fmla="*/ 1927818 w 11625583"/>
              <a:gd name="connsiteY2146" fmla="*/ 2700840 h 6380470"/>
              <a:gd name="connsiteX2147" fmla="*/ 1775160 w 11625583"/>
              <a:gd name="connsiteY2147" fmla="*/ 2700840 h 6380470"/>
              <a:gd name="connsiteX2148" fmla="*/ 1839836 w 11625583"/>
              <a:gd name="connsiteY2148" fmla="*/ 2765506 h 6380470"/>
              <a:gd name="connsiteX2149" fmla="*/ 1775160 w 11625583"/>
              <a:gd name="connsiteY2149" fmla="*/ 2830172 h 6380470"/>
              <a:gd name="connsiteX2150" fmla="*/ 1710491 w 11625583"/>
              <a:gd name="connsiteY2150" fmla="*/ 2765506 h 6380470"/>
              <a:gd name="connsiteX2151" fmla="*/ 1775160 w 11625583"/>
              <a:gd name="connsiteY2151" fmla="*/ 2700840 h 6380470"/>
              <a:gd name="connsiteX2152" fmla="*/ 8449023 w 11625583"/>
              <a:gd name="connsiteY2152" fmla="*/ 2700839 h 6380470"/>
              <a:gd name="connsiteX2153" fmla="*/ 8513689 w 11625583"/>
              <a:gd name="connsiteY2153" fmla="*/ 2765504 h 6380470"/>
              <a:gd name="connsiteX2154" fmla="*/ 8449023 w 11625583"/>
              <a:gd name="connsiteY2154" fmla="*/ 2830170 h 6380470"/>
              <a:gd name="connsiteX2155" fmla="*/ 8384357 w 11625583"/>
              <a:gd name="connsiteY2155" fmla="*/ 2765504 h 6380470"/>
              <a:gd name="connsiteX2156" fmla="*/ 8449023 w 11625583"/>
              <a:gd name="connsiteY2156" fmla="*/ 2700839 h 6380470"/>
              <a:gd name="connsiteX2157" fmla="*/ 8139792 w 11625583"/>
              <a:gd name="connsiteY2157" fmla="*/ 2700839 h 6380470"/>
              <a:gd name="connsiteX2158" fmla="*/ 8204458 w 11625583"/>
              <a:gd name="connsiteY2158" fmla="*/ 2765504 h 6380470"/>
              <a:gd name="connsiteX2159" fmla="*/ 8139792 w 11625583"/>
              <a:gd name="connsiteY2159" fmla="*/ 2830170 h 6380470"/>
              <a:gd name="connsiteX2160" fmla="*/ 8075126 w 11625583"/>
              <a:gd name="connsiteY2160" fmla="*/ 2765504 h 6380470"/>
              <a:gd name="connsiteX2161" fmla="*/ 8139792 w 11625583"/>
              <a:gd name="connsiteY2161" fmla="*/ 2700839 h 6380470"/>
              <a:gd name="connsiteX2162" fmla="*/ 7987133 w 11625583"/>
              <a:gd name="connsiteY2162" fmla="*/ 2700839 h 6380470"/>
              <a:gd name="connsiteX2163" fmla="*/ 8051799 w 11625583"/>
              <a:gd name="connsiteY2163" fmla="*/ 2765504 h 6380470"/>
              <a:gd name="connsiteX2164" fmla="*/ 7987133 w 11625583"/>
              <a:gd name="connsiteY2164" fmla="*/ 2830170 h 6380470"/>
              <a:gd name="connsiteX2165" fmla="*/ 7922467 w 11625583"/>
              <a:gd name="connsiteY2165" fmla="*/ 2765504 h 6380470"/>
              <a:gd name="connsiteX2166" fmla="*/ 7987133 w 11625583"/>
              <a:gd name="connsiteY2166" fmla="*/ 2700839 h 6380470"/>
              <a:gd name="connsiteX2167" fmla="*/ 7830562 w 11625583"/>
              <a:gd name="connsiteY2167" fmla="*/ 2700839 h 6380470"/>
              <a:gd name="connsiteX2168" fmla="*/ 7895228 w 11625583"/>
              <a:gd name="connsiteY2168" fmla="*/ 2765504 h 6380470"/>
              <a:gd name="connsiteX2169" fmla="*/ 7830562 w 11625583"/>
              <a:gd name="connsiteY2169" fmla="*/ 2830170 h 6380470"/>
              <a:gd name="connsiteX2170" fmla="*/ 7765896 w 11625583"/>
              <a:gd name="connsiteY2170" fmla="*/ 2765504 h 6380470"/>
              <a:gd name="connsiteX2171" fmla="*/ 7830562 w 11625583"/>
              <a:gd name="connsiteY2171" fmla="*/ 2700839 h 6380470"/>
              <a:gd name="connsiteX2172" fmla="*/ 7368669 w 11625583"/>
              <a:gd name="connsiteY2172" fmla="*/ 2700839 h 6380470"/>
              <a:gd name="connsiteX2173" fmla="*/ 7433335 w 11625583"/>
              <a:gd name="connsiteY2173" fmla="*/ 2765504 h 6380470"/>
              <a:gd name="connsiteX2174" fmla="*/ 7368669 w 11625583"/>
              <a:gd name="connsiteY2174" fmla="*/ 2830170 h 6380470"/>
              <a:gd name="connsiteX2175" fmla="*/ 7304003 w 11625583"/>
              <a:gd name="connsiteY2175" fmla="*/ 2765504 h 6380470"/>
              <a:gd name="connsiteX2176" fmla="*/ 7368669 w 11625583"/>
              <a:gd name="connsiteY2176" fmla="*/ 2700839 h 6380470"/>
              <a:gd name="connsiteX2177" fmla="*/ 6742375 w 11625583"/>
              <a:gd name="connsiteY2177" fmla="*/ 2700839 h 6380470"/>
              <a:gd name="connsiteX2178" fmla="*/ 6807041 w 11625583"/>
              <a:gd name="connsiteY2178" fmla="*/ 2765504 h 6380470"/>
              <a:gd name="connsiteX2179" fmla="*/ 6742375 w 11625583"/>
              <a:gd name="connsiteY2179" fmla="*/ 2830170 h 6380470"/>
              <a:gd name="connsiteX2180" fmla="*/ 6677709 w 11625583"/>
              <a:gd name="connsiteY2180" fmla="*/ 2765504 h 6380470"/>
              <a:gd name="connsiteX2181" fmla="*/ 6742375 w 11625583"/>
              <a:gd name="connsiteY2181" fmla="*/ 2700839 h 6380470"/>
              <a:gd name="connsiteX2182" fmla="*/ 6429229 w 11625583"/>
              <a:gd name="connsiteY2182" fmla="*/ 2700839 h 6380470"/>
              <a:gd name="connsiteX2183" fmla="*/ 6493895 w 11625583"/>
              <a:gd name="connsiteY2183" fmla="*/ 2765504 h 6380470"/>
              <a:gd name="connsiteX2184" fmla="*/ 6429229 w 11625583"/>
              <a:gd name="connsiteY2184" fmla="*/ 2830170 h 6380470"/>
              <a:gd name="connsiteX2185" fmla="*/ 6364563 w 11625583"/>
              <a:gd name="connsiteY2185" fmla="*/ 2765504 h 6380470"/>
              <a:gd name="connsiteX2186" fmla="*/ 6429229 w 11625583"/>
              <a:gd name="connsiteY2186" fmla="*/ 2700839 h 6380470"/>
              <a:gd name="connsiteX2187" fmla="*/ 6276571 w 11625583"/>
              <a:gd name="connsiteY2187" fmla="*/ 2700839 h 6380470"/>
              <a:gd name="connsiteX2188" fmla="*/ 6341237 w 11625583"/>
              <a:gd name="connsiteY2188" fmla="*/ 2765504 h 6380470"/>
              <a:gd name="connsiteX2189" fmla="*/ 6276571 w 11625583"/>
              <a:gd name="connsiteY2189" fmla="*/ 2830170 h 6380470"/>
              <a:gd name="connsiteX2190" fmla="*/ 6211905 w 11625583"/>
              <a:gd name="connsiteY2190" fmla="*/ 2765504 h 6380470"/>
              <a:gd name="connsiteX2191" fmla="*/ 6276571 w 11625583"/>
              <a:gd name="connsiteY2191" fmla="*/ 2700839 h 6380470"/>
              <a:gd name="connsiteX2192" fmla="*/ 5967338 w 11625583"/>
              <a:gd name="connsiteY2192" fmla="*/ 2700839 h 6380470"/>
              <a:gd name="connsiteX2193" fmla="*/ 6032004 w 11625583"/>
              <a:gd name="connsiteY2193" fmla="*/ 2765504 h 6380470"/>
              <a:gd name="connsiteX2194" fmla="*/ 5967338 w 11625583"/>
              <a:gd name="connsiteY2194" fmla="*/ 2830170 h 6380470"/>
              <a:gd name="connsiteX2195" fmla="*/ 5902672 w 11625583"/>
              <a:gd name="connsiteY2195" fmla="*/ 2765504 h 6380470"/>
              <a:gd name="connsiteX2196" fmla="*/ 5967338 w 11625583"/>
              <a:gd name="connsiteY2196" fmla="*/ 2700839 h 6380470"/>
              <a:gd name="connsiteX2197" fmla="*/ 5810785 w 11625583"/>
              <a:gd name="connsiteY2197" fmla="*/ 2700839 h 6380470"/>
              <a:gd name="connsiteX2198" fmla="*/ 5875431 w 11625583"/>
              <a:gd name="connsiteY2198" fmla="*/ 2765504 h 6380470"/>
              <a:gd name="connsiteX2199" fmla="*/ 5810785 w 11625583"/>
              <a:gd name="connsiteY2199" fmla="*/ 2830170 h 6380470"/>
              <a:gd name="connsiteX2200" fmla="*/ 5746110 w 11625583"/>
              <a:gd name="connsiteY2200" fmla="*/ 2765504 h 6380470"/>
              <a:gd name="connsiteX2201" fmla="*/ 5810785 w 11625583"/>
              <a:gd name="connsiteY2201" fmla="*/ 2700839 h 6380470"/>
              <a:gd name="connsiteX2202" fmla="*/ 5658107 w 11625583"/>
              <a:gd name="connsiteY2202" fmla="*/ 2700839 h 6380470"/>
              <a:gd name="connsiteX2203" fmla="*/ 5722779 w 11625583"/>
              <a:gd name="connsiteY2203" fmla="*/ 2765504 h 6380470"/>
              <a:gd name="connsiteX2204" fmla="*/ 5658107 w 11625583"/>
              <a:gd name="connsiteY2204" fmla="*/ 2830170 h 6380470"/>
              <a:gd name="connsiteX2205" fmla="*/ 5593441 w 11625583"/>
              <a:gd name="connsiteY2205" fmla="*/ 2765504 h 6380470"/>
              <a:gd name="connsiteX2206" fmla="*/ 5658107 w 11625583"/>
              <a:gd name="connsiteY2206" fmla="*/ 2700839 h 6380470"/>
              <a:gd name="connsiteX2207" fmla="*/ 5501539 w 11625583"/>
              <a:gd name="connsiteY2207" fmla="*/ 2700839 h 6380470"/>
              <a:gd name="connsiteX2208" fmla="*/ 5566202 w 11625583"/>
              <a:gd name="connsiteY2208" fmla="*/ 2765504 h 6380470"/>
              <a:gd name="connsiteX2209" fmla="*/ 5501539 w 11625583"/>
              <a:gd name="connsiteY2209" fmla="*/ 2830170 h 6380470"/>
              <a:gd name="connsiteX2210" fmla="*/ 5436879 w 11625583"/>
              <a:gd name="connsiteY2210" fmla="*/ 2765504 h 6380470"/>
              <a:gd name="connsiteX2211" fmla="*/ 5501539 w 11625583"/>
              <a:gd name="connsiteY2211" fmla="*/ 2700839 h 6380470"/>
              <a:gd name="connsiteX2212" fmla="*/ 5192312 w 11625583"/>
              <a:gd name="connsiteY2212" fmla="*/ 2700839 h 6380470"/>
              <a:gd name="connsiteX2213" fmla="*/ 5256977 w 11625583"/>
              <a:gd name="connsiteY2213" fmla="*/ 2765504 h 6380470"/>
              <a:gd name="connsiteX2214" fmla="*/ 5192312 w 11625583"/>
              <a:gd name="connsiteY2214" fmla="*/ 2830170 h 6380470"/>
              <a:gd name="connsiteX2215" fmla="*/ 5127646 w 11625583"/>
              <a:gd name="connsiteY2215" fmla="*/ 2765504 h 6380470"/>
              <a:gd name="connsiteX2216" fmla="*/ 5192312 w 11625583"/>
              <a:gd name="connsiteY2216" fmla="*/ 2700839 h 6380470"/>
              <a:gd name="connsiteX2217" fmla="*/ 2546309 w 11625583"/>
              <a:gd name="connsiteY2217" fmla="*/ 2700839 h 6380470"/>
              <a:gd name="connsiteX2218" fmla="*/ 2610971 w 11625583"/>
              <a:gd name="connsiteY2218" fmla="*/ 2765504 h 6380470"/>
              <a:gd name="connsiteX2219" fmla="*/ 2546309 w 11625583"/>
              <a:gd name="connsiteY2219" fmla="*/ 2830170 h 6380470"/>
              <a:gd name="connsiteX2220" fmla="*/ 2481648 w 11625583"/>
              <a:gd name="connsiteY2220" fmla="*/ 2765504 h 6380470"/>
              <a:gd name="connsiteX2221" fmla="*/ 2546309 w 11625583"/>
              <a:gd name="connsiteY2221" fmla="*/ 2700839 h 6380470"/>
              <a:gd name="connsiteX2222" fmla="*/ 9384550 w 11625583"/>
              <a:gd name="connsiteY2222" fmla="*/ 2700836 h 6380470"/>
              <a:gd name="connsiteX2223" fmla="*/ 9449216 w 11625583"/>
              <a:gd name="connsiteY2223" fmla="*/ 2765504 h 6380470"/>
              <a:gd name="connsiteX2224" fmla="*/ 9384550 w 11625583"/>
              <a:gd name="connsiteY2224" fmla="*/ 2830169 h 6380470"/>
              <a:gd name="connsiteX2225" fmla="*/ 9319884 w 11625583"/>
              <a:gd name="connsiteY2225" fmla="*/ 2765504 h 6380470"/>
              <a:gd name="connsiteX2226" fmla="*/ 9384550 w 11625583"/>
              <a:gd name="connsiteY2226" fmla="*/ 2700836 h 6380470"/>
              <a:gd name="connsiteX2227" fmla="*/ 9227977 w 11625583"/>
              <a:gd name="connsiteY2227" fmla="*/ 2700836 h 6380470"/>
              <a:gd name="connsiteX2228" fmla="*/ 9292643 w 11625583"/>
              <a:gd name="connsiteY2228" fmla="*/ 2765504 h 6380470"/>
              <a:gd name="connsiteX2229" fmla="*/ 9227977 w 11625583"/>
              <a:gd name="connsiteY2229" fmla="*/ 2830169 h 6380470"/>
              <a:gd name="connsiteX2230" fmla="*/ 9163311 w 11625583"/>
              <a:gd name="connsiteY2230" fmla="*/ 2765504 h 6380470"/>
              <a:gd name="connsiteX2231" fmla="*/ 9227977 w 11625583"/>
              <a:gd name="connsiteY2231" fmla="*/ 2700836 h 6380470"/>
              <a:gd name="connsiteX2232" fmla="*/ 9075319 w 11625583"/>
              <a:gd name="connsiteY2232" fmla="*/ 2700836 h 6380470"/>
              <a:gd name="connsiteX2233" fmla="*/ 9139985 w 11625583"/>
              <a:gd name="connsiteY2233" fmla="*/ 2765504 h 6380470"/>
              <a:gd name="connsiteX2234" fmla="*/ 9075319 w 11625583"/>
              <a:gd name="connsiteY2234" fmla="*/ 2830169 h 6380470"/>
              <a:gd name="connsiteX2235" fmla="*/ 9010653 w 11625583"/>
              <a:gd name="connsiteY2235" fmla="*/ 2765504 h 6380470"/>
              <a:gd name="connsiteX2236" fmla="*/ 9075319 w 11625583"/>
              <a:gd name="connsiteY2236" fmla="*/ 2700836 h 6380470"/>
              <a:gd name="connsiteX2237" fmla="*/ 8914831 w 11625583"/>
              <a:gd name="connsiteY2237" fmla="*/ 2700836 h 6380470"/>
              <a:gd name="connsiteX2238" fmla="*/ 8979497 w 11625583"/>
              <a:gd name="connsiteY2238" fmla="*/ 2765504 h 6380470"/>
              <a:gd name="connsiteX2239" fmla="*/ 8914831 w 11625583"/>
              <a:gd name="connsiteY2239" fmla="*/ 2830169 h 6380470"/>
              <a:gd name="connsiteX2240" fmla="*/ 8850165 w 11625583"/>
              <a:gd name="connsiteY2240" fmla="*/ 2765504 h 6380470"/>
              <a:gd name="connsiteX2241" fmla="*/ 8914831 w 11625583"/>
              <a:gd name="connsiteY2241" fmla="*/ 2700836 h 6380470"/>
              <a:gd name="connsiteX2242" fmla="*/ 8766086 w 11625583"/>
              <a:gd name="connsiteY2242" fmla="*/ 2700836 h 6380470"/>
              <a:gd name="connsiteX2243" fmla="*/ 8830752 w 11625583"/>
              <a:gd name="connsiteY2243" fmla="*/ 2765504 h 6380470"/>
              <a:gd name="connsiteX2244" fmla="*/ 8766086 w 11625583"/>
              <a:gd name="connsiteY2244" fmla="*/ 2830169 h 6380470"/>
              <a:gd name="connsiteX2245" fmla="*/ 8701420 w 11625583"/>
              <a:gd name="connsiteY2245" fmla="*/ 2765504 h 6380470"/>
              <a:gd name="connsiteX2246" fmla="*/ 8766086 w 11625583"/>
              <a:gd name="connsiteY2246" fmla="*/ 2700836 h 6380470"/>
              <a:gd name="connsiteX2247" fmla="*/ 8601683 w 11625583"/>
              <a:gd name="connsiteY2247" fmla="*/ 2700836 h 6380470"/>
              <a:gd name="connsiteX2248" fmla="*/ 8666349 w 11625583"/>
              <a:gd name="connsiteY2248" fmla="*/ 2765504 h 6380470"/>
              <a:gd name="connsiteX2249" fmla="*/ 8601683 w 11625583"/>
              <a:gd name="connsiteY2249" fmla="*/ 2830169 h 6380470"/>
              <a:gd name="connsiteX2250" fmla="*/ 8537017 w 11625583"/>
              <a:gd name="connsiteY2250" fmla="*/ 2765504 h 6380470"/>
              <a:gd name="connsiteX2251" fmla="*/ 8601683 w 11625583"/>
              <a:gd name="connsiteY2251" fmla="*/ 2700836 h 6380470"/>
              <a:gd name="connsiteX2252" fmla="*/ 10003015 w 11625583"/>
              <a:gd name="connsiteY2252" fmla="*/ 2559922 h 6380470"/>
              <a:gd name="connsiteX2253" fmla="*/ 10067681 w 11625583"/>
              <a:gd name="connsiteY2253" fmla="*/ 2624589 h 6380470"/>
              <a:gd name="connsiteX2254" fmla="*/ 10003015 w 11625583"/>
              <a:gd name="connsiteY2254" fmla="*/ 2689256 h 6380470"/>
              <a:gd name="connsiteX2255" fmla="*/ 9938349 w 11625583"/>
              <a:gd name="connsiteY2255" fmla="*/ 2624589 h 6380470"/>
              <a:gd name="connsiteX2256" fmla="*/ 10003015 w 11625583"/>
              <a:gd name="connsiteY2256" fmla="*/ 2559922 h 6380470"/>
              <a:gd name="connsiteX2257" fmla="*/ 9850356 w 11625583"/>
              <a:gd name="connsiteY2257" fmla="*/ 2559922 h 6380470"/>
              <a:gd name="connsiteX2258" fmla="*/ 9915022 w 11625583"/>
              <a:gd name="connsiteY2258" fmla="*/ 2624589 h 6380470"/>
              <a:gd name="connsiteX2259" fmla="*/ 9850356 w 11625583"/>
              <a:gd name="connsiteY2259" fmla="*/ 2689256 h 6380470"/>
              <a:gd name="connsiteX2260" fmla="*/ 9785690 w 11625583"/>
              <a:gd name="connsiteY2260" fmla="*/ 2624589 h 6380470"/>
              <a:gd name="connsiteX2261" fmla="*/ 9850356 w 11625583"/>
              <a:gd name="connsiteY2261" fmla="*/ 2559922 h 6380470"/>
              <a:gd name="connsiteX2262" fmla="*/ 9384549 w 11625583"/>
              <a:gd name="connsiteY2262" fmla="*/ 2559922 h 6380470"/>
              <a:gd name="connsiteX2263" fmla="*/ 9449215 w 11625583"/>
              <a:gd name="connsiteY2263" fmla="*/ 2624589 h 6380470"/>
              <a:gd name="connsiteX2264" fmla="*/ 9384549 w 11625583"/>
              <a:gd name="connsiteY2264" fmla="*/ 2689256 h 6380470"/>
              <a:gd name="connsiteX2265" fmla="*/ 9319883 w 11625583"/>
              <a:gd name="connsiteY2265" fmla="*/ 2624589 h 6380470"/>
              <a:gd name="connsiteX2266" fmla="*/ 9384549 w 11625583"/>
              <a:gd name="connsiteY2266" fmla="*/ 2559922 h 6380470"/>
              <a:gd name="connsiteX2267" fmla="*/ 9227976 w 11625583"/>
              <a:gd name="connsiteY2267" fmla="*/ 2559922 h 6380470"/>
              <a:gd name="connsiteX2268" fmla="*/ 9292642 w 11625583"/>
              <a:gd name="connsiteY2268" fmla="*/ 2624589 h 6380470"/>
              <a:gd name="connsiteX2269" fmla="*/ 9227976 w 11625583"/>
              <a:gd name="connsiteY2269" fmla="*/ 2689256 h 6380470"/>
              <a:gd name="connsiteX2270" fmla="*/ 9163310 w 11625583"/>
              <a:gd name="connsiteY2270" fmla="*/ 2624589 h 6380470"/>
              <a:gd name="connsiteX2271" fmla="*/ 9227976 w 11625583"/>
              <a:gd name="connsiteY2271" fmla="*/ 2559922 h 6380470"/>
              <a:gd name="connsiteX2272" fmla="*/ 9075317 w 11625583"/>
              <a:gd name="connsiteY2272" fmla="*/ 2559922 h 6380470"/>
              <a:gd name="connsiteX2273" fmla="*/ 9139983 w 11625583"/>
              <a:gd name="connsiteY2273" fmla="*/ 2624589 h 6380470"/>
              <a:gd name="connsiteX2274" fmla="*/ 9075317 w 11625583"/>
              <a:gd name="connsiteY2274" fmla="*/ 2689256 h 6380470"/>
              <a:gd name="connsiteX2275" fmla="*/ 9010651 w 11625583"/>
              <a:gd name="connsiteY2275" fmla="*/ 2624589 h 6380470"/>
              <a:gd name="connsiteX2276" fmla="*/ 9075317 w 11625583"/>
              <a:gd name="connsiteY2276" fmla="*/ 2559922 h 6380470"/>
              <a:gd name="connsiteX2277" fmla="*/ 8914829 w 11625583"/>
              <a:gd name="connsiteY2277" fmla="*/ 2559922 h 6380470"/>
              <a:gd name="connsiteX2278" fmla="*/ 8979495 w 11625583"/>
              <a:gd name="connsiteY2278" fmla="*/ 2624589 h 6380470"/>
              <a:gd name="connsiteX2279" fmla="*/ 8914829 w 11625583"/>
              <a:gd name="connsiteY2279" fmla="*/ 2689256 h 6380470"/>
              <a:gd name="connsiteX2280" fmla="*/ 8850163 w 11625583"/>
              <a:gd name="connsiteY2280" fmla="*/ 2624589 h 6380470"/>
              <a:gd name="connsiteX2281" fmla="*/ 8914829 w 11625583"/>
              <a:gd name="connsiteY2281" fmla="*/ 2559922 h 6380470"/>
              <a:gd name="connsiteX2282" fmla="*/ 8766084 w 11625583"/>
              <a:gd name="connsiteY2282" fmla="*/ 2559922 h 6380470"/>
              <a:gd name="connsiteX2283" fmla="*/ 8830750 w 11625583"/>
              <a:gd name="connsiteY2283" fmla="*/ 2624589 h 6380470"/>
              <a:gd name="connsiteX2284" fmla="*/ 8766084 w 11625583"/>
              <a:gd name="connsiteY2284" fmla="*/ 2689256 h 6380470"/>
              <a:gd name="connsiteX2285" fmla="*/ 8701418 w 11625583"/>
              <a:gd name="connsiteY2285" fmla="*/ 2624589 h 6380470"/>
              <a:gd name="connsiteX2286" fmla="*/ 8766084 w 11625583"/>
              <a:gd name="connsiteY2286" fmla="*/ 2559922 h 6380470"/>
              <a:gd name="connsiteX2287" fmla="*/ 8601683 w 11625583"/>
              <a:gd name="connsiteY2287" fmla="*/ 2559922 h 6380470"/>
              <a:gd name="connsiteX2288" fmla="*/ 8666349 w 11625583"/>
              <a:gd name="connsiteY2288" fmla="*/ 2624589 h 6380470"/>
              <a:gd name="connsiteX2289" fmla="*/ 8601683 w 11625583"/>
              <a:gd name="connsiteY2289" fmla="*/ 2689256 h 6380470"/>
              <a:gd name="connsiteX2290" fmla="*/ 8537017 w 11625583"/>
              <a:gd name="connsiteY2290" fmla="*/ 2624589 h 6380470"/>
              <a:gd name="connsiteX2291" fmla="*/ 8601683 w 11625583"/>
              <a:gd name="connsiteY2291" fmla="*/ 2559922 h 6380470"/>
              <a:gd name="connsiteX2292" fmla="*/ 8449023 w 11625583"/>
              <a:gd name="connsiteY2292" fmla="*/ 2559922 h 6380470"/>
              <a:gd name="connsiteX2293" fmla="*/ 8513689 w 11625583"/>
              <a:gd name="connsiteY2293" fmla="*/ 2624589 h 6380470"/>
              <a:gd name="connsiteX2294" fmla="*/ 8449023 w 11625583"/>
              <a:gd name="connsiteY2294" fmla="*/ 2689256 h 6380470"/>
              <a:gd name="connsiteX2295" fmla="*/ 8384357 w 11625583"/>
              <a:gd name="connsiteY2295" fmla="*/ 2624589 h 6380470"/>
              <a:gd name="connsiteX2296" fmla="*/ 8449023 w 11625583"/>
              <a:gd name="connsiteY2296" fmla="*/ 2559922 h 6380470"/>
              <a:gd name="connsiteX2297" fmla="*/ 8296367 w 11625583"/>
              <a:gd name="connsiteY2297" fmla="*/ 2559922 h 6380470"/>
              <a:gd name="connsiteX2298" fmla="*/ 8361033 w 11625583"/>
              <a:gd name="connsiteY2298" fmla="*/ 2624589 h 6380470"/>
              <a:gd name="connsiteX2299" fmla="*/ 8296367 w 11625583"/>
              <a:gd name="connsiteY2299" fmla="*/ 2689256 h 6380470"/>
              <a:gd name="connsiteX2300" fmla="*/ 8231701 w 11625583"/>
              <a:gd name="connsiteY2300" fmla="*/ 2624589 h 6380470"/>
              <a:gd name="connsiteX2301" fmla="*/ 8296367 w 11625583"/>
              <a:gd name="connsiteY2301" fmla="*/ 2559922 h 6380470"/>
              <a:gd name="connsiteX2302" fmla="*/ 8139792 w 11625583"/>
              <a:gd name="connsiteY2302" fmla="*/ 2559922 h 6380470"/>
              <a:gd name="connsiteX2303" fmla="*/ 8204458 w 11625583"/>
              <a:gd name="connsiteY2303" fmla="*/ 2624589 h 6380470"/>
              <a:gd name="connsiteX2304" fmla="*/ 8139792 w 11625583"/>
              <a:gd name="connsiteY2304" fmla="*/ 2689256 h 6380470"/>
              <a:gd name="connsiteX2305" fmla="*/ 8075126 w 11625583"/>
              <a:gd name="connsiteY2305" fmla="*/ 2624589 h 6380470"/>
              <a:gd name="connsiteX2306" fmla="*/ 8139792 w 11625583"/>
              <a:gd name="connsiteY2306" fmla="*/ 2559922 h 6380470"/>
              <a:gd name="connsiteX2307" fmla="*/ 7987133 w 11625583"/>
              <a:gd name="connsiteY2307" fmla="*/ 2559922 h 6380470"/>
              <a:gd name="connsiteX2308" fmla="*/ 8051799 w 11625583"/>
              <a:gd name="connsiteY2308" fmla="*/ 2624589 h 6380470"/>
              <a:gd name="connsiteX2309" fmla="*/ 7987133 w 11625583"/>
              <a:gd name="connsiteY2309" fmla="*/ 2689256 h 6380470"/>
              <a:gd name="connsiteX2310" fmla="*/ 7922467 w 11625583"/>
              <a:gd name="connsiteY2310" fmla="*/ 2624589 h 6380470"/>
              <a:gd name="connsiteX2311" fmla="*/ 7987133 w 11625583"/>
              <a:gd name="connsiteY2311" fmla="*/ 2559922 h 6380470"/>
              <a:gd name="connsiteX2312" fmla="*/ 7830562 w 11625583"/>
              <a:gd name="connsiteY2312" fmla="*/ 2559922 h 6380470"/>
              <a:gd name="connsiteX2313" fmla="*/ 7895228 w 11625583"/>
              <a:gd name="connsiteY2313" fmla="*/ 2624589 h 6380470"/>
              <a:gd name="connsiteX2314" fmla="*/ 7830562 w 11625583"/>
              <a:gd name="connsiteY2314" fmla="*/ 2689256 h 6380470"/>
              <a:gd name="connsiteX2315" fmla="*/ 7765896 w 11625583"/>
              <a:gd name="connsiteY2315" fmla="*/ 2624589 h 6380470"/>
              <a:gd name="connsiteX2316" fmla="*/ 7830562 w 11625583"/>
              <a:gd name="connsiteY2316" fmla="*/ 2559922 h 6380470"/>
              <a:gd name="connsiteX2317" fmla="*/ 7677902 w 11625583"/>
              <a:gd name="connsiteY2317" fmla="*/ 2559922 h 6380470"/>
              <a:gd name="connsiteX2318" fmla="*/ 7742568 w 11625583"/>
              <a:gd name="connsiteY2318" fmla="*/ 2624589 h 6380470"/>
              <a:gd name="connsiteX2319" fmla="*/ 7677902 w 11625583"/>
              <a:gd name="connsiteY2319" fmla="*/ 2689256 h 6380470"/>
              <a:gd name="connsiteX2320" fmla="*/ 7613236 w 11625583"/>
              <a:gd name="connsiteY2320" fmla="*/ 2624589 h 6380470"/>
              <a:gd name="connsiteX2321" fmla="*/ 7677902 w 11625583"/>
              <a:gd name="connsiteY2321" fmla="*/ 2559922 h 6380470"/>
              <a:gd name="connsiteX2322" fmla="*/ 7521329 w 11625583"/>
              <a:gd name="connsiteY2322" fmla="*/ 2559922 h 6380470"/>
              <a:gd name="connsiteX2323" fmla="*/ 7585995 w 11625583"/>
              <a:gd name="connsiteY2323" fmla="*/ 2624589 h 6380470"/>
              <a:gd name="connsiteX2324" fmla="*/ 7521329 w 11625583"/>
              <a:gd name="connsiteY2324" fmla="*/ 2689256 h 6380470"/>
              <a:gd name="connsiteX2325" fmla="*/ 7456663 w 11625583"/>
              <a:gd name="connsiteY2325" fmla="*/ 2624589 h 6380470"/>
              <a:gd name="connsiteX2326" fmla="*/ 7521329 w 11625583"/>
              <a:gd name="connsiteY2326" fmla="*/ 2559922 h 6380470"/>
              <a:gd name="connsiteX2327" fmla="*/ 7368669 w 11625583"/>
              <a:gd name="connsiteY2327" fmla="*/ 2559922 h 6380470"/>
              <a:gd name="connsiteX2328" fmla="*/ 7433335 w 11625583"/>
              <a:gd name="connsiteY2328" fmla="*/ 2624589 h 6380470"/>
              <a:gd name="connsiteX2329" fmla="*/ 7368669 w 11625583"/>
              <a:gd name="connsiteY2329" fmla="*/ 2689256 h 6380470"/>
              <a:gd name="connsiteX2330" fmla="*/ 7304003 w 11625583"/>
              <a:gd name="connsiteY2330" fmla="*/ 2624589 h 6380470"/>
              <a:gd name="connsiteX2331" fmla="*/ 7368669 w 11625583"/>
              <a:gd name="connsiteY2331" fmla="*/ 2559922 h 6380470"/>
              <a:gd name="connsiteX2332" fmla="*/ 7212096 w 11625583"/>
              <a:gd name="connsiteY2332" fmla="*/ 2559922 h 6380470"/>
              <a:gd name="connsiteX2333" fmla="*/ 7276762 w 11625583"/>
              <a:gd name="connsiteY2333" fmla="*/ 2624589 h 6380470"/>
              <a:gd name="connsiteX2334" fmla="*/ 7212096 w 11625583"/>
              <a:gd name="connsiteY2334" fmla="*/ 2689256 h 6380470"/>
              <a:gd name="connsiteX2335" fmla="*/ 7147430 w 11625583"/>
              <a:gd name="connsiteY2335" fmla="*/ 2624589 h 6380470"/>
              <a:gd name="connsiteX2336" fmla="*/ 7212096 w 11625583"/>
              <a:gd name="connsiteY2336" fmla="*/ 2559922 h 6380470"/>
              <a:gd name="connsiteX2337" fmla="*/ 7055523 w 11625583"/>
              <a:gd name="connsiteY2337" fmla="*/ 2559922 h 6380470"/>
              <a:gd name="connsiteX2338" fmla="*/ 7120189 w 11625583"/>
              <a:gd name="connsiteY2338" fmla="*/ 2624589 h 6380470"/>
              <a:gd name="connsiteX2339" fmla="*/ 7055523 w 11625583"/>
              <a:gd name="connsiteY2339" fmla="*/ 2689256 h 6380470"/>
              <a:gd name="connsiteX2340" fmla="*/ 6990857 w 11625583"/>
              <a:gd name="connsiteY2340" fmla="*/ 2624589 h 6380470"/>
              <a:gd name="connsiteX2341" fmla="*/ 7055523 w 11625583"/>
              <a:gd name="connsiteY2341" fmla="*/ 2559922 h 6380470"/>
              <a:gd name="connsiteX2342" fmla="*/ 6895037 w 11625583"/>
              <a:gd name="connsiteY2342" fmla="*/ 2559922 h 6380470"/>
              <a:gd name="connsiteX2343" fmla="*/ 6959703 w 11625583"/>
              <a:gd name="connsiteY2343" fmla="*/ 2624589 h 6380470"/>
              <a:gd name="connsiteX2344" fmla="*/ 6895037 w 11625583"/>
              <a:gd name="connsiteY2344" fmla="*/ 2689256 h 6380470"/>
              <a:gd name="connsiteX2345" fmla="*/ 6830371 w 11625583"/>
              <a:gd name="connsiteY2345" fmla="*/ 2624589 h 6380470"/>
              <a:gd name="connsiteX2346" fmla="*/ 6895037 w 11625583"/>
              <a:gd name="connsiteY2346" fmla="*/ 2559922 h 6380470"/>
              <a:gd name="connsiteX2347" fmla="*/ 6742375 w 11625583"/>
              <a:gd name="connsiteY2347" fmla="*/ 2559922 h 6380470"/>
              <a:gd name="connsiteX2348" fmla="*/ 6807041 w 11625583"/>
              <a:gd name="connsiteY2348" fmla="*/ 2624589 h 6380470"/>
              <a:gd name="connsiteX2349" fmla="*/ 6742375 w 11625583"/>
              <a:gd name="connsiteY2349" fmla="*/ 2689256 h 6380470"/>
              <a:gd name="connsiteX2350" fmla="*/ 6677709 w 11625583"/>
              <a:gd name="connsiteY2350" fmla="*/ 2624589 h 6380470"/>
              <a:gd name="connsiteX2351" fmla="*/ 6742375 w 11625583"/>
              <a:gd name="connsiteY2351" fmla="*/ 2559922 h 6380470"/>
              <a:gd name="connsiteX2352" fmla="*/ 5810787 w 11625583"/>
              <a:gd name="connsiteY2352" fmla="*/ 2559922 h 6380470"/>
              <a:gd name="connsiteX2353" fmla="*/ 5875431 w 11625583"/>
              <a:gd name="connsiteY2353" fmla="*/ 2624589 h 6380470"/>
              <a:gd name="connsiteX2354" fmla="*/ 5810787 w 11625583"/>
              <a:gd name="connsiteY2354" fmla="*/ 2689256 h 6380470"/>
              <a:gd name="connsiteX2355" fmla="*/ 5746110 w 11625583"/>
              <a:gd name="connsiteY2355" fmla="*/ 2624589 h 6380470"/>
              <a:gd name="connsiteX2356" fmla="*/ 5810787 w 11625583"/>
              <a:gd name="connsiteY2356" fmla="*/ 2559922 h 6380470"/>
              <a:gd name="connsiteX2357" fmla="*/ 5658107 w 11625583"/>
              <a:gd name="connsiteY2357" fmla="*/ 2559922 h 6380470"/>
              <a:gd name="connsiteX2358" fmla="*/ 5722779 w 11625583"/>
              <a:gd name="connsiteY2358" fmla="*/ 2624589 h 6380470"/>
              <a:gd name="connsiteX2359" fmla="*/ 5658107 w 11625583"/>
              <a:gd name="connsiteY2359" fmla="*/ 2689256 h 6380470"/>
              <a:gd name="connsiteX2360" fmla="*/ 5593441 w 11625583"/>
              <a:gd name="connsiteY2360" fmla="*/ 2624589 h 6380470"/>
              <a:gd name="connsiteX2361" fmla="*/ 5658107 w 11625583"/>
              <a:gd name="connsiteY2361" fmla="*/ 2559922 h 6380470"/>
              <a:gd name="connsiteX2362" fmla="*/ 5501539 w 11625583"/>
              <a:gd name="connsiteY2362" fmla="*/ 2559922 h 6380470"/>
              <a:gd name="connsiteX2363" fmla="*/ 5566203 w 11625583"/>
              <a:gd name="connsiteY2363" fmla="*/ 2624589 h 6380470"/>
              <a:gd name="connsiteX2364" fmla="*/ 5501539 w 11625583"/>
              <a:gd name="connsiteY2364" fmla="*/ 2689256 h 6380470"/>
              <a:gd name="connsiteX2365" fmla="*/ 5436879 w 11625583"/>
              <a:gd name="connsiteY2365" fmla="*/ 2624589 h 6380470"/>
              <a:gd name="connsiteX2366" fmla="*/ 5501539 w 11625583"/>
              <a:gd name="connsiteY2366" fmla="*/ 2559922 h 6380470"/>
              <a:gd name="connsiteX2367" fmla="*/ 5348883 w 11625583"/>
              <a:gd name="connsiteY2367" fmla="*/ 2559922 h 6380470"/>
              <a:gd name="connsiteX2368" fmla="*/ 5413550 w 11625583"/>
              <a:gd name="connsiteY2368" fmla="*/ 2624589 h 6380470"/>
              <a:gd name="connsiteX2369" fmla="*/ 5348883 w 11625583"/>
              <a:gd name="connsiteY2369" fmla="*/ 2689256 h 6380470"/>
              <a:gd name="connsiteX2370" fmla="*/ 5284224 w 11625583"/>
              <a:gd name="connsiteY2370" fmla="*/ 2624589 h 6380470"/>
              <a:gd name="connsiteX2371" fmla="*/ 5348883 w 11625583"/>
              <a:gd name="connsiteY2371" fmla="*/ 2559922 h 6380470"/>
              <a:gd name="connsiteX2372" fmla="*/ 2855521 w 11625583"/>
              <a:gd name="connsiteY2372" fmla="*/ 2559922 h 6380470"/>
              <a:gd name="connsiteX2373" fmla="*/ 2920181 w 11625583"/>
              <a:gd name="connsiteY2373" fmla="*/ 2624589 h 6380470"/>
              <a:gd name="connsiteX2374" fmla="*/ 2855521 w 11625583"/>
              <a:gd name="connsiteY2374" fmla="*/ 2689256 h 6380470"/>
              <a:gd name="connsiteX2375" fmla="*/ 2790860 w 11625583"/>
              <a:gd name="connsiteY2375" fmla="*/ 2624589 h 6380470"/>
              <a:gd name="connsiteX2376" fmla="*/ 2855521 w 11625583"/>
              <a:gd name="connsiteY2376" fmla="*/ 2559922 h 6380470"/>
              <a:gd name="connsiteX2377" fmla="*/ 2698961 w 11625583"/>
              <a:gd name="connsiteY2377" fmla="*/ 2559922 h 6380470"/>
              <a:gd name="connsiteX2378" fmla="*/ 2763622 w 11625583"/>
              <a:gd name="connsiteY2378" fmla="*/ 2624589 h 6380470"/>
              <a:gd name="connsiteX2379" fmla="*/ 2698961 w 11625583"/>
              <a:gd name="connsiteY2379" fmla="*/ 2689256 h 6380470"/>
              <a:gd name="connsiteX2380" fmla="*/ 2634302 w 11625583"/>
              <a:gd name="connsiteY2380" fmla="*/ 2624589 h 6380470"/>
              <a:gd name="connsiteX2381" fmla="*/ 2698961 w 11625583"/>
              <a:gd name="connsiteY2381" fmla="*/ 2559922 h 6380470"/>
              <a:gd name="connsiteX2382" fmla="*/ 2546316 w 11625583"/>
              <a:gd name="connsiteY2382" fmla="*/ 2559922 h 6380470"/>
              <a:gd name="connsiteX2383" fmla="*/ 2610977 w 11625583"/>
              <a:gd name="connsiteY2383" fmla="*/ 2624589 h 6380470"/>
              <a:gd name="connsiteX2384" fmla="*/ 2546316 w 11625583"/>
              <a:gd name="connsiteY2384" fmla="*/ 2689256 h 6380470"/>
              <a:gd name="connsiteX2385" fmla="*/ 2481655 w 11625583"/>
              <a:gd name="connsiteY2385" fmla="*/ 2624589 h 6380470"/>
              <a:gd name="connsiteX2386" fmla="*/ 2546316 w 11625583"/>
              <a:gd name="connsiteY2386" fmla="*/ 2559922 h 6380470"/>
              <a:gd name="connsiteX2387" fmla="*/ 2389740 w 11625583"/>
              <a:gd name="connsiteY2387" fmla="*/ 2559922 h 6380470"/>
              <a:gd name="connsiteX2388" fmla="*/ 2454414 w 11625583"/>
              <a:gd name="connsiteY2388" fmla="*/ 2624589 h 6380470"/>
              <a:gd name="connsiteX2389" fmla="*/ 2389740 w 11625583"/>
              <a:gd name="connsiteY2389" fmla="*/ 2689256 h 6380470"/>
              <a:gd name="connsiteX2390" fmla="*/ 2325081 w 11625583"/>
              <a:gd name="connsiteY2390" fmla="*/ 2624589 h 6380470"/>
              <a:gd name="connsiteX2391" fmla="*/ 2389740 w 11625583"/>
              <a:gd name="connsiteY2391" fmla="*/ 2559922 h 6380470"/>
              <a:gd name="connsiteX2392" fmla="*/ 2237072 w 11625583"/>
              <a:gd name="connsiteY2392" fmla="*/ 2559922 h 6380470"/>
              <a:gd name="connsiteX2393" fmla="*/ 2301749 w 11625583"/>
              <a:gd name="connsiteY2393" fmla="*/ 2624589 h 6380470"/>
              <a:gd name="connsiteX2394" fmla="*/ 2237072 w 11625583"/>
              <a:gd name="connsiteY2394" fmla="*/ 2689256 h 6380470"/>
              <a:gd name="connsiteX2395" fmla="*/ 2172394 w 11625583"/>
              <a:gd name="connsiteY2395" fmla="*/ 2624589 h 6380470"/>
              <a:gd name="connsiteX2396" fmla="*/ 2237072 w 11625583"/>
              <a:gd name="connsiteY2396" fmla="*/ 2559922 h 6380470"/>
              <a:gd name="connsiteX2397" fmla="*/ 2084396 w 11625583"/>
              <a:gd name="connsiteY2397" fmla="*/ 2559922 h 6380470"/>
              <a:gd name="connsiteX2398" fmla="*/ 2149064 w 11625583"/>
              <a:gd name="connsiteY2398" fmla="*/ 2624589 h 6380470"/>
              <a:gd name="connsiteX2399" fmla="*/ 2084396 w 11625583"/>
              <a:gd name="connsiteY2399" fmla="*/ 2689256 h 6380470"/>
              <a:gd name="connsiteX2400" fmla="*/ 2019746 w 11625583"/>
              <a:gd name="connsiteY2400" fmla="*/ 2624589 h 6380470"/>
              <a:gd name="connsiteX2401" fmla="*/ 2084396 w 11625583"/>
              <a:gd name="connsiteY2401" fmla="*/ 2559922 h 6380470"/>
              <a:gd name="connsiteX2402" fmla="*/ 1927818 w 11625583"/>
              <a:gd name="connsiteY2402" fmla="*/ 2559922 h 6380470"/>
              <a:gd name="connsiteX2403" fmla="*/ 1992499 w 11625583"/>
              <a:gd name="connsiteY2403" fmla="*/ 2624589 h 6380470"/>
              <a:gd name="connsiteX2404" fmla="*/ 1927818 w 11625583"/>
              <a:gd name="connsiteY2404" fmla="*/ 2689256 h 6380470"/>
              <a:gd name="connsiteX2405" fmla="*/ 1863171 w 11625583"/>
              <a:gd name="connsiteY2405" fmla="*/ 2624589 h 6380470"/>
              <a:gd name="connsiteX2406" fmla="*/ 1927818 w 11625583"/>
              <a:gd name="connsiteY2406" fmla="*/ 2559922 h 6380470"/>
              <a:gd name="connsiteX2407" fmla="*/ 1775165 w 11625583"/>
              <a:gd name="connsiteY2407" fmla="*/ 2559922 h 6380470"/>
              <a:gd name="connsiteX2408" fmla="*/ 1839842 w 11625583"/>
              <a:gd name="connsiteY2408" fmla="*/ 2624589 h 6380470"/>
              <a:gd name="connsiteX2409" fmla="*/ 1775165 w 11625583"/>
              <a:gd name="connsiteY2409" fmla="*/ 2689256 h 6380470"/>
              <a:gd name="connsiteX2410" fmla="*/ 1710496 w 11625583"/>
              <a:gd name="connsiteY2410" fmla="*/ 2624589 h 6380470"/>
              <a:gd name="connsiteX2411" fmla="*/ 1775165 w 11625583"/>
              <a:gd name="connsiteY2411" fmla="*/ 2559922 h 6380470"/>
              <a:gd name="connsiteX2412" fmla="*/ 1618586 w 11625583"/>
              <a:gd name="connsiteY2412" fmla="*/ 2559922 h 6380470"/>
              <a:gd name="connsiteX2413" fmla="*/ 1683255 w 11625583"/>
              <a:gd name="connsiteY2413" fmla="*/ 2624589 h 6380470"/>
              <a:gd name="connsiteX2414" fmla="*/ 1618586 w 11625583"/>
              <a:gd name="connsiteY2414" fmla="*/ 2689256 h 6380470"/>
              <a:gd name="connsiteX2415" fmla="*/ 1553923 w 11625583"/>
              <a:gd name="connsiteY2415" fmla="*/ 2624589 h 6380470"/>
              <a:gd name="connsiteX2416" fmla="*/ 1618586 w 11625583"/>
              <a:gd name="connsiteY2416" fmla="*/ 2559922 h 6380470"/>
              <a:gd name="connsiteX2417" fmla="*/ 10003015 w 11625583"/>
              <a:gd name="connsiteY2417" fmla="*/ 2422922 h 6380470"/>
              <a:gd name="connsiteX2418" fmla="*/ 10067681 w 11625583"/>
              <a:gd name="connsiteY2418" fmla="*/ 2487589 h 6380470"/>
              <a:gd name="connsiteX2419" fmla="*/ 10003015 w 11625583"/>
              <a:gd name="connsiteY2419" fmla="*/ 2552255 h 6380470"/>
              <a:gd name="connsiteX2420" fmla="*/ 9938349 w 11625583"/>
              <a:gd name="connsiteY2420" fmla="*/ 2487589 h 6380470"/>
              <a:gd name="connsiteX2421" fmla="*/ 10003015 w 11625583"/>
              <a:gd name="connsiteY2421" fmla="*/ 2422922 h 6380470"/>
              <a:gd name="connsiteX2422" fmla="*/ 9693782 w 11625583"/>
              <a:gd name="connsiteY2422" fmla="*/ 2422922 h 6380470"/>
              <a:gd name="connsiteX2423" fmla="*/ 9758448 w 11625583"/>
              <a:gd name="connsiteY2423" fmla="*/ 2487589 h 6380470"/>
              <a:gd name="connsiteX2424" fmla="*/ 9693782 w 11625583"/>
              <a:gd name="connsiteY2424" fmla="*/ 2552255 h 6380470"/>
              <a:gd name="connsiteX2425" fmla="*/ 9629116 w 11625583"/>
              <a:gd name="connsiteY2425" fmla="*/ 2487589 h 6380470"/>
              <a:gd name="connsiteX2426" fmla="*/ 9693782 w 11625583"/>
              <a:gd name="connsiteY2426" fmla="*/ 2422922 h 6380470"/>
              <a:gd name="connsiteX2427" fmla="*/ 9384549 w 11625583"/>
              <a:gd name="connsiteY2427" fmla="*/ 2422922 h 6380470"/>
              <a:gd name="connsiteX2428" fmla="*/ 9449215 w 11625583"/>
              <a:gd name="connsiteY2428" fmla="*/ 2487589 h 6380470"/>
              <a:gd name="connsiteX2429" fmla="*/ 9384549 w 11625583"/>
              <a:gd name="connsiteY2429" fmla="*/ 2552255 h 6380470"/>
              <a:gd name="connsiteX2430" fmla="*/ 9319883 w 11625583"/>
              <a:gd name="connsiteY2430" fmla="*/ 2487589 h 6380470"/>
              <a:gd name="connsiteX2431" fmla="*/ 9384549 w 11625583"/>
              <a:gd name="connsiteY2431" fmla="*/ 2422922 h 6380470"/>
              <a:gd name="connsiteX2432" fmla="*/ 9227976 w 11625583"/>
              <a:gd name="connsiteY2432" fmla="*/ 2422922 h 6380470"/>
              <a:gd name="connsiteX2433" fmla="*/ 9292642 w 11625583"/>
              <a:gd name="connsiteY2433" fmla="*/ 2487589 h 6380470"/>
              <a:gd name="connsiteX2434" fmla="*/ 9227976 w 11625583"/>
              <a:gd name="connsiteY2434" fmla="*/ 2552255 h 6380470"/>
              <a:gd name="connsiteX2435" fmla="*/ 9163310 w 11625583"/>
              <a:gd name="connsiteY2435" fmla="*/ 2487589 h 6380470"/>
              <a:gd name="connsiteX2436" fmla="*/ 9227976 w 11625583"/>
              <a:gd name="connsiteY2436" fmla="*/ 2422922 h 6380470"/>
              <a:gd name="connsiteX2437" fmla="*/ 9075317 w 11625583"/>
              <a:gd name="connsiteY2437" fmla="*/ 2422922 h 6380470"/>
              <a:gd name="connsiteX2438" fmla="*/ 9139983 w 11625583"/>
              <a:gd name="connsiteY2438" fmla="*/ 2487589 h 6380470"/>
              <a:gd name="connsiteX2439" fmla="*/ 9075317 w 11625583"/>
              <a:gd name="connsiteY2439" fmla="*/ 2552255 h 6380470"/>
              <a:gd name="connsiteX2440" fmla="*/ 9010651 w 11625583"/>
              <a:gd name="connsiteY2440" fmla="*/ 2487589 h 6380470"/>
              <a:gd name="connsiteX2441" fmla="*/ 9075317 w 11625583"/>
              <a:gd name="connsiteY2441" fmla="*/ 2422922 h 6380470"/>
              <a:gd name="connsiteX2442" fmla="*/ 8914831 w 11625583"/>
              <a:gd name="connsiteY2442" fmla="*/ 2422922 h 6380470"/>
              <a:gd name="connsiteX2443" fmla="*/ 8979497 w 11625583"/>
              <a:gd name="connsiteY2443" fmla="*/ 2487589 h 6380470"/>
              <a:gd name="connsiteX2444" fmla="*/ 8914831 w 11625583"/>
              <a:gd name="connsiteY2444" fmla="*/ 2552255 h 6380470"/>
              <a:gd name="connsiteX2445" fmla="*/ 8850165 w 11625583"/>
              <a:gd name="connsiteY2445" fmla="*/ 2487589 h 6380470"/>
              <a:gd name="connsiteX2446" fmla="*/ 8914831 w 11625583"/>
              <a:gd name="connsiteY2446" fmla="*/ 2422922 h 6380470"/>
              <a:gd name="connsiteX2447" fmla="*/ 8766086 w 11625583"/>
              <a:gd name="connsiteY2447" fmla="*/ 2422922 h 6380470"/>
              <a:gd name="connsiteX2448" fmla="*/ 8830752 w 11625583"/>
              <a:gd name="connsiteY2448" fmla="*/ 2487589 h 6380470"/>
              <a:gd name="connsiteX2449" fmla="*/ 8766086 w 11625583"/>
              <a:gd name="connsiteY2449" fmla="*/ 2552255 h 6380470"/>
              <a:gd name="connsiteX2450" fmla="*/ 8701420 w 11625583"/>
              <a:gd name="connsiteY2450" fmla="*/ 2487589 h 6380470"/>
              <a:gd name="connsiteX2451" fmla="*/ 8766086 w 11625583"/>
              <a:gd name="connsiteY2451" fmla="*/ 2422922 h 6380470"/>
              <a:gd name="connsiteX2452" fmla="*/ 8601685 w 11625583"/>
              <a:gd name="connsiteY2452" fmla="*/ 2422922 h 6380470"/>
              <a:gd name="connsiteX2453" fmla="*/ 8666351 w 11625583"/>
              <a:gd name="connsiteY2453" fmla="*/ 2487589 h 6380470"/>
              <a:gd name="connsiteX2454" fmla="*/ 8601685 w 11625583"/>
              <a:gd name="connsiteY2454" fmla="*/ 2552255 h 6380470"/>
              <a:gd name="connsiteX2455" fmla="*/ 8537019 w 11625583"/>
              <a:gd name="connsiteY2455" fmla="*/ 2487589 h 6380470"/>
              <a:gd name="connsiteX2456" fmla="*/ 8601685 w 11625583"/>
              <a:gd name="connsiteY2456" fmla="*/ 2422922 h 6380470"/>
              <a:gd name="connsiteX2457" fmla="*/ 8449025 w 11625583"/>
              <a:gd name="connsiteY2457" fmla="*/ 2422922 h 6380470"/>
              <a:gd name="connsiteX2458" fmla="*/ 8513691 w 11625583"/>
              <a:gd name="connsiteY2458" fmla="*/ 2487589 h 6380470"/>
              <a:gd name="connsiteX2459" fmla="*/ 8449025 w 11625583"/>
              <a:gd name="connsiteY2459" fmla="*/ 2552255 h 6380470"/>
              <a:gd name="connsiteX2460" fmla="*/ 8384359 w 11625583"/>
              <a:gd name="connsiteY2460" fmla="*/ 2487589 h 6380470"/>
              <a:gd name="connsiteX2461" fmla="*/ 8449025 w 11625583"/>
              <a:gd name="connsiteY2461" fmla="*/ 2422922 h 6380470"/>
              <a:gd name="connsiteX2462" fmla="*/ 8296368 w 11625583"/>
              <a:gd name="connsiteY2462" fmla="*/ 2422922 h 6380470"/>
              <a:gd name="connsiteX2463" fmla="*/ 8361034 w 11625583"/>
              <a:gd name="connsiteY2463" fmla="*/ 2487589 h 6380470"/>
              <a:gd name="connsiteX2464" fmla="*/ 8296368 w 11625583"/>
              <a:gd name="connsiteY2464" fmla="*/ 2552255 h 6380470"/>
              <a:gd name="connsiteX2465" fmla="*/ 8231702 w 11625583"/>
              <a:gd name="connsiteY2465" fmla="*/ 2487589 h 6380470"/>
              <a:gd name="connsiteX2466" fmla="*/ 8296368 w 11625583"/>
              <a:gd name="connsiteY2466" fmla="*/ 2422922 h 6380470"/>
              <a:gd name="connsiteX2467" fmla="*/ 8139793 w 11625583"/>
              <a:gd name="connsiteY2467" fmla="*/ 2422922 h 6380470"/>
              <a:gd name="connsiteX2468" fmla="*/ 8204459 w 11625583"/>
              <a:gd name="connsiteY2468" fmla="*/ 2487589 h 6380470"/>
              <a:gd name="connsiteX2469" fmla="*/ 8139793 w 11625583"/>
              <a:gd name="connsiteY2469" fmla="*/ 2552255 h 6380470"/>
              <a:gd name="connsiteX2470" fmla="*/ 8075127 w 11625583"/>
              <a:gd name="connsiteY2470" fmla="*/ 2487589 h 6380470"/>
              <a:gd name="connsiteX2471" fmla="*/ 8139793 w 11625583"/>
              <a:gd name="connsiteY2471" fmla="*/ 2422922 h 6380470"/>
              <a:gd name="connsiteX2472" fmla="*/ 7987133 w 11625583"/>
              <a:gd name="connsiteY2472" fmla="*/ 2422922 h 6380470"/>
              <a:gd name="connsiteX2473" fmla="*/ 8051799 w 11625583"/>
              <a:gd name="connsiteY2473" fmla="*/ 2487589 h 6380470"/>
              <a:gd name="connsiteX2474" fmla="*/ 7987133 w 11625583"/>
              <a:gd name="connsiteY2474" fmla="*/ 2552255 h 6380470"/>
              <a:gd name="connsiteX2475" fmla="*/ 7922467 w 11625583"/>
              <a:gd name="connsiteY2475" fmla="*/ 2487589 h 6380470"/>
              <a:gd name="connsiteX2476" fmla="*/ 7987133 w 11625583"/>
              <a:gd name="connsiteY2476" fmla="*/ 2422922 h 6380470"/>
              <a:gd name="connsiteX2477" fmla="*/ 7830562 w 11625583"/>
              <a:gd name="connsiteY2477" fmla="*/ 2422922 h 6380470"/>
              <a:gd name="connsiteX2478" fmla="*/ 7895228 w 11625583"/>
              <a:gd name="connsiteY2478" fmla="*/ 2487589 h 6380470"/>
              <a:gd name="connsiteX2479" fmla="*/ 7830562 w 11625583"/>
              <a:gd name="connsiteY2479" fmla="*/ 2552255 h 6380470"/>
              <a:gd name="connsiteX2480" fmla="*/ 7765896 w 11625583"/>
              <a:gd name="connsiteY2480" fmla="*/ 2487589 h 6380470"/>
              <a:gd name="connsiteX2481" fmla="*/ 7830562 w 11625583"/>
              <a:gd name="connsiteY2481" fmla="*/ 2422922 h 6380470"/>
              <a:gd name="connsiteX2482" fmla="*/ 7677904 w 11625583"/>
              <a:gd name="connsiteY2482" fmla="*/ 2422922 h 6380470"/>
              <a:gd name="connsiteX2483" fmla="*/ 7742570 w 11625583"/>
              <a:gd name="connsiteY2483" fmla="*/ 2487589 h 6380470"/>
              <a:gd name="connsiteX2484" fmla="*/ 7677904 w 11625583"/>
              <a:gd name="connsiteY2484" fmla="*/ 2552255 h 6380470"/>
              <a:gd name="connsiteX2485" fmla="*/ 7613238 w 11625583"/>
              <a:gd name="connsiteY2485" fmla="*/ 2487589 h 6380470"/>
              <a:gd name="connsiteX2486" fmla="*/ 7677904 w 11625583"/>
              <a:gd name="connsiteY2486" fmla="*/ 2422922 h 6380470"/>
              <a:gd name="connsiteX2487" fmla="*/ 7521331 w 11625583"/>
              <a:gd name="connsiteY2487" fmla="*/ 2422922 h 6380470"/>
              <a:gd name="connsiteX2488" fmla="*/ 7585997 w 11625583"/>
              <a:gd name="connsiteY2488" fmla="*/ 2487589 h 6380470"/>
              <a:gd name="connsiteX2489" fmla="*/ 7521331 w 11625583"/>
              <a:gd name="connsiteY2489" fmla="*/ 2552255 h 6380470"/>
              <a:gd name="connsiteX2490" fmla="*/ 7456665 w 11625583"/>
              <a:gd name="connsiteY2490" fmla="*/ 2487589 h 6380470"/>
              <a:gd name="connsiteX2491" fmla="*/ 7521331 w 11625583"/>
              <a:gd name="connsiteY2491" fmla="*/ 2422922 h 6380470"/>
              <a:gd name="connsiteX2492" fmla="*/ 7368671 w 11625583"/>
              <a:gd name="connsiteY2492" fmla="*/ 2422922 h 6380470"/>
              <a:gd name="connsiteX2493" fmla="*/ 7433337 w 11625583"/>
              <a:gd name="connsiteY2493" fmla="*/ 2487589 h 6380470"/>
              <a:gd name="connsiteX2494" fmla="*/ 7368671 w 11625583"/>
              <a:gd name="connsiteY2494" fmla="*/ 2552255 h 6380470"/>
              <a:gd name="connsiteX2495" fmla="*/ 7304005 w 11625583"/>
              <a:gd name="connsiteY2495" fmla="*/ 2487589 h 6380470"/>
              <a:gd name="connsiteX2496" fmla="*/ 7368671 w 11625583"/>
              <a:gd name="connsiteY2496" fmla="*/ 2422922 h 6380470"/>
              <a:gd name="connsiteX2497" fmla="*/ 7055523 w 11625583"/>
              <a:gd name="connsiteY2497" fmla="*/ 2422922 h 6380470"/>
              <a:gd name="connsiteX2498" fmla="*/ 7120189 w 11625583"/>
              <a:gd name="connsiteY2498" fmla="*/ 2487589 h 6380470"/>
              <a:gd name="connsiteX2499" fmla="*/ 7055523 w 11625583"/>
              <a:gd name="connsiteY2499" fmla="*/ 2552255 h 6380470"/>
              <a:gd name="connsiteX2500" fmla="*/ 6990857 w 11625583"/>
              <a:gd name="connsiteY2500" fmla="*/ 2487589 h 6380470"/>
              <a:gd name="connsiteX2501" fmla="*/ 7055523 w 11625583"/>
              <a:gd name="connsiteY2501" fmla="*/ 2422922 h 6380470"/>
              <a:gd name="connsiteX2502" fmla="*/ 6895037 w 11625583"/>
              <a:gd name="connsiteY2502" fmla="*/ 2422922 h 6380470"/>
              <a:gd name="connsiteX2503" fmla="*/ 6959703 w 11625583"/>
              <a:gd name="connsiteY2503" fmla="*/ 2487589 h 6380470"/>
              <a:gd name="connsiteX2504" fmla="*/ 6895037 w 11625583"/>
              <a:gd name="connsiteY2504" fmla="*/ 2552255 h 6380470"/>
              <a:gd name="connsiteX2505" fmla="*/ 6830371 w 11625583"/>
              <a:gd name="connsiteY2505" fmla="*/ 2487589 h 6380470"/>
              <a:gd name="connsiteX2506" fmla="*/ 6895037 w 11625583"/>
              <a:gd name="connsiteY2506" fmla="*/ 2422922 h 6380470"/>
              <a:gd name="connsiteX2507" fmla="*/ 6742377 w 11625583"/>
              <a:gd name="connsiteY2507" fmla="*/ 2422922 h 6380470"/>
              <a:gd name="connsiteX2508" fmla="*/ 6807043 w 11625583"/>
              <a:gd name="connsiteY2508" fmla="*/ 2487589 h 6380470"/>
              <a:gd name="connsiteX2509" fmla="*/ 6742377 w 11625583"/>
              <a:gd name="connsiteY2509" fmla="*/ 2552255 h 6380470"/>
              <a:gd name="connsiteX2510" fmla="*/ 6677711 w 11625583"/>
              <a:gd name="connsiteY2510" fmla="*/ 2487589 h 6380470"/>
              <a:gd name="connsiteX2511" fmla="*/ 6742377 w 11625583"/>
              <a:gd name="connsiteY2511" fmla="*/ 2422922 h 6380470"/>
              <a:gd name="connsiteX2512" fmla="*/ 6585804 w 11625583"/>
              <a:gd name="connsiteY2512" fmla="*/ 2422922 h 6380470"/>
              <a:gd name="connsiteX2513" fmla="*/ 6650470 w 11625583"/>
              <a:gd name="connsiteY2513" fmla="*/ 2487589 h 6380470"/>
              <a:gd name="connsiteX2514" fmla="*/ 6585804 w 11625583"/>
              <a:gd name="connsiteY2514" fmla="*/ 2552255 h 6380470"/>
              <a:gd name="connsiteX2515" fmla="*/ 6521138 w 11625583"/>
              <a:gd name="connsiteY2515" fmla="*/ 2487589 h 6380470"/>
              <a:gd name="connsiteX2516" fmla="*/ 6585804 w 11625583"/>
              <a:gd name="connsiteY2516" fmla="*/ 2422922 h 6380470"/>
              <a:gd name="connsiteX2517" fmla="*/ 6429231 w 11625583"/>
              <a:gd name="connsiteY2517" fmla="*/ 2422922 h 6380470"/>
              <a:gd name="connsiteX2518" fmla="*/ 6493897 w 11625583"/>
              <a:gd name="connsiteY2518" fmla="*/ 2487589 h 6380470"/>
              <a:gd name="connsiteX2519" fmla="*/ 6429231 w 11625583"/>
              <a:gd name="connsiteY2519" fmla="*/ 2552255 h 6380470"/>
              <a:gd name="connsiteX2520" fmla="*/ 6364565 w 11625583"/>
              <a:gd name="connsiteY2520" fmla="*/ 2487589 h 6380470"/>
              <a:gd name="connsiteX2521" fmla="*/ 6429231 w 11625583"/>
              <a:gd name="connsiteY2521" fmla="*/ 2422922 h 6380470"/>
              <a:gd name="connsiteX2522" fmla="*/ 6276571 w 11625583"/>
              <a:gd name="connsiteY2522" fmla="*/ 2422922 h 6380470"/>
              <a:gd name="connsiteX2523" fmla="*/ 6341237 w 11625583"/>
              <a:gd name="connsiteY2523" fmla="*/ 2487589 h 6380470"/>
              <a:gd name="connsiteX2524" fmla="*/ 6276571 w 11625583"/>
              <a:gd name="connsiteY2524" fmla="*/ 2552255 h 6380470"/>
              <a:gd name="connsiteX2525" fmla="*/ 6211905 w 11625583"/>
              <a:gd name="connsiteY2525" fmla="*/ 2487589 h 6380470"/>
              <a:gd name="connsiteX2526" fmla="*/ 6276571 w 11625583"/>
              <a:gd name="connsiteY2526" fmla="*/ 2422922 h 6380470"/>
              <a:gd name="connsiteX2527" fmla="*/ 5967339 w 11625583"/>
              <a:gd name="connsiteY2527" fmla="*/ 2422922 h 6380470"/>
              <a:gd name="connsiteX2528" fmla="*/ 6032005 w 11625583"/>
              <a:gd name="connsiteY2528" fmla="*/ 2487589 h 6380470"/>
              <a:gd name="connsiteX2529" fmla="*/ 5967339 w 11625583"/>
              <a:gd name="connsiteY2529" fmla="*/ 2552255 h 6380470"/>
              <a:gd name="connsiteX2530" fmla="*/ 5902673 w 11625583"/>
              <a:gd name="connsiteY2530" fmla="*/ 2487589 h 6380470"/>
              <a:gd name="connsiteX2531" fmla="*/ 5967339 w 11625583"/>
              <a:gd name="connsiteY2531" fmla="*/ 2422922 h 6380470"/>
              <a:gd name="connsiteX2532" fmla="*/ 5348888 w 11625583"/>
              <a:gd name="connsiteY2532" fmla="*/ 2422922 h 6380470"/>
              <a:gd name="connsiteX2533" fmla="*/ 5413551 w 11625583"/>
              <a:gd name="connsiteY2533" fmla="*/ 2487589 h 6380470"/>
              <a:gd name="connsiteX2534" fmla="*/ 5348888 w 11625583"/>
              <a:gd name="connsiteY2534" fmla="*/ 2552255 h 6380470"/>
              <a:gd name="connsiteX2535" fmla="*/ 5284224 w 11625583"/>
              <a:gd name="connsiteY2535" fmla="*/ 2487589 h 6380470"/>
              <a:gd name="connsiteX2536" fmla="*/ 5348888 w 11625583"/>
              <a:gd name="connsiteY2536" fmla="*/ 2422922 h 6380470"/>
              <a:gd name="connsiteX2537" fmla="*/ 5192318 w 11625583"/>
              <a:gd name="connsiteY2537" fmla="*/ 2422922 h 6380470"/>
              <a:gd name="connsiteX2538" fmla="*/ 5256980 w 11625583"/>
              <a:gd name="connsiteY2538" fmla="*/ 2487589 h 6380470"/>
              <a:gd name="connsiteX2539" fmla="*/ 5192318 w 11625583"/>
              <a:gd name="connsiteY2539" fmla="*/ 2552255 h 6380470"/>
              <a:gd name="connsiteX2540" fmla="*/ 5127651 w 11625583"/>
              <a:gd name="connsiteY2540" fmla="*/ 2487589 h 6380470"/>
              <a:gd name="connsiteX2541" fmla="*/ 5192318 w 11625583"/>
              <a:gd name="connsiteY2541" fmla="*/ 2422922 h 6380470"/>
              <a:gd name="connsiteX2542" fmla="*/ 3012086 w 11625583"/>
              <a:gd name="connsiteY2542" fmla="*/ 2422922 h 6380470"/>
              <a:gd name="connsiteX2543" fmla="*/ 3076754 w 11625583"/>
              <a:gd name="connsiteY2543" fmla="*/ 2487589 h 6380470"/>
              <a:gd name="connsiteX2544" fmla="*/ 3012086 w 11625583"/>
              <a:gd name="connsiteY2544" fmla="*/ 2552255 h 6380470"/>
              <a:gd name="connsiteX2545" fmla="*/ 2947426 w 11625583"/>
              <a:gd name="connsiteY2545" fmla="*/ 2487589 h 6380470"/>
              <a:gd name="connsiteX2546" fmla="*/ 3012086 w 11625583"/>
              <a:gd name="connsiteY2546" fmla="*/ 2422922 h 6380470"/>
              <a:gd name="connsiteX2547" fmla="*/ 2855526 w 11625583"/>
              <a:gd name="connsiteY2547" fmla="*/ 2422922 h 6380470"/>
              <a:gd name="connsiteX2548" fmla="*/ 2920186 w 11625583"/>
              <a:gd name="connsiteY2548" fmla="*/ 2487589 h 6380470"/>
              <a:gd name="connsiteX2549" fmla="*/ 2855526 w 11625583"/>
              <a:gd name="connsiteY2549" fmla="*/ 2552255 h 6380470"/>
              <a:gd name="connsiteX2550" fmla="*/ 2790866 w 11625583"/>
              <a:gd name="connsiteY2550" fmla="*/ 2487589 h 6380470"/>
              <a:gd name="connsiteX2551" fmla="*/ 2855526 w 11625583"/>
              <a:gd name="connsiteY2551" fmla="*/ 2422922 h 6380470"/>
              <a:gd name="connsiteX2552" fmla="*/ 2698968 w 11625583"/>
              <a:gd name="connsiteY2552" fmla="*/ 2422922 h 6380470"/>
              <a:gd name="connsiteX2553" fmla="*/ 2763629 w 11625583"/>
              <a:gd name="connsiteY2553" fmla="*/ 2487589 h 6380470"/>
              <a:gd name="connsiteX2554" fmla="*/ 2698968 w 11625583"/>
              <a:gd name="connsiteY2554" fmla="*/ 2552255 h 6380470"/>
              <a:gd name="connsiteX2555" fmla="*/ 2634309 w 11625583"/>
              <a:gd name="connsiteY2555" fmla="*/ 2487589 h 6380470"/>
              <a:gd name="connsiteX2556" fmla="*/ 2698968 w 11625583"/>
              <a:gd name="connsiteY2556" fmla="*/ 2422922 h 6380470"/>
              <a:gd name="connsiteX2557" fmla="*/ 2546324 w 11625583"/>
              <a:gd name="connsiteY2557" fmla="*/ 2422922 h 6380470"/>
              <a:gd name="connsiteX2558" fmla="*/ 2610985 w 11625583"/>
              <a:gd name="connsiteY2558" fmla="*/ 2487589 h 6380470"/>
              <a:gd name="connsiteX2559" fmla="*/ 2546324 w 11625583"/>
              <a:gd name="connsiteY2559" fmla="*/ 2552255 h 6380470"/>
              <a:gd name="connsiteX2560" fmla="*/ 2481663 w 11625583"/>
              <a:gd name="connsiteY2560" fmla="*/ 2487589 h 6380470"/>
              <a:gd name="connsiteX2561" fmla="*/ 2546324 w 11625583"/>
              <a:gd name="connsiteY2561" fmla="*/ 2422922 h 6380470"/>
              <a:gd name="connsiteX2562" fmla="*/ 2389740 w 11625583"/>
              <a:gd name="connsiteY2562" fmla="*/ 2422922 h 6380470"/>
              <a:gd name="connsiteX2563" fmla="*/ 2454426 w 11625583"/>
              <a:gd name="connsiteY2563" fmla="*/ 2487589 h 6380470"/>
              <a:gd name="connsiteX2564" fmla="*/ 2389740 w 11625583"/>
              <a:gd name="connsiteY2564" fmla="*/ 2552255 h 6380470"/>
              <a:gd name="connsiteX2565" fmla="*/ 2325089 w 11625583"/>
              <a:gd name="connsiteY2565" fmla="*/ 2487589 h 6380470"/>
              <a:gd name="connsiteX2566" fmla="*/ 2389740 w 11625583"/>
              <a:gd name="connsiteY2566" fmla="*/ 2422922 h 6380470"/>
              <a:gd name="connsiteX2567" fmla="*/ 2237079 w 11625583"/>
              <a:gd name="connsiteY2567" fmla="*/ 2422922 h 6380470"/>
              <a:gd name="connsiteX2568" fmla="*/ 2301758 w 11625583"/>
              <a:gd name="connsiteY2568" fmla="*/ 2487589 h 6380470"/>
              <a:gd name="connsiteX2569" fmla="*/ 2237079 w 11625583"/>
              <a:gd name="connsiteY2569" fmla="*/ 2552255 h 6380470"/>
              <a:gd name="connsiteX2570" fmla="*/ 2172401 w 11625583"/>
              <a:gd name="connsiteY2570" fmla="*/ 2487589 h 6380470"/>
              <a:gd name="connsiteX2571" fmla="*/ 2237079 w 11625583"/>
              <a:gd name="connsiteY2571" fmla="*/ 2422922 h 6380470"/>
              <a:gd name="connsiteX2572" fmla="*/ 2084402 w 11625583"/>
              <a:gd name="connsiteY2572" fmla="*/ 2422922 h 6380470"/>
              <a:gd name="connsiteX2573" fmla="*/ 2149069 w 11625583"/>
              <a:gd name="connsiteY2573" fmla="*/ 2487589 h 6380470"/>
              <a:gd name="connsiteX2574" fmla="*/ 2084402 w 11625583"/>
              <a:gd name="connsiteY2574" fmla="*/ 2552255 h 6380470"/>
              <a:gd name="connsiteX2575" fmla="*/ 2019753 w 11625583"/>
              <a:gd name="connsiteY2575" fmla="*/ 2487589 h 6380470"/>
              <a:gd name="connsiteX2576" fmla="*/ 2084402 w 11625583"/>
              <a:gd name="connsiteY2576" fmla="*/ 2422922 h 6380470"/>
              <a:gd name="connsiteX2577" fmla="*/ 1927830 w 11625583"/>
              <a:gd name="connsiteY2577" fmla="*/ 2422922 h 6380470"/>
              <a:gd name="connsiteX2578" fmla="*/ 1992505 w 11625583"/>
              <a:gd name="connsiteY2578" fmla="*/ 2487589 h 6380470"/>
              <a:gd name="connsiteX2579" fmla="*/ 1927830 w 11625583"/>
              <a:gd name="connsiteY2579" fmla="*/ 2552255 h 6380470"/>
              <a:gd name="connsiteX2580" fmla="*/ 1863179 w 11625583"/>
              <a:gd name="connsiteY2580" fmla="*/ 2487589 h 6380470"/>
              <a:gd name="connsiteX2581" fmla="*/ 1927830 w 11625583"/>
              <a:gd name="connsiteY2581" fmla="*/ 2422922 h 6380470"/>
              <a:gd name="connsiteX2582" fmla="*/ 1775172 w 11625583"/>
              <a:gd name="connsiteY2582" fmla="*/ 2422922 h 6380470"/>
              <a:gd name="connsiteX2583" fmla="*/ 1839851 w 11625583"/>
              <a:gd name="connsiteY2583" fmla="*/ 2487589 h 6380470"/>
              <a:gd name="connsiteX2584" fmla="*/ 1775172 w 11625583"/>
              <a:gd name="connsiteY2584" fmla="*/ 2552255 h 6380470"/>
              <a:gd name="connsiteX2585" fmla="*/ 1710504 w 11625583"/>
              <a:gd name="connsiteY2585" fmla="*/ 2487589 h 6380470"/>
              <a:gd name="connsiteX2586" fmla="*/ 1775172 w 11625583"/>
              <a:gd name="connsiteY2586" fmla="*/ 2422922 h 6380470"/>
              <a:gd name="connsiteX2587" fmla="*/ 1618593 w 11625583"/>
              <a:gd name="connsiteY2587" fmla="*/ 2422922 h 6380470"/>
              <a:gd name="connsiteX2588" fmla="*/ 1683262 w 11625583"/>
              <a:gd name="connsiteY2588" fmla="*/ 2487589 h 6380470"/>
              <a:gd name="connsiteX2589" fmla="*/ 1618593 w 11625583"/>
              <a:gd name="connsiteY2589" fmla="*/ 2552255 h 6380470"/>
              <a:gd name="connsiteX2590" fmla="*/ 1553929 w 11625583"/>
              <a:gd name="connsiteY2590" fmla="*/ 2487589 h 6380470"/>
              <a:gd name="connsiteX2591" fmla="*/ 1618593 w 11625583"/>
              <a:gd name="connsiteY2591" fmla="*/ 2422922 h 6380470"/>
              <a:gd name="connsiteX2592" fmla="*/ 1465935 w 11625583"/>
              <a:gd name="connsiteY2592" fmla="*/ 2422922 h 6380470"/>
              <a:gd name="connsiteX2593" fmla="*/ 1530601 w 11625583"/>
              <a:gd name="connsiteY2593" fmla="*/ 2487589 h 6380470"/>
              <a:gd name="connsiteX2594" fmla="*/ 1465935 w 11625583"/>
              <a:gd name="connsiteY2594" fmla="*/ 2552255 h 6380470"/>
              <a:gd name="connsiteX2595" fmla="*/ 1401271 w 11625583"/>
              <a:gd name="connsiteY2595" fmla="*/ 2487589 h 6380470"/>
              <a:gd name="connsiteX2596" fmla="*/ 1465935 w 11625583"/>
              <a:gd name="connsiteY2596" fmla="*/ 2422922 h 6380470"/>
              <a:gd name="connsiteX2597" fmla="*/ 1465941 w 11625583"/>
              <a:gd name="connsiteY2597" fmla="*/ 2278094 h 6380470"/>
              <a:gd name="connsiteX2598" fmla="*/ 1530607 w 11625583"/>
              <a:gd name="connsiteY2598" fmla="*/ 2342760 h 6380470"/>
              <a:gd name="connsiteX2599" fmla="*/ 1465941 w 11625583"/>
              <a:gd name="connsiteY2599" fmla="*/ 2407426 h 6380470"/>
              <a:gd name="connsiteX2600" fmla="*/ 1401277 w 11625583"/>
              <a:gd name="connsiteY2600" fmla="*/ 2342760 h 6380470"/>
              <a:gd name="connsiteX2601" fmla="*/ 1465941 w 11625583"/>
              <a:gd name="connsiteY2601" fmla="*/ 2278094 h 6380470"/>
              <a:gd name="connsiteX2602" fmla="*/ 2084411 w 11625583"/>
              <a:gd name="connsiteY2602" fmla="*/ 2278092 h 6380470"/>
              <a:gd name="connsiteX2603" fmla="*/ 2149075 w 11625583"/>
              <a:gd name="connsiteY2603" fmla="*/ 2342758 h 6380470"/>
              <a:gd name="connsiteX2604" fmla="*/ 2084411 w 11625583"/>
              <a:gd name="connsiteY2604" fmla="*/ 2407425 h 6380470"/>
              <a:gd name="connsiteX2605" fmla="*/ 2019760 w 11625583"/>
              <a:gd name="connsiteY2605" fmla="*/ 2342758 h 6380470"/>
              <a:gd name="connsiteX2606" fmla="*/ 2084411 w 11625583"/>
              <a:gd name="connsiteY2606" fmla="*/ 2278092 h 6380470"/>
              <a:gd name="connsiteX2607" fmla="*/ 1927830 w 11625583"/>
              <a:gd name="connsiteY2607" fmla="*/ 2278092 h 6380470"/>
              <a:gd name="connsiteX2608" fmla="*/ 1992511 w 11625583"/>
              <a:gd name="connsiteY2608" fmla="*/ 2342758 h 6380470"/>
              <a:gd name="connsiteX2609" fmla="*/ 1927830 w 11625583"/>
              <a:gd name="connsiteY2609" fmla="*/ 2407425 h 6380470"/>
              <a:gd name="connsiteX2610" fmla="*/ 1863187 w 11625583"/>
              <a:gd name="connsiteY2610" fmla="*/ 2342758 h 6380470"/>
              <a:gd name="connsiteX2611" fmla="*/ 1927830 w 11625583"/>
              <a:gd name="connsiteY2611" fmla="*/ 2278092 h 6380470"/>
              <a:gd name="connsiteX2612" fmla="*/ 1775179 w 11625583"/>
              <a:gd name="connsiteY2612" fmla="*/ 2278092 h 6380470"/>
              <a:gd name="connsiteX2613" fmla="*/ 1839858 w 11625583"/>
              <a:gd name="connsiteY2613" fmla="*/ 2342758 h 6380470"/>
              <a:gd name="connsiteX2614" fmla="*/ 1775179 w 11625583"/>
              <a:gd name="connsiteY2614" fmla="*/ 2407425 h 6380470"/>
              <a:gd name="connsiteX2615" fmla="*/ 1710510 w 11625583"/>
              <a:gd name="connsiteY2615" fmla="*/ 2342758 h 6380470"/>
              <a:gd name="connsiteX2616" fmla="*/ 1775179 w 11625583"/>
              <a:gd name="connsiteY2616" fmla="*/ 2278092 h 6380470"/>
              <a:gd name="connsiteX2617" fmla="*/ 1618599 w 11625583"/>
              <a:gd name="connsiteY2617" fmla="*/ 2278092 h 6380470"/>
              <a:gd name="connsiteX2618" fmla="*/ 1683268 w 11625583"/>
              <a:gd name="connsiteY2618" fmla="*/ 2342758 h 6380470"/>
              <a:gd name="connsiteX2619" fmla="*/ 1618599 w 11625583"/>
              <a:gd name="connsiteY2619" fmla="*/ 2407425 h 6380470"/>
              <a:gd name="connsiteX2620" fmla="*/ 1553936 w 11625583"/>
              <a:gd name="connsiteY2620" fmla="*/ 2342758 h 6380470"/>
              <a:gd name="connsiteX2621" fmla="*/ 1618599 w 11625583"/>
              <a:gd name="connsiteY2621" fmla="*/ 2278092 h 6380470"/>
              <a:gd name="connsiteX2622" fmla="*/ 10003016 w 11625583"/>
              <a:gd name="connsiteY2622" fmla="*/ 2278090 h 6380470"/>
              <a:gd name="connsiteX2623" fmla="*/ 10067682 w 11625583"/>
              <a:gd name="connsiteY2623" fmla="*/ 2342756 h 6380470"/>
              <a:gd name="connsiteX2624" fmla="*/ 10003016 w 11625583"/>
              <a:gd name="connsiteY2624" fmla="*/ 2407423 h 6380470"/>
              <a:gd name="connsiteX2625" fmla="*/ 9938350 w 11625583"/>
              <a:gd name="connsiteY2625" fmla="*/ 2342756 h 6380470"/>
              <a:gd name="connsiteX2626" fmla="*/ 10003016 w 11625583"/>
              <a:gd name="connsiteY2626" fmla="*/ 2278090 h 6380470"/>
              <a:gd name="connsiteX2627" fmla="*/ 9693783 w 11625583"/>
              <a:gd name="connsiteY2627" fmla="*/ 2278090 h 6380470"/>
              <a:gd name="connsiteX2628" fmla="*/ 9758449 w 11625583"/>
              <a:gd name="connsiteY2628" fmla="*/ 2342756 h 6380470"/>
              <a:gd name="connsiteX2629" fmla="*/ 9693783 w 11625583"/>
              <a:gd name="connsiteY2629" fmla="*/ 2407423 h 6380470"/>
              <a:gd name="connsiteX2630" fmla="*/ 9629117 w 11625583"/>
              <a:gd name="connsiteY2630" fmla="*/ 2342756 h 6380470"/>
              <a:gd name="connsiteX2631" fmla="*/ 9693783 w 11625583"/>
              <a:gd name="connsiteY2631" fmla="*/ 2278090 h 6380470"/>
              <a:gd name="connsiteX2632" fmla="*/ 9541123 w 11625583"/>
              <a:gd name="connsiteY2632" fmla="*/ 2278090 h 6380470"/>
              <a:gd name="connsiteX2633" fmla="*/ 9605789 w 11625583"/>
              <a:gd name="connsiteY2633" fmla="*/ 2342756 h 6380470"/>
              <a:gd name="connsiteX2634" fmla="*/ 9541123 w 11625583"/>
              <a:gd name="connsiteY2634" fmla="*/ 2407423 h 6380470"/>
              <a:gd name="connsiteX2635" fmla="*/ 9476457 w 11625583"/>
              <a:gd name="connsiteY2635" fmla="*/ 2342756 h 6380470"/>
              <a:gd name="connsiteX2636" fmla="*/ 9541123 w 11625583"/>
              <a:gd name="connsiteY2636" fmla="*/ 2278090 h 6380470"/>
              <a:gd name="connsiteX2637" fmla="*/ 9384550 w 11625583"/>
              <a:gd name="connsiteY2637" fmla="*/ 2278090 h 6380470"/>
              <a:gd name="connsiteX2638" fmla="*/ 9449216 w 11625583"/>
              <a:gd name="connsiteY2638" fmla="*/ 2342756 h 6380470"/>
              <a:gd name="connsiteX2639" fmla="*/ 9384550 w 11625583"/>
              <a:gd name="connsiteY2639" fmla="*/ 2407423 h 6380470"/>
              <a:gd name="connsiteX2640" fmla="*/ 9319884 w 11625583"/>
              <a:gd name="connsiteY2640" fmla="*/ 2342756 h 6380470"/>
              <a:gd name="connsiteX2641" fmla="*/ 9384550 w 11625583"/>
              <a:gd name="connsiteY2641" fmla="*/ 2278090 h 6380470"/>
              <a:gd name="connsiteX2642" fmla="*/ 9227977 w 11625583"/>
              <a:gd name="connsiteY2642" fmla="*/ 2278090 h 6380470"/>
              <a:gd name="connsiteX2643" fmla="*/ 9292643 w 11625583"/>
              <a:gd name="connsiteY2643" fmla="*/ 2342756 h 6380470"/>
              <a:gd name="connsiteX2644" fmla="*/ 9227977 w 11625583"/>
              <a:gd name="connsiteY2644" fmla="*/ 2407423 h 6380470"/>
              <a:gd name="connsiteX2645" fmla="*/ 9163311 w 11625583"/>
              <a:gd name="connsiteY2645" fmla="*/ 2342756 h 6380470"/>
              <a:gd name="connsiteX2646" fmla="*/ 9227977 w 11625583"/>
              <a:gd name="connsiteY2646" fmla="*/ 2278090 h 6380470"/>
              <a:gd name="connsiteX2647" fmla="*/ 9075319 w 11625583"/>
              <a:gd name="connsiteY2647" fmla="*/ 2278090 h 6380470"/>
              <a:gd name="connsiteX2648" fmla="*/ 9139985 w 11625583"/>
              <a:gd name="connsiteY2648" fmla="*/ 2342756 h 6380470"/>
              <a:gd name="connsiteX2649" fmla="*/ 9075319 w 11625583"/>
              <a:gd name="connsiteY2649" fmla="*/ 2407423 h 6380470"/>
              <a:gd name="connsiteX2650" fmla="*/ 9010653 w 11625583"/>
              <a:gd name="connsiteY2650" fmla="*/ 2342756 h 6380470"/>
              <a:gd name="connsiteX2651" fmla="*/ 9075319 w 11625583"/>
              <a:gd name="connsiteY2651" fmla="*/ 2278090 h 6380470"/>
              <a:gd name="connsiteX2652" fmla="*/ 8914831 w 11625583"/>
              <a:gd name="connsiteY2652" fmla="*/ 2278090 h 6380470"/>
              <a:gd name="connsiteX2653" fmla="*/ 8979497 w 11625583"/>
              <a:gd name="connsiteY2653" fmla="*/ 2342756 h 6380470"/>
              <a:gd name="connsiteX2654" fmla="*/ 8914831 w 11625583"/>
              <a:gd name="connsiteY2654" fmla="*/ 2407423 h 6380470"/>
              <a:gd name="connsiteX2655" fmla="*/ 8850165 w 11625583"/>
              <a:gd name="connsiteY2655" fmla="*/ 2342756 h 6380470"/>
              <a:gd name="connsiteX2656" fmla="*/ 8914831 w 11625583"/>
              <a:gd name="connsiteY2656" fmla="*/ 2278090 h 6380470"/>
              <a:gd name="connsiteX2657" fmla="*/ 8766086 w 11625583"/>
              <a:gd name="connsiteY2657" fmla="*/ 2278090 h 6380470"/>
              <a:gd name="connsiteX2658" fmla="*/ 8830752 w 11625583"/>
              <a:gd name="connsiteY2658" fmla="*/ 2342756 h 6380470"/>
              <a:gd name="connsiteX2659" fmla="*/ 8766086 w 11625583"/>
              <a:gd name="connsiteY2659" fmla="*/ 2407423 h 6380470"/>
              <a:gd name="connsiteX2660" fmla="*/ 8701420 w 11625583"/>
              <a:gd name="connsiteY2660" fmla="*/ 2342756 h 6380470"/>
              <a:gd name="connsiteX2661" fmla="*/ 8766086 w 11625583"/>
              <a:gd name="connsiteY2661" fmla="*/ 2278090 h 6380470"/>
              <a:gd name="connsiteX2662" fmla="*/ 8601685 w 11625583"/>
              <a:gd name="connsiteY2662" fmla="*/ 2278090 h 6380470"/>
              <a:gd name="connsiteX2663" fmla="*/ 8666351 w 11625583"/>
              <a:gd name="connsiteY2663" fmla="*/ 2342756 h 6380470"/>
              <a:gd name="connsiteX2664" fmla="*/ 8601685 w 11625583"/>
              <a:gd name="connsiteY2664" fmla="*/ 2407423 h 6380470"/>
              <a:gd name="connsiteX2665" fmla="*/ 8537019 w 11625583"/>
              <a:gd name="connsiteY2665" fmla="*/ 2342756 h 6380470"/>
              <a:gd name="connsiteX2666" fmla="*/ 8601685 w 11625583"/>
              <a:gd name="connsiteY2666" fmla="*/ 2278090 h 6380470"/>
              <a:gd name="connsiteX2667" fmla="*/ 8449025 w 11625583"/>
              <a:gd name="connsiteY2667" fmla="*/ 2278090 h 6380470"/>
              <a:gd name="connsiteX2668" fmla="*/ 8513691 w 11625583"/>
              <a:gd name="connsiteY2668" fmla="*/ 2342756 h 6380470"/>
              <a:gd name="connsiteX2669" fmla="*/ 8449025 w 11625583"/>
              <a:gd name="connsiteY2669" fmla="*/ 2407423 h 6380470"/>
              <a:gd name="connsiteX2670" fmla="*/ 8384359 w 11625583"/>
              <a:gd name="connsiteY2670" fmla="*/ 2342756 h 6380470"/>
              <a:gd name="connsiteX2671" fmla="*/ 8449025 w 11625583"/>
              <a:gd name="connsiteY2671" fmla="*/ 2278090 h 6380470"/>
              <a:gd name="connsiteX2672" fmla="*/ 8296368 w 11625583"/>
              <a:gd name="connsiteY2672" fmla="*/ 2278090 h 6380470"/>
              <a:gd name="connsiteX2673" fmla="*/ 8361034 w 11625583"/>
              <a:gd name="connsiteY2673" fmla="*/ 2342756 h 6380470"/>
              <a:gd name="connsiteX2674" fmla="*/ 8296368 w 11625583"/>
              <a:gd name="connsiteY2674" fmla="*/ 2407423 h 6380470"/>
              <a:gd name="connsiteX2675" fmla="*/ 8231702 w 11625583"/>
              <a:gd name="connsiteY2675" fmla="*/ 2342756 h 6380470"/>
              <a:gd name="connsiteX2676" fmla="*/ 8296368 w 11625583"/>
              <a:gd name="connsiteY2676" fmla="*/ 2278090 h 6380470"/>
              <a:gd name="connsiteX2677" fmla="*/ 8139793 w 11625583"/>
              <a:gd name="connsiteY2677" fmla="*/ 2278090 h 6380470"/>
              <a:gd name="connsiteX2678" fmla="*/ 8204459 w 11625583"/>
              <a:gd name="connsiteY2678" fmla="*/ 2342756 h 6380470"/>
              <a:gd name="connsiteX2679" fmla="*/ 8139793 w 11625583"/>
              <a:gd name="connsiteY2679" fmla="*/ 2407423 h 6380470"/>
              <a:gd name="connsiteX2680" fmla="*/ 8075127 w 11625583"/>
              <a:gd name="connsiteY2680" fmla="*/ 2342756 h 6380470"/>
              <a:gd name="connsiteX2681" fmla="*/ 8139793 w 11625583"/>
              <a:gd name="connsiteY2681" fmla="*/ 2278090 h 6380470"/>
              <a:gd name="connsiteX2682" fmla="*/ 7987133 w 11625583"/>
              <a:gd name="connsiteY2682" fmla="*/ 2278090 h 6380470"/>
              <a:gd name="connsiteX2683" fmla="*/ 8051799 w 11625583"/>
              <a:gd name="connsiteY2683" fmla="*/ 2342756 h 6380470"/>
              <a:gd name="connsiteX2684" fmla="*/ 7987133 w 11625583"/>
              <a:gd name="connsiteY2684" fmla="*/ 2407423 h 6380470"/>
              <a:gd name="connsiteX2685" fmla="*/ 7922467 w 11625583"/>
              <a:gd name="connsiteY2685" fmla="*/ 2342756 h 6380470"/>
              <a:gd name="connsiteX2686" fmla="*/ 7987133 w 11625583"/>
              <a:gd name="connsiteY2686" fmla="*/ 2278090 h 6380470"/>
              <a:gd name="connsiteX2687" fmla="*/ 7830562 w 11625583"/>
              <a:gd name="connsiteY2687" fmla="*/ 2278090 h 6380470"/>
              <a:gd name="connsiteX2688" fmla="*/ 7895228 w 11625583"/>
              <a:gd name="connsiteY2688" fmla="*/ 2342756 h 6380470"/>
              <a:gd name="connsiteX2689" fmla="*/ 7830562 w 11625583"/>
              <a:gd name="connsiteY2689" fmla="*/ 2407423 h 6380470"/>
              <a:gd name="connsiteX2690" fmla="*/ 7765896 w 11625583"/>
              <a:gd name="connsiteY2690" fmla="*/ 2342756 h 6380470"/>
              <a:gd name="connsiteX2691" fmla="*/ 7830562 w 11625583"/>
              <a:gd name="connsiteY2691" fmla="*/ 2278090 h 6380470"/>
              <a:gd name="connsiteX2692" fmla="*/ 7677904 w 11625583"/>
              <a:gd name="connsiteY2692" fmla="*/ 2278090 h 6380470"/>
              <a:gd name="connsiteX2693" fmla="*/ 7742570 w 11625583"/>
              <a:gd name="connsiteY2693" fmla="*/ 2342756 h 6380470"/>
              <a:gd name="connsiteX2694" fmla="*/ 7677904 w 11625583"/>
              <a:gd name="connsiteY2694" fmla="*/ 2407423 h 6380470"/>
              <a:gd name="connsiteX2695" fmla="*/ 7613238 w 11625583"/>
              <a:gd name="connsiteY2695" fmla="*/ 2342756 h 6380470"/>
              <a:gd name="connsiteX2696" fmla="*/ 7677904 w 11625583"/>
              <a:gd name="connsiteY2696" fmla="*/ 2278090 h 6380470"/>
              <a:gd name="connsiteX2697" fmla="*/ 7521331 w 11625583"/>
              <a:gd name="connsiteY2697" fmla="*/ 2278090 h 6380470"/>
              <a:gd name="connsiteX2698" fmla="*/ 7585997 w 11625583"/>
              <a:gd name="connsiteY2698" fmla="*/ 2342756 h 6380470"/>
              <a:gd name="connsiteX2699" fmla="*/ 7521331 w 11625583"/>
              <a:gd name="connsiteY2699" fmla="*/ 2407423 h 6380470"/>
              <a:gd name="connsiteX2700" fmla="*/ 7456665 w 11625583"/>
              <a:gd name="connsiteY2700" fmla="*/ 2342756 h 6380470"/>
              <a:gd name="connsiteX2701" fmla="*/ 7521331 w 11625583"/>
              <a:gd name="connsiteY2701" fmla="*/ 2278090 h 6380470"/>
              <a:gd name="connsiteX2702" fmla="*/ 7368671 w 11625583"/>
              <a:gd name="connsiteY2702" fmla="*/ 2278090 h 6380470"/>
              <a:gd name="connsiteX2703" fmla="*/ 7433337 w 11625583"/>
              <a:gd name="connsiteY2703" fmla="*/ 2342756 h 6380470"/>
              <a:gd name="connsiteX2704" fmla="*/ 7368671 w 11625583"/>
              <a:gd name="connsiteY2704" fmla="*/ 2407423 h 6380470"/>
              <a:gd name="connsiteX2705" fmla="*/ 7304005 w 11625583"/>
              <a:gd name="connsiteY2705" fmla="*/ 2342756 h 6380470"/>
              <a:gd name="connsiteX2706" fmla="*/ 7368671 w 11625583"/>
              <a:gd name="connsiteY2706" fmla="*/ 2278090 h 6380470"/>
              <a:gd name="connsiteX2707" fmla="*/ 7055523 w 11625583"/>
              <a:gd name="connsiteY2707" fmla="*/ 2278090 h 6380470"/>
              <a:gd name="connsiteX2708" fmla="*/ 7120189 w 11625583"/>
              <a:gd name="connsiteY2708" fmla="*/ 2342756 h 6380470"/>
              <a:gd name="connsiteX2709" fmla="*/ 7055523 w 11625583"/>
              <a:gd name="connsiteY2709" fmla="*/ 2407423 h 6380470"/>
              <a:gd name="connsiteX2710" fmla="*/ 6990857 w 11625583"/>
              <a:gd name="connsiteY2710" fmla="*/ 2342756 h 6380470"/>
              <a:gd name="connsiteX2711" fmla="*/ 7055523 w 11625583"/>
              <a:gd name="connsiteY2711" fmla="*/ 2278090 h 6380470"/>
              <a:gd name="connsiteX2712" fmla="*/ 6895037 w 11625583"/>
              <a:gd name="connsiteY2712" fmla="*/ 2278090 h 6380470"/>
              <a:gd name="connsiteX2713" fmla="*/ 6959703 w 11625583"/>
              <a:gd name="connsiteY2713" fmla="*/ 2342756 h 6380470"/>
              <a:gd name="connsiteX2714" fmla="*/ 6895037 w 11625583"/>
              <a:gd name="connsiteY2714" fmla="*/ 2407423 h 6380470"/>
              <a:gd name="connsiteX2715" fmla="*/ 6830371 w 11625583"/>
              <a:gd name="connsiteY2715" fmla="*/ 2342756 h 6380470"/>
              <a:gd name="connsiteX2716" fmla="*/ 6895037 w 11625583"/>
              <a:gd name="connsiteY2716" fmla="*/ 2278090 h 6380470"/>
              <a:gd name="connsiteX2717" fmla="*/ 6742377 w 11625583"/>
              <a:gd name="connsiteY2717" fmla="*/ 2278090 h 6380470"/>
              <a:gd name="connsiteX2718" fmla="*/ 6807043 w 11625583"/>
              <a:gd name="connsiteY2718" fmla="*/ 2342756 h 6380470"/>
              <a:gd name="connsiteX2719" fmla="*/ 6742377 w 11625583"/>
              <a:gd name="connsiteY2719" fmla="*/ 2407423 h 6380470"/>
              <a:gd name="connsiteX2720" fmla="*/ 6677711 w 11625583"/>
              <a:gd name="connsiteY2720" fmla="*/ 2342756 h 6380470"/>
              <a:gd name="connsiteX2721" fmla="*/ 6742377 w 11625583"/>
              <a:gd name="connsiteY2721" fmla="*/ 2278090 h 6380470"/>
              <a:gd name="connsiteX2722" fmla="*/ 6585804 w 11625583"/>
              <a:gd name="connsiteY2722" fmla="*/ 2278090 h 6380470"/>
              <a:gd name="connsiteX2723" fmla="*/ 6650470 w 11625583"/>
              <a:gd name="connsiteY2723" fmla="*/ 2342756 h 6380470"/>
              <a:gd name="connsiteX2724" fmla="*/ 6585804 w 11625583"/>
              <a:gd name="connsiteY2724" fmla="*/ 2407423 h 6380470"/>
              <a:gd name="connsiteX2725" fmla="*/ 6521138 w 11625583"/>
              <a:gd name="connsiteY2725" fmla="*/ 2342756 h 6380470"/>
              <a:gd name="connsiteX2726" fmla="*/ 6585804 w 11625583"/>
              <a:gd name="connsiteY2726" fmla="*/ 2278090 h 6380470"/>
              <a:gd name="connsiteX2727" fmla="*/ 6429231 w 11625583"/>
              <a:gd name="connsiteY2727" fmla="*/ 2278090 h 6380470"/>
              <a:gd name="connsiteX2728" fmla="*/ 6493897 w 11625583"/>
              <a:gd name="connsiteY2728" fmla="*/ 2342756 h 6380470"/>
              <a:gd name="connsiteX2729" fmla="*/ 6429231 w 11625583"/>
              <a:gd name="connsiteY2729" fmla="*/ 2407423 h 6380470"/>
              <a:gd name="connsiteX2730" fmla="*/ 6364565 w 11625583"/>
              <a:gd name="connsiteY2730" fmla="*/ 2342756 h 6380470"/>
              <a:gd name="connsiteX2731" fmla="*/ 6429231 w 11625583"/>
              <a:gd name="connsiteY2731" fmla="*/ 2278090 h 6380470"/>
              <a:gd name="connsiteX2732" fmla="*/ 6276571 w 11625583"/>
              <a:gd name="connsiteY2732" fmla="*/ 2278090 h 6380470"/>
              <a:gd name="connsiteX2733" fmla="*/ 6341237 w 11625583"/>
              <a:gd name="connsiteY2733" fmla="*/ 2342756 h 6380470"/>
              <a:gd name="connsiteX2734" fmla="*/ 6276571 w 11625583"/>
              <a:gd name="connsiteY2734" fmla="*/ 2407423 h 6380470"/>
              <a:gd name="connsiteX2735" fmla="*/ 6211905 w 11625583"/>
              <a:gd name="connsiteY2735" fmla="*/ 2342756 h 6380470"/>
              <a:gd name="connsiteX2736" fmla="*/ 6276571 w 11625583"/>
              <a:gd name="connsiteY2736" fmla="*/ 2278090 h 6380470"/>
              <a:gd name="connsiteX2737" fmla="*/ 6119999 w 11625583"/>
              <a:gd name="connsiteY2737" fmla="*/ 2278090 h 6380470"/>
              <a:gd name="connsiteX2738" fmla="*/ 6184665 w 11625583"/>
              <a:gd name="connsiteY2738" fmla="*/ 2342756 h 6380470"/>
              <a:gd name="connsiteX2739" fmla="*/ 6119999 w 11625583"/>
              <a:gd name="connsiteY2739" fmla="*/ 2407423 h 6380470"/>
              <a:gd name="connsiteX2740" fmla="*/ 6055333 w 11625583"/>
              <a:gd name="connsiteY2740" fmla="*/ 2342756 h 6380470"/>
              <a:gd name="connsiteX2741" fmla="*/ 6119999 w 11625583"/>
              <a:gd name="connsiteY2741" fmla="*/ 2278090 h 6380470"/>
              <a:gd name="connsiteX2742" fmla="*/ 5967339 w 11625583"/>
              <a:gd name="connsiteY2742" fmla="*/ 2278090 h 6380470"/>
              <a:gd name="connsiteX2743" fmla="*/ 6032005 w 11625583"/>
              <a:gd name="connsiteY2743" fmla="*/ 2342756 h 6380470"/>
              <a:gd name="connsiteX2744" fmla="*/ 5967339 w 11625583"/>
              <a:gd name="connsiteY2744" fmla="*/ 2407423 h 6380470"/>
              <a:gd name="connsiteX2745" fmla="*/ 5902673 w 11625583"/>
              <a:gd name="connsiteY2745" fmla="*/ 2342756 h 6380470"/>
              <a:gd name="connsiteX2746" fmla="*/ 5967339 w 11625583"/>
              <a:gd name="connsiteY2746" fmla="*/ 2278090 h 6380470"/>
              <a:gd name="connsiteX2747" fmla="*/ 5501540 w 11625583"/>
              <a:gd name="connsiteY2747" fmla="*/ 2278090 h 6380470"/>
              <a:gd name="connsiteX2748" fmla="*/ 5566203 w 11625583"/>
              <a:gd name="connsiteY2748" fmla="*/ 2342756 h 6380470"/>
              <a:gd name="connsiteX2749" fmla="*/ 5501540 w 11625583"/>
              <a:gd name="connsiteY2749" fmla="*/ 2407423 h 6380470"/>
              <a:gd name="connsiteX2750" fmla="*/ 5436881 w 11625583"/>
              <a:gd name="connsiteY2750" fmla="*/ 2342756 h 6380470"/>
              <a:gd name="connsiteX2751" fmla="*/ 5501540 w 11625583"/>
              <a:gd name="connsiteY2751" fmla="*/ 2278090 h 6380470"/>
              <a:gd name="connsiteX2752" fmla="*/ 5348888 w 11625583"/>
              <a:gd name="connsiteY2752" fmla="*/ 2278090 h 6380470"/>
              <a:gd name="connsiteX2753" fmla="*/ 5413553 w 11625583"/>
              <a:gd name="connsiteY2753" fmla="*/ 2342756 h 6380470"/>
              <a:gd name="connsiteX2754" fmla="*/ 5348888 w 11625583"/>
              <a:gd name="connsiteY2754" fmla="*/ 2407423 h 6380470"/>
              <a:gd name="connsiteX2755" fmla="*/ 5284227 w 11625583"/>
              <a:gd name="connsiteY2755" fmla="*/ 2342756 h 6380470"/>
              <a:gd name="connsiteX2756" fmla="*/ 5348888 w 11625583"/>
              <a:gd name="connsiteY2756" fmla="*/ 2278090 h 6380470"/>
              <a:gd name="connsiteX2757" fmla="*/ 5192318 w 11625583"/>
              <a:gd name="connsiteY2757" fmla="*/ 2278090 h 6380470"/>
              <a:gd name="connsiteX2758" fmla="*/ 5256980 w 11625583"/>
              <a:gd name="connsiteY2758" fmla="*/ 2342756 h 6380470"/>
              <a:gd name="connsiteX2759" fmla="*/ 5192318 w 11625583"/>
              <a:gd name="connsiteY2759" fmla="*/ 2407423 h 6380470"/>
              <a:gd name="connsiteX2760" fmla="*/ 5127652 w 11625583"/>
              <a:gd name="connsiteY2760" fmla="*/ 2342756 h 6380470"/>
              <a:gd name="connsiteX2761" fmla="*/ 5192318 w 11625583"/>
              <a:gd name="connsiteY2761" fmla="*/ 2278090 h 6380470"/>
              <a:gd name="connsiteX2762" fmla="*/ 3172598 w 11625583"/>
              <a:gd name="connsiteY2762" fmla="*/ 2278090 h 6380470"/>
              <a:gd name="connsiteX2763" fmla="*/ 3237268 w 11625583"/>
              <a:gd name="connsiteY2763" fmla="*/ 2342756 h 6380470"/>
              <a:gd name="connsiteX2764" fmla="*/ 3172598 w 11625583"/>
              <a:gd name="connsiteY2764" fmla="*/ 2407423 h 6380470"/>
              <a:gd name="connsiteX2765" fmla="*/ 3107920 w 11625583"/>
              <a:gd name="connsiteY2765" fmla="*/ 2342756 h 6380470"/>
              <a:gd name="connsiteX2766" fmla="*/ 3172598 w 11625583"/>
              <a:gd name="connsiteY2766" fmla="*/ 2278090 h 6380470"/>
              <a:gd name="connsiteX2767" fmla="*/ 3012091 w 11625583"/>
              <a:gd name="connsiteY2767" fmla="*/ 2278090 h 6380470"/>
              <a:gd name="connsiteX2768" fmla="*/ 3076760 w 11625583"/>
              <a:gd name="connsiteY2768" fmla="*/ 2342756 h 6380470"/>
              <a:gd name="connsiteX2769" fmla="*/ 3012091 w 11625583"/>
              <a:gd name="connsiteY2769" fmla="*/ 2407423 h 6380470"/>
              <a:gd name="connsiteX2770" fmla="*/ 2947431 w 11625583"/>
              <a:gd name="connsiteY2770" fmla="*/ 2342756 h 6380470"/>
              <a:gd name="connsiteX2771" fmla="*/ 3012091 w 11625583"/>
              <a:gd name="connsiteY2771" fmla="*/ 2278090 h 6380470"/>
              <a:gd name="connsiteX2772" fmla="*/ 2855533 w 11625583"/>
              <a:gd name="connsiteY2772" fmla="*/ 2278090 h 6380470"/>
              <a:gd name="connsiteX2773" fmla="*/ 2920192 w 11625583"/>
              <a:gd name="connsiteY2773" fmla="*/ 2342756 h 6380470"/>
              <a:gd name="connsiteX2774" fmla="*/ 2855533 w 11625583"/>
              <a:gd name="connsiteY2774" fmla="*/ 2407423 h 6380470"/>
              <a:gd name="connsiteX2775" fmla="*/ 2790873 w 11625583"/>
              <a:gd name="connsiteY2775" fmla="*/ 2342756 h 6380470"/>
              <a:gd name="connsiteX2776" fmla="*/ 2855533 w 11625583"/>
              <a:gd name="connsiteY2776" fmla="*/ 2278090 h 6380470"/>
              <a:gd name="connsiteX2777" fmla="*/ 2698976 w 11625583"/>
              <a:gd name="connsiteY2777" fmla="*/ 2278090 h 6380470"/>
              <a:gd name="connsiteX2778" fmla="*/ 2763635 w 11625583"/>
              <a:gd name="connsiteY2778" fmla="*/ 2342756 h 6380470"/>
              <a:gd name="connsiteX2779" fmla="*/ 2698976 w 11625583"/>
              <a:gd name="connsiteY2779" fmla="*/ 2407423 h 6380470"/>
              <a:gd name="connsiteX2780" fmla="*/ 2634317 w 11625583"/>
              <a:gd name="connsiteY2780" fmla="*/ 2342756 h 6380470"/>
              <a:gd name="connsiteX2781" fmla="*/ 2698976 w 11625583"/>
              <a:gd name="connsiteY2781" fmla="*/ 2278090 h 6380470"/>
              <a:gd name="connsiteX2782" fmla="*/ 2546333 w 11625583"/>
              <a:gd name="connsiteY2782" fmla="*/ 2278090 h 6380470"/>
              <a:gd name="connsiteX2783" fmla="*/ 2610993 w 11625583"/>
              <a:gd name="connsiteY2783" fmla="*/ 2342756 h 6380470"/>
              <a:gd name="connsiteX2784" fmla="*/ 2546333 w 11625583"/>
              <a:gd name="connsiteY2784" fmla="*/ 2407423 h 6380470"/>
              <a:gd name="connsiteX2785" fmla="*/ 2481673 w 11625583"/>
              <a:gd name="connsiteY2785" fmla="*/ 2342756 h 6380470"/>
              <a:gd name="connsiteX2786" fmla="*/ 2546333 w 11625583"/>
              <a:gd name="connsiteY2786" fmla="*/ 2278090 h 6380470"/>
              <a:gd name="connsiteX2787" fmla="*/ 2389761 w 11625583"/>
              <a:gd name="connsiteY2787" fmla="*/ 2278090 h 6380470"/>
              <a:gd name="connsiteX2788" fmla="*/ 2454433 w 11625583"/>
              <a:gd name="connsiteY2788" fmla="*/ 2342756 h 6380470"/>
              <a:gd name="connsiteX2789" fmla="*/ 2389761 w 11625583"/>
              <a:gd name="connsiteY2789" fmla="*/ 2407423 h 6380470"/>
              <a:gd name="connsiteX2790" fmla="*/ 2325098 w 11625583"/>
              <a:gd name="connsiteY2790" fmla="*/ 2342756 h 6380470"/>
              <a:gd name="connsiteX2791" fmla="*/ 2389761 w 11625583"/>
              <a:gd name="connsiteY2791" fmla="*/ 2278090 h 6380470"/>
              <a:gd name="connsiteX2792" fmla="*/ 2237087 w 11625583"/>
              <a:gd name="connsiteY2792" fmla="*/ 2278090 h 6380470"/>
              <a:gd name="connsiteX2793" fmla="*/ 2301766 w 11625583"/>
              <a:gd name="connsiteY2793" fmla="*/ 2342756 h 6380470"/>
              <a:gd name="connsiteX2794" fmla="*/ 2237087 w 11625583"/>
              <a:gd name="connsiteY2794" fmla="*/ 2407423 h 6380470"/>
              <a:gd name="connsiteX2795" fmla="*/ 2172408 w 11625583"/>
              <a:gd name="connsiteY2795" fmla="*/ 2342756 h 6380470"/>
              <a:gd name="connsiteX2796" fmla="*/ 2237087 w 11625583"/>
              <a:gd name="connsiteY2796" fmla="*/ 2278090 h 6380470"/>
              <a:gd name="connsiteX2797" fmla="*/ 9850358 w 11625583"/>
              <a:gd name="connsiteY2797" fmla="*/ 2137178 h 6380470"/>
              <a:gd name="connsiteX2798" fmla="*/ 9915024 w 11625583"/>
              <a:gd name="connsiteY2798" fmla="*/ 2201844 h 6380470"/>
              <a:gd name="connsiteX2799" fmla="*/ 9850358 w 11625583"/>
              <a:gd name="connsiteY2799" fmla="*/ 2266510 h 6380470"/>
              <a:gd name="connsiteX2800" fmla="*/ 9785692 w 11625583"/>
              <a:gd name="connsiteY2800" fmla="*/ 2201844 h 6380470"/>
              <a:gd name="connsiteX2801" fmla="*/ 9850358 w 11625583"/>
              <a:gd name="connsiteY2801" fmla="*/ 2137178 h 6380470"/>
              <a:gd name="connsiteX2802" fmla="*/ 9693783 w 11625583"/>
              <a:gd name="connsiteY2802" fmla="*/ 2137178 h 6380470"/>
              <a:gd name="connsiteX2803" fmla="*/ 9758449 w 11625583"/>
              <a:gd name="connsiteY2803" fmla="*/ 2201844 h 6380470"/>
              <a:gd name="connsiteX2804" fmla="*/ 9693783 w 11625583"/>
              <a:gd name="connsiteY2804" fmla="*/ 2266510 h 6380470"/>
              <a:gd name="connsiteX2805" fmla="*/ 9629117 w 11625583"/>
              <a:gd name="connsiteY2805" fmla="*/ 2201844 h 6380470"/>
              <a:gd name="connsiteX2806" fmla="*/ 9693783 w 11625583"/>
              <a:gd name="connsiteY2806" fmla="*/ 2137178 h 6380470"/>
              <a:gd name="connsiteX2807" fmla="*/ 9541123 w 11625583"/>
              <a:gd name="connsiteY2807" fmla="*/ 2137178 h 6380470"/>
              <a:gd name="connsiteX2808" fmla="*/ 9605789 w 11625583"/>
              <a:gd name="connsiteY2808" fmla="*/ 2201844 h 6380470"/>
              <a:gd name="connsiteX2809" fmla="*/ 9541123 w 11625583"/>
              <a:gd name="connsiteY2809" fmla="*/ 2266510 h 6380470"/>
              <a:gd name="connsiteX2810" fmla="*/ 9476457 w 11625583"/>
              <a:gd name="connsiteY2810" fmla="*/ 2201844 h 6380470"/>
              <a:gd name="connsiteX2811" fmla="*/ 9541123 w 11625583"/>
              <a:gd name="connsiteY2811" fmla="*/ 2137178 h 6380470"/>
              <a:gd name="connsiteX2812" fmla="*/ 9384550 w 11625583"/>
              <a:gd name="connsiteY2812" fmla="*/ 2137178 h 6380470"/>
              <a:gd name="connsiteX2813" fmla="*/ 9449216 w 11625583"/>
              <a:gd name="connsiteY2813" fmla="*/ 2201844 h 6380470"/>
              <a:gd name="connsiteX2814" fmla="*/ 9384550 w 11625583"/>
              <a:gd name="connsiteY2814" fmla="*/ 2266510 h 6380470"/>
              <a:gd name="connsiteX2815" fmla="*/ 9319884 w 11625583"/>
              <a:gd name="connsiteY2815" fmla="*/ 2201844 h 6380470"/>
              <a:gd name="connsiteX2816" fmla="*/ 9384550 w 11625583"/>
              <a:gd name="connsiteY2816" fmla="*/ 2137178 h 6380470"/>
              <a:gd name="connsiteX2817" fmla="*/ 9227977 w 11625583"/>
              <a:gd name="connsiteY2817" fmla="*/ 2137178 h 6380470"/>
              <a:gd name="connsiteX2818" fmla="*/ 9292643 w 11625583"/>
              <a:gd name="connsiteY2818" fmla="*/ 2201844 h 6380470"/>
              <a:gd name="connsiteX2819" fmla="*/ 9227977 w 11625583"/>
              <a:gd name="connsiteY2819" fmla="*/ 2266510 h 6380470"/>
              <a:gd name="connsiteX2820" fmla="*/ 9163311 w 11625583"/>
              <a:gd name="connsiteY2820" fmla="*/ 2201844 h 6380470"/>
              <a:gd name="connsiteX2821" fmla="*/ 9227977 w 11625583"/>
              <a:gd name="connsiteY2821" fmla="*/ 2137178 h 6380470"/>
              <a:gd name="connsiteX2822" fmla="*/ 9075319 w 11625583"/>
              <a:gd name="connsiteY2822" fmla="*/ 2137178 h 6380470"/>
              <a:gd name="connsiteX2823" fmla="*/ 9139985 w 11625583"/>
              <a:gd name="connsiteY2823" fmla="*/ 2201844 h 6380470"/>
              <a:gd name="connsiteX2824" fmla="*/ 9075319 w 11625583"/>
              <a:gd name="connsiteY2824" fmla="*/ 2266510 h 6380470"/>
              <a:gd name="connsiteX2825" fmla="*/ 9010653 w 11625583"/>
              <a:gd name="connsiteY2825" fmla="*/ 2201844 h 6380470"/>
              <a:gd name="connsiteX2826" fmla="*/ 9075319 w 11625583"/>
              <a:gd name="connsiteY2826" fmla="*/ 2137178 h 6380470"/>
              <a:gd name="connsiteX2827" fmla="*/ 8914831 w 11625583"/>
              <a:gd name="connsiteY2827" fmla="*/ 2137178 h 6380470"/>
              <a:gd name="connsiteX2828" fmla="*/ 8979497 w 11625583"/>
              <a:gd name="connsiteY2828" fmla="*/ 2201844 h 6380470"/>
              <a:gd name="connsiteX2829" fmla="*/ 8914831 w 11625583"/>
              <a:gd name="connsiteY2829" fmla="*/ 2266510 h 6380470"/>
              <a:gd name="connsiteX2830" fmla="*/ 8850165 w 11625583"/>
              <a:gd name="connsiteY2830" fmla="*/ 2201844 h 6380470"/>
              <a:gd name="connsiteX2831" fmla="*/ 8914831 w 11625583"/>
              <a:gd name="connsiteY2831" fmla="*/ 2137178 h 6380470"/>
              <a:gd name="connsiteX2832" fmla="*/ 8766086 w 11625583"/>
              <a:gd name="connsiteY2832" fmla="*/ 2137178 h 6380470"/>
              <a:gd name="connsiteX2833" fmla="*/ 8830752 w 11625583"/>
              <a:gd name="connsiteY2833" fmla="*/ 2201844 h 6380470"/>
              <a:gd name="connsiteX2834" fmla="*/ 8766086 w 11625583"/>
              <a:gd name="connsiteY2834" fmla="*/ 2266510 h 6380470"/>
              <a:gd name="connsiteX2835" fmla="*/ 8701420 w 11625583"/>
              <a:gd name="connsiteY2835" fmla="*/ 2201844 h 6380470"/>
              <a:gd name="connsiteX2836" fmla="*/ 8766086 w 11625583"/>
              <a:gd name="connsiteY2836" fmla="*/ 2137178 h 6380470"/>
              <a:gd name="connsiteX2837" fmla="*/ 8601685 w 11625583"/>
              <a:gd name="connsiteY2837" fmla="*/ 2137178 h 6380470"/>
              <a:gd name="connsiteX2838" fmla="*/ 8666351 w 11625583"/>
              <a:gd name="connsiteY2838" fmla="*/ 2201844 h 6380470"/>
              <a:gd name="connsiteX2839" fmla="*/ 8601685 w 11625583"/>
              <a:gd name="connsiteY2839" fmla="*/ 2266510 h 6380470"/>
              <a:gd name="connsiteX2840" fmla="*/ 8537019 w 11625583"/>
              <a:gd name="connsiteY2840" fmla="*/ 2201844 h 6380470"/>
              <a:gd name="connsiteX2841" fmla="*/ 8601685 w 11625583"/>
              <a:gd name="connsiteY2841" fmla="*/ 2137178 h 6380470"/>
              <a:gd name="connsiteX2842" fmla="*/ 8449025 w 11625583"/>
              <a:gd name="connsiteY2842" fmla="*/ 2137178 h 6380470"/>
              <a:gd name="connsiteX2843" fmla="*/ 8513691 w 11625583"/>
              <a:gd name="connsiteY2843" fmla="*/ 2201844 h 6380470"/>
              <a:gd name="connsiteX2844" fmla="*/ 8449025 w 11625583"/>
              <a:gd name="connsiteY2844" fmla="*/ 2266510 h 6380470"/>
              <a:gd name="connsiteX2845" fmla="*/ 8384359 w 11625583"/>
              <a:gd name="connsiteY2845" fmla="*/ 2201844 h 6380470"/>
              <a:gd name="connsiteX2846" fmla="*/ 8449025 w 11625583"/>
              <a:gd name="connsiteY2846" fmla="*/ 2137178 h 6380470"/>
              <a:gd name="connsiteX2847" fmla="*/ 8296368 w 11625583"/>
              <a:gd name="connsiteY2847" fmla="*/ 2137178 h 6380470"/>
              <a:gd name="connsiteX2848" fmla="*/ 8361034 w 11625583"/>
              <a:gd name="connsiteY2848" fmla="*/ 2201844 h 6380470"/>
              <a:gd name="connsiteX2849" fmla="*/ 8296368 w 11625583"/>
              <a:gd name="connsiteY2849" fmla="*/ 2266510 h 6380470"/>
              <a:gd name="connsiteX2850" fmla="*/ 8231702 w 11625583"/>
              <a:gd name="connsiteY2850" fmla="*/ 2201844 h 6380470"/>
              <a:gd name="connsiteX2851" fmla="*/ 8296368 w 11625583"/>
              <a:gd name="connsiteY2851" fmla="*/ 2137178 h 6380470"/>
              <a:gd name="connsiteX2852" fmla="*/ 8139793 w 11625583"/>
              <a:gd name="connsiteY2852" fmla="*/ 2137178 h 6380470"/>
              <a:gd name="connsiteX2853" fmla="*/ 8204459 w 11625583"/>
              <a:gd name="connsiteY2853" fmla="*/ 2201844 h 6380470"/>
              <a:gd name="connsiteX2854" fmla="*/ 8139793 w 11625583"/>
              <a:gd name="connsiteY2854" fmla="*/ 2266510 h 6380470"/>
              <a:gd name="connsiteX2855" fmla="*/ 8075127 w 11625583"/>
              <a:gd name="connsiteY2855" fmla="*/ 2201844 h 6380470"/>
              <a:gd name="connsiteX2856" fmla="*/ 8139793 w 11625583"/>
              <a:gd name="connsiteY2856" fmla="*/ 2137178 h 6380470"/>
              <a:gd name="connsiteX2857" fmla="*/ 7987133 w 11625583"/>
              <a:gd name="connsiteY2857" fmla="*/ 2137178 h 6380470"/>
              <a:gd name="connsiteX2858" fmla="*/ 8051799 w 11625583"/>
              <a:gd name="connsiteY2858" fmla="*/ 2201844 h 6380470"/>
              <a:gd name="connsiteX2859" fmla="*/ 7987133 w 11625583"/>
              <a:gd name="connsiteY2859" fmla="*/ 2266510 h 6380470"/>
              <a:gd name="connsiteX2860" fmla="*/ 7922467 w 11625583"/>
              <a:gd name="connsiteY2860" fmla="*/ 2201844 h 6380470"/>
              <a:gd name="connsiteX2861" fmla="*/ 7987133 w 11625583"/>
              <a:gd name="connsiteY2861" fmla="*/ 2137178 h 6380470"/>
              <a:gd name="connsiteX2862" fmla="*/ 7830562 w 11625583"/>
              <a:gd name="connsiteY2862" fmla="*/ 2137178 h 6380470"/>
              <a:gd name="connsiteX2863" fmla="*/ 7895228 w 11625583"/>
              <a:gd name="connsiteY2863" fmla="*/ 2201844 h 6380470"/>
              <a:gd name="connsiteX2864" fmla="*/ 7830562 w 11625583"/>
              <a:gd name="connsiteY2864" fmla="*/ 2266510 h 6380470"/>
              <a:gd name="connsiteX2865" fmla="*/ 7765896 w 11625583"/>
              <a:gd name="connsiteY2865" fmla="*/ 2201844 h 6380470"/>
              <a:gd name="connsiteX2866" fmla="*/ 7830562 w 11625583"/>
              <a:gd name="connsiteY2866" fmla="*/ 2137178 h 6380470"/>
              <a:gd name="connsiteX2867" fmla="*/ 7677904 w 11625583"/>
              <a:gd name="connsiteY2867" fmla="*/ 2137178 h 6380470"/>
              <a:gd name="connsiteX2868" fmla="*/ 7742570 w 11625583"/>
              <a:gd name="connsiteY2868" fmla="*/ 2201844 h 6380470"/>
              <a:gd name="connsiteX2869" fmla="*/ 7677904 w 11625583"/>
              <a:gd name="connsiteY2869" fmla="*/ 2266510 h 6380470"/>
              <a:gd name="connsiteX2870" fmla="*/ 7613238 w 11625583"/>
              <a:gd name="connsiteY2870" fmla="*/ 2201844 h 6380470"/>
              <a:gd name="connsiteX2871" fmla="*/ 7677904 w 11625583"/>
              <a:gd name="connsiteY2871" fmla="*/ 2137178 h 6380470"/>
              <a:gd name="connsiteX2872" fmla="*/ 7368669 w 11625583"/>
              <a:gd name="connsiteY2872" fmla="*/ 2137178 h 6380470"/>
              <a:gd name="connsiteX2873" fmla="*/ 7433335 w 11625583"/>
              <a:gd name="connsiteY2873" fmla="*/ 2201844 h 6380470"/>
              <a:gd name="connsiteX2874" fmla="*/ 7368669 w 11625583"/>
              <a:gd name="connsiteY2874" fmla="*/ 2266510 h 6380470"/>
              <a:gd name="connsiteX2875" fmla="*/ 7304003 w 11625583"/>
              <a:gd name="connsiteY2875" fmla="*/ 2201844 h 6380470"/>
              <a:gd name="connsiteX2876" fmla="*/ 7368669 w 11625583"/>
              <a:gd name="connsiteY2876" fmla="*/ 2137178 h 6380470"/>
              <a:gd name="connsiteX2877" fmla="*/ 7212096 w 11625583"/>
              <a:gd name="connsiteY2877" fmla="*/ 2137178 h 6380470"/>
              <a:gd name="connsiteX2878" fmla="*/ 7276762 w 11625583"/>
              <a:gd name="connsiteY2878" fmla="*/ 2201844 h 6380470"/>
              <a:gd name="connsiteX2879" fmla="*/ 7212096 w 11625583"/>
              <a:gd name="connsiteY2879" fmla="*/ 2266510 h 6380470"/>
              <a:gd name="connsiteX2880" fmla="*/ 7147430 w 11625583"/>
              <a:gd name="connsiteY2880" fmla="*/ 2201844 h 6380470"/>
              <a:gd name="connsiteX2881" fmla="*/ 7212096 w 11625583"/>
              <a:gd name="connsiteY2881" fmla="*/ 2137178 h 6380470"/>
              <a:gd name="connsiteX2882" fmla="*/ 7055523 w 11625583"/>
              <a:gd name="connsiteY2882" fmla="*/ 2137178 h 6380470"/>
              <a:gd name="connsiteX2883" fmla="*/ 7120189 w 11625583"/>
              <a:gd name="connsiteY2883" fmla="*/ 2201844 h 6380470"/>
              <a:gd name="connsiteX2884" fmla="*/ 7055523 w 11625583"/>
              <a:gd name="connsiteY2884" fmla="*/ 2266510 h 6380470"/>
              <a:gd name="connsiteX2885" fmla="*/ 6990857 w 11625583"/>
              <a:gd name="connsiteY2885" fmla="*/ 2201844 h 6380470"/>
              <a:gd name="connsiteX2886" fmla="*/ 7055523 w 11625583"/>
              <a:gd name="connsiteY2886" fmla="*/ 2137178 h 6380470"/>
              <a:gd name="connsiteX2887" fmla="*/ 6895037 w 11625583"/>
              <a:gd name="connsiteY2887" fmla="*/ 2137178 h 6380470"/>
              <a:gd name="connsiteX2888" fmla="*/ 6959703 w 11625583"/>
              <a:gd name="connsiteY2888" fmla="*/ 2201844 h 6380470"/>
              <a:gd name="connsiteX2889" fmla="*/ 6895037 w 11625583"/>
              <a:gd name="connsiteY2889" fmla="*/ 2266510 h 6380470"/>
              <a:gd name="connsiteX2890" fmla="*/ 6830371 w 11625583"/>
              <a:gd name="connsiteY2890" fmla="*/ 2201844 h 6380470"/>
              <a:gd name="connsiteX2891" fmla="*/ 6895037 w 11625583"/>
              <a:gd name="connsiteY2891" fmla="*/ 2137178 h 6380470"/>
              <a:gd name="connsiteX2892" fmla="*/ 6742377 w 11625583"/>
              <a:gd name="connsiteY2892" fmla="*/ 2137178 h 6380470"/>
              <a:gd name="connsiteX2893" fmla="*/ 6807043 w 11625583"/>
              <a:gd name="connsiteY2893" fmla="*/ 2201844 h 6380470"/>
              <a:gd name="connsiteX2894" fmla="*/ 6742377 w 11625583"/>
              <a:gd name="connsiteY2894" fmla="*/ 2266510 h 6380470"/>
              <a:gd name="connsiteX2895" fmla="*/ 6677711 w 11625583"/>
              <a:gd name="connsiteY2895" fmla="*/ 2201844 h 6380470"/>
              <a:gd name="connsiteX2896" fmla="*/ 6742377 w 11625583"/>
              <a:gd name="connsiteY2896" fmla="*/ 2137178 h 6380470"/>
              <a:gd name="connsiteX2897" fmla="*/ 6429231 w 11625583"/>
              <a:gd name="connsiteY2897" fmla="*/ 2137178 h 6380470"/>
              <a:gd name="connsiteX2898" fmla="*/ 6493897 w 11625583"/>
              <a:gd name="connsiteY2898" fmla="*/ 2201844 h 6380470"/>
              <a:gd name="connsiteX2899" fmla="*/ 6429231 w 11625583"/>
              <a:gd name="connsiteY2899" fmla="*/ 2266510 h 6380470"/>
              <a:gd name="connsiteX2900" fmla="*/ 6364565 w 11625583"/>
              <a:gd name="connsiteY2900" fmla="*/ 2201844 h 6380470"/>
              <a:gd name="connsiteX2901" fmla="*/ 6429231 w 11625583"/>
              <a:gd name="connsiteY2901" fmla="*/ 2137178 h 6380470"/>
              <a:gd name="connsiteX2902" fmla="*/ 6276571 w 11625583"/>
              <a:gd name="connsiteY2902" fmla="*/ 2137178 h 6380470"/>
              <a:gd name="connsiteX2903" fmla="*/ 6341237 w 11625583"/>
              <a:gd name="connsiteY2903" fmla="*/ 2201844 h 6380470"/>
              <a:gd name="connsiteX2904" fmla="*/ 6276571 w 11625583"/>
              <a:gd name="connsiteY2904" fmla="*/ 2266510 h 6380470"/>
              <a:gd name="connsiteX2905" fmla="*/ 6211905 w 11625583"/>
              <a:gd name="connsiteY2905" fmla="*/ 2201844 h 6380470"/>
              <a:gd name="connsiteX2906" fmla="*/ 6276571 w 11625583"/>
              <a:gd name="connsiteY2906" fmla="*/ 2137178 h 6380470"/>
              <a:gd name="connsiteX2907" fmla="*/ 6119999 w 11625583"/>
              <a:gd name="connsiteY2907" fmla="*/ 2137178 h 6380470"/>
              <a:gd name="connsiteX2908" fmla="*/ 6184665 w 11625583"/>
              <a:gd name="connsiteY2908" fmla="*/ 2201844 h 6380470"/>
              <a:gd name="connsiteX2909" fmla="*/ 6119999 w 11625583"/>
              <a:gd name="connsiteY2909" fmla="*/ 2266510 h 6380470"/>
              <a:gd name="connsiteX2910" fmla="*/ 6055333 w 11625583"/>
              <a:gd name="connsiteY2910" fmla="*/ 2201844 h 6380470"/>
              <a:gd name="connsiteX2911" fmla="*/ 6119999 w 11625583"/>
              <a:gd name="connsiteY2911" fmla="*/ 2137178 h 6380470"/>
              <a:gd name="connsiteX2912" fmla="*/ 5967339 w 11625583"/>
              <a:gd name="connsiteY2912" fmla="*/ 2137178 h 6380470"/>
              <a:gd name="connsiteX2913" fmla="*/ 6032005 w 11625583"/>
              <a:gd name="connsiteY2913" fmla="*/ 2201844 h 6380470"/>
              <a:gd name="connsiteX2914" fmla="*/ 5967339 w 11625583"/>
              <a:gd name="connsiteY2914" fmla="*/ 2266510 h 6380470"/>
              <a:gd name="connsiteX2915" fmla="*/ 5902673 w 11625583"/>
              <a:gd name="connsiteY2915" fmla="*/ 2201844 h 6380470"/>
              <a:gd name="connsiteX2916" fmla="*/ 5967339 w 11625583"/>
              <a:gd name="connsiteY2916" fmla="*/ 2137178 h 6380470"/>
              <a:gd name="connsiteX2917" fmla="*/ 5810794 w 11625583"/>
              <a:gd name="connsiteY2917" fmla="*/ 2137178 h 6380470"/>
              <a:gd name="connsiteX2918" fmla="*/ 5875432 w 11625583"/>
              <a:gd name="connsiteY2918" fmla="*/ 2201844 h 6380470"/>
              <a:gd name="connsiteX2919" fmla="*/ 5810794 w 11625583"/>
              <a:gd name="connsiteY2919" fmla="*/ 2266510 h 6380470"/>
              <a:gd name="connsiteX2920" fmla="*/ 5746114 w 11625583"/>
              <a:gd name="connsiteY2920" fmla="*/ 2201844 h 6380470"/>
              <a:gd name="connsiteX2921" fmla="*/ 5810794 w 11625583"/>
              <a:gd name="connsiteY2921" fmla="*/ 2137178 h 6380470"/>
              <a:gd name="connsiteX2922" fmla="*/ 5658108 w 11625583"/>
              <a:gd name="connsiteY2922" fmla="*/ 2137178 h 6380470"/>
              <a:gd name="connsiteX2923" fmla="*/ 5722781 w 11625583"/>
              <a:gd name="connsiteY2923" fmla="*/ 2201844 h 6380470"/>
              <a:gd name="connsiteX2924" fmla="*/ 5658108 w 11625583"/>
              <a:gd name="connsiteY2924" fmla="*/ 2266510 h 6380470"/>
              <a:gd name="connsiteX2925" fmla="*/ 5593441 w 11625583"/>
              <a:gd name="connsiteY2925" fmla="*/ 2201844 h 6380470"/>
              <a:gd name="connsiteX2926" fmla="*/ 5658108 w 11625583"/>
              <a:gd name="connsiteY2926" fmla="*/ 2137178 h 6380470"/>
              <a:gd name="connsiteX2927" fmla="*/ 5501540 w 11625583"/>
              <a:gd name="connsiteY2927" fmla="*/ 2137178 h 6380470"/>
              <a:gd name="connsiteX2928" fmla="*/ 5566204 w 11625583"/>
              <a:gd name="connsiteY2928" fmla="*/ 2201844 h 6380470"/>
              <a:gd name="connsiteX2929" fmla="*/ 5501540 w 11625583"/>
              <a:gd name="connsiteY2929" fmla="*/ 2266510 h 6380470"/>
              <a:gd name="connsiteX2930" fmla="*/ 5436883 w 11625583"/>
              <a:gd name="connsiteY2930" fmla="*/ 2201844 h 6380470"/>
              <a:gd name="connsiteX2931" fmla="*/ 5501540 w 11625583"/>
              <a:gd name="connsiteY2931" fmla="*/ 2137178 h 6380470"/>
              <a:gd name="connsiteX2932" fmla="*/ 3321359 w 11625583"/>
              <a:gd name="connsiteY2932" fmla="*/ 2137178 h 6380470"/>
              <a:gd name="connsiteX2933" fmla="*/ 3386011 w 11625583"/>
              <a:gd name="connsiteY2933" fmla="*/ 2201844 h 6380470"/>
              <a:gd name="connsiteX2934" fmla="*/ 3321359 w 11625583"/>
              <a:gd name="connsiteY2934" fmla="*/ 2266510 h 6380470"/>
              <a:gd name="connsiteX2935" fmla="*/ 3256695 w 11625583"/>
              <a:gd name="connsiteY2935" fmla="*/ 2201844 h 6380470"/>
              <a:gd name="connsiteX2936" fmla="*/ 3321359 w 11625583"/>
              <a:gd name="connsiteY2936" fmla="*/ 2137178 h 6380470"/>
              <a:gd name="connsiteX2937" fmla="*/ 3172606 w 11625583"/>
              <a:gd name="connsiteY2937" fmla="*/ 2137178 h 6380470"/>
              <a:gd name="connsiteX2938" fmla="*/ 3237278 w 11625583"/>
              <a:gd name="connsiteY2938" fmla="*/ 2201844 h 6380470"/>
              <a:gd name="connsiteX2939" fmla="*/ 3172606 w 11625583"/>
              <a:gd name="connsiteY2939" fmla="*/ 2266510 h 6380470"/>
              <a:gd name="connsiteX2940" fmla="*/ 3107925 w 11625583"/>
              <a:gd name="connsiteY2940" fmla="*/ 2201844 h 6380470"/>
              <a:gd name="connsiteX2941" fmla="*/ 3172606 w 11625583"/>
              <a:gd name="connsiteY2941" fmla="*/ 2137178 h 6380470"/>
              <a:gd name="connsiteX2942" fmla="*/ 3012096 w 11625583"/>
              <a:gd name="connsiteY2942" fmla="*/ 2137178 h 6380470"/>
              <a:gd name="connsiteX2943" fmla="*/ 3076765 w 11625583"/>
              <a:gd name="connsiteY2943" fmla="*/ 2201844 h 6380470"/>
              <a:gd name="connsiteX2944" fmla="*/ 3012096 w 11625583"/>
              <a:gd name="connsiteY2944" fmla="*/ 2266510 h 6380470"/>
              <a:gd name="connsiteX2945" fmla="*/ 2947438 w 11625583"/>
              <a:gd name="connsiteY2945" fmla="*/ 2201844 h 6380470"/>
              <a:gd name="connsiteX2946" fmla="*/ 3012096 w 11625583"/>
              <a:gd name="connsiteY2946" fmla="*/ 2137178 h 6380470"/>
              <a:gd name="connsiteX2947" fmla="*/ 2855539 w 11625583"/>
              <a:gd name="connsiteY2947" fmla="*/ 2137178 h 6380470"/>
              <a:gd name="connsiteX2948" fmla="*/ 2920198 w 11625583"/>
              <a:gd name="connsiteY2948" fmla="*/ 2201844 h 6380470"/>
              <a:gd name="connsiteX2949" fmla="*/ 2855539 w 11625583"/>
              <a:gd name="connsiteY2949" fmla="*/ 2266510 h 6380470"/>
              <a:gd name="connsiteX2950" fmla="*/ 2790880 w 11625583"/>
              <a:gd name="connsiteY2950" fmla="*/ 2201844 h 6380470"/>
              <a:gd name="connsiteX2951" fmla="*/ 2855539 w 11625583"/>
              <a:gd name="connsiteY2951" fmla="*/ 2137178 h 6380470"/>
              <a:gd name="connsiteX2952" fmla="*/ 2698983 w 11625583"/>
              <a:gd name="connsiteY2952" fmla="*/ 2137178 h 6380470"/>
              <a:gd name="connsiteX2953" fmla="*/ 2763642 w 11625583"/>
              <a:gd name="connsiteY2953" fmla="*/ 2201844 h 6380470"/>
              <a:gd name="connsiteX2954" fmla="*/ 2698983 w 11625583"/>
              <a:gd name="connsiteY2954" fmla="*/ 2266510 h 6380470"/>
              <a:gd name="connsiteX2955" fmla="*/ 2634325 w 11625583"/>
              <a:gd name="connsiteY2955" fmla="*/ 2201844 h 6380470"/>
              <a:gd name="connsiteX2956" fmla="*/ 2698983 w 11625583"/>
              <a:gd name="connsiteY2956" fmla="*/ 2137178 h 6380470"/>
              <a:gd name="connsiteX2957" fmla="*/ 2546341 w 11625583"/>
              <a:gd name="connsiteY2957" fmla="*/ 2137178 h 6380470"/>
              <a:gd name="connsiteX2958" fmla="*/ 2611002 w 11625583"/>
              <a:gd name="connsiteY2958" fmla="*/ 2201844 h 6380470"/>
              <a:gd name="connsiteX2959" fmla="*/ 2546341 w 11625583"/>
              <a:gd name="connsiteY2959" fmla="*/ 2266510 h 6380470"/>
              <a:gd name="connsiteX2960" fmla="*/ 2481681 w 11625583"/>
              <a:gd name="connsiteY2960" fmla="*/ 2201844 h 6380470"/>
              <a:gd name="connsiteX2961" fmla="*/ 2546341 w 11625583"/>
              <a:gd name="connsiteY2961" fmla="*/ 2137178 h 6380470"/>
              <a:gd name="connsiteX2962" fmla="*/ 2389761 w 11625583"/>
              <a:gd name="connsiteY2962" fmla="*/ 2137178 h 6380470"/>
              <a:gd name="connsiteX2963" fmla="*/ 2454444 w 11625583"/>
              <a:gd name="connsiteY2963" fmla="*/ 2201844 h 6380470"/>
              <a:gd name="connsiteX2964" fmla="*/ 2389761 w 11625583"/>
              <a:gd name="connsiteY2964" fmla="*/ 2266510 h 6380470"/>
              <a:gd name="connsiteX2965" fmla="*/ 2325107 w 11625583"/>
              <a:gd name="connsiteY2965" fmla="*/ 2201844 h 6380470"/>
              <a:gd name="connsiteX2966" fmla="*/ 2389761 w 11625583"/>
              <a:gd name="connsiteY2966" fmla="*/ 2137178 h 6380470"/>
              <a:gd name="connsiteX2967" fmla="*/ 2237094 w 11625583"/>
              <a:gd name="connsiteY2967" fmla="*/ 2137178 h 6380470"/>
              <a:gd name="connsiteX2968" fmla="*/ 2301774 w 11625583"/>
              <a:gd name="connsiteY2968" fmla="*/ 2201844 h 6380470"/>
              <a:gd name="connsiteX2969" fmla="*/ 2237094 w 11625583"/>
              <a:gd name="connsiteY2969" fmla="*/ 2266510 h 6380470"/>
              <a:gd name="connsiteX2970" fmla="*/ 2172414 w 11625583"/>
              <a:gd name="connsiteY2970" fmla="*/ 2201844 h 6380470"/>
              <a:gd name="connsiteX2971" fmla="*/ 2237094 w 11625583"/>
              <a:gd name="connsiteY2971" fmla="*/ 2137178 h 6380470"/>
              <a:gd name="connsiteX2972" fmla="*/ 2084416 w 11625583"/>
              <a:gd name="connsiteY2972" fmla="*/ 2137178 h 6380470"/>
              <a:gd name="connsiteX2973" fmla="*/ 2149082 w 11625583"/>
              <a:gd name="connsiteY2973" fmla="*/ 2201844 h 6380470"/>
              <a:gd name="connsiteX2974" fmla="*/ 2084416 w 11625583"/>
              <a:gd name="connsiteY2974" fmla="*/ 2266510 h 6380470"/>
              <a:gd name="connsiteX2975" fmla="*/ 2019767 w 11625583"/>
              <a:gd name="connsiteY2975" fmla="*/ 2201844 h 6380470"/>
              <a:gd name="connsiteX2976" fmla="*/ 2084416 w 11625583"/>
              <a:gd name="connsiteY2976" fmla="*/ 2137178 h 6380470"/>
              <a:gd name="connsiteX2977" fmla="*/ 1927830 w 11625583"/>
              <a:gd name="connsiteY2977" fmla="*/ 2137178 h 6380470"/>
              <a:gd name="connsiteX2978" fmla="*/ 1992519 w 11625583"/>
              <a:gd name="connsiteY2978" fmla="*/ 2201844 h 6380470"/>
              <a:gd name="connsiteX2979" fmla="*/ 1927830 w 11625583"/>
              <a:gd name="connsiteY2979" fmla="*/ 2266510 h 6380470"/>
              <a:gd name="connsiteX2980" fmla="*/ 1863193 w 11625583"/>
              <a:gd name="connsiteY2980" fmla="*/ 2201844 h 6380470"/>
              <a:gd name="connsiteX2981" fmla="*/ 1927830 w 11625583"/>
              <a:gd name="connsiteY2981" fmla="*/ 2137178 h 6380470"/>
              <a:gd name="connsiteX2982" fmla="*/ 1775186 w 11625583"/>
              <a:gd name="connsiteY2982" fmla="*/ 2137178 h 6380470"/>
              <a:gd name="connsiteX2983" fmla="*/ 1839865 w 11625583"/>
              <a:gd name="connsiteY2983" fmla="*/ 2201844 h 6380470"/>
              <a:gd name="connsiteX2984" fmla="*/ 1775186 w 11625583"/>
              <a:gd name="connsiteY2984" fmla="*/ 2266510 h 6380470"/>
              <a:gd name="connsiteX2985" fmla="*/ 1710516 w 11625583"/>
              <a:gd name="connsiteY2985" fmla="*/ 2201844 h 6380470"/>
              <a:gd name="connsiteX2986" fmla="*/ 1775186 w 11625583"/>
              <a:gd name="connsiteY2986" fmla="*/ 2137178 h 6380470"/>
              <a:gd name="connsiteX2987" fmla="*/ 1618605 w 11625583"/>
              <a:gd name="connsiteY2987" fmla="*/ 2137178 h 6380470"/>
              <a:gd name="connsiteX2988" fmla="*/ 1683274 w 11625583"/>
              <a:gd name="connsiteY2988" fmla="*/ 2201844 h 6380470"/>
              <a:gd name="connsiteX2989" fmla="*/ 1618605 w 11625583"/>
              <a:gd name="connsiteY2989" fmla="*/ 2266510 h 6380470"/>
              <a:gd name="connsiteX2990" fmla="*/ 1553941 w 11625583"/>
              <a:gd name="connsiteY2990" fmla="*/ 2201844 h 6380470"/>
              <a:gd name="connsiteX2991" fmla="*/ 1618605 w 11625583"/>
              <a:gd name="connsiteY2991" fmla="*/ 2137178 h 6380470"/>
              <a:gd name="connsiteX2992" fmla="*/ 1465947 w 11625583"/>
              <a:gd name="connsiteY2992" fmla="*/ 2137178 h 6380470"/>
              <a:gd name="connsiteX2993" fmla="*/ 1530613 w 11625583"/>
              <a:gd name="connsiteY2993" fmla="*/ 2201844 h 6380470"/>
              <a:gd name="connsiteX2994" fmla="*/ 1465947 w 11625583"/>
              <a:gd name="connsiteY2994" fmla="*/ 2266510 h 6380470"/>
              <a:gd name="connsiteX2995" fmla="*/ 1401283 w 11625583"/>
              <a:gd name="connsiteY2995" fmla="*/ 2201844 h 6380470"/>
              <a:gd name="connsiteX2996" fmla="*/ 1465947 w 11625583"/>
              <a:gd name="connsiteY2996" fmla="*/ 2137178 h 6380470"/>
              <a:gd name="connsiteX2997" fmla="*/ 5348894 w 11625583"/>
              <a:gd name="connsiteY2997" fmla="*/ 2137174 h 6380470"/>
              <a:gd name="connsiteX2998" fmla="*/ 5413562 w 11625583"/>
              <a:gd name="connsiteY2998" fmla="*/ 2201840 h 6380470"/>
              <a:gd name="connsiteX2999" fmla="*/ 5348894 w 11625583"/>
              <a:gd name="connsiteY2999" fmla="*/ 2266507 h 6380470"/>
              <a:gd name="connsiteX3000" fmla="*/ 5284237 w 11625583"/>
              <a:gd name="connsiteY3000" fmla="*/ 2201840 h 6380470"/>
              <a:gd name="connsiteX3001" fmla="*/ 5348894 w 11625583"/>
              <a:gd name="connsiteY3001" fmla="*/ 2137174 h 6380470"/>
              <a:gd name="connsiteX3002" fmla="*/ 5192302 w 11625583"/>
              <a:gd name="connsiteY3002" fmla="*/ 2137174 h 6380470"/>
              <a:gd name="connsiteX3003" fmla="*/ 5256968 w 11625583"/>
              <a:gd name="connsiteY3003" fmla="*/ 2201840 h 6380470"/>
              <a:gd name="connsiteX3004" fmla="*/ 5192302 w 11625583"/>
              <a:gd name="connsiteY3004" fmla="*/ 2266506 h 6380470"/>
              <a:gd name="connsiteX3005" fmla="*/ 5127636 w 11625583"/>
              <a:gd name="connsiteY3005" fmla="*/ 2201840 h 6380470"/>
              <a:gd name="connsiteX3006" fmla="*/ 5192302 w 11625583"/>
              <a:gd name="connsiteY3006" fmla="*/ 2137174 h 6380470"/>
              <a:gd name="connsiteX3007" fmla="*/ 10312248 w 11625583"/>
              <a:gd name="connsiteY3007" fmla="*/ 2000175 h 6380470"/>
              <a:gd name="connsiteX3008" fmla="*/ 10376914 w 11625583"/>
              <a:gd name="connsiteY3008" fmla="*/ 2064841 h 6380470"/>
              <a:gd name="connsiteX3009" fmla="*/ 10312248 w 11625583"/>
              <a:gd name="connsiteY3009" fmla="*/ 2129508 h 6380470"/>
              <a:gd name="connsiteX3010" fmla="*/ 10247582 w 11625583"/>
              <a:gd name="connsiteY3010" fmla="*/ 2064841 h 6380470"/>
              <a:gd name="connsiteX3011" fmla="*/ 10312248 w 11625583"/>
              <a:gd name="connsiteY3011" fmla="*/ 2000175 h 6380470"/>
              <a:gd name="connsiteX3012" fmla="*/ 10159588 w 11625583"/>
              <a:gd name="connsiteY3012" fmla="*/ 2000175 h 6380470"/>
              <a:gd name="connsiteX3013" fmla="*/ 10224254 w 11625583"/>
              <a:gd name="connsiteY3013" fmla="*/ 2064841 h 6380470"/>
              <a:gd name="connsiteX3014" fmla="*/ 10159588 w 11625583"/>
              <a:gd name="connsiteY3014" fmla="*/ 2129508 h 6380470"/>
              <a:gd name="connsiteX3015" fmla="*/ 10094922 w 11625583"/>
              <a:gd name="connsiteY3015" fmla="*/ 2064841 h 6380470"/>
              <a:gd name="connsiteX3016" fmla="*/ 10159588 w 11625583"/>
              <a:gd name="connsiteY3016" fmla="*/ 2000175 h 6380470"/>
              <a:gd name="connsiteX3017" fmla="*/ 10003016 w 11625583"/>
              <a:gd name="connsiteY3017" fmla="*/ 2000175 h 6380470"/>
              <a:gd name="connsiteX3018" fmla="*/ 10067682 w 11625583"/>
              <a:gd name="connsiteY3018" fmla="*/ 2064841 h 6380470"/>
              <a:gd name="connsiteX3019" fmla="*/ 10003016 w 11625583"/>
              <a:gd name="connsiteY3019" fmla="*/ 2129508 h 6380470"/>
              <a:gd name="connsiteX3020" fmla="*/ 9938350 w 11625583"/>
              <a:gd name="connsiteY3020" fmla="*/ 2064841 h 6380470"/>
              <a:gd name="connsiteX3021" fmla="*/ 10003016 w 11625583"/>
              <a:gd name="connsiteY3021" fmla="*/ 2000175 h 6380470"/>
              <a:gd name="connsiteX3022" fmla="*/ 9850358 w 11625583"/>
              <a:gd name="connsiteY3022" fmla="*/ 2000175 h 6380470"/>
              <a:gd name="connsiteX3023" fmla="*/ 9915024 w 11625583"/>
              <a:gd name="connsiteY3023" fmla="*/ 2064841 h 6380470"/>
              <a:gd name="connsiteX3024" fmla="*/ 9850358 w 11625583"/>
              <a:gd name="connsiteY3024" fmla="*/ 2129508 h 6380470"/>
              <a:gd name="connsiteX3025" fmla="*/ 9785692 w 11625583"/>
              <a:gd name="connsiteY3025" fmla="*/ 2064841 h 6380470"/>
              <a:gd name="connsiteX3026" fmla="*/ 9850358 w 11625583"/>
              <a:gd name="connsiteY3026" fmla="*/ 2000175 h 6380470"/>
              <a:gd name="connsiteX3027" fmla="*/ 9693783 w 11625583"/>
              <a:gd name="connsiteY3027" fmla="*/ 2000175 h 6380470"/>
              <a:gd name="connsiteX3028" fmla="*/ 9758449 w 11625583"/>
              <a:gd name="connsiteY3028" fmla="*/ 2064841 h 6380470"/>
              <a:gd name="connsiteX3029" fmla="*/ 9693783 w 11625583"/>
              <a:gd name="connsiteY3029" fmla="*/ 2129508 h 6380470"/>
              <a:gd name="connsiteX3030" fmla="*/ 9629117 w 11625583"/>
              <a:gd name="connsiteY3030" fmla="*/ 2064841 h 6380470"/>
              <a:gd name="connsiteX3031" fmla="*/ 9693783 w 11625583"/>
              <a:gd name="connsiteY3031" fmla="*/ 2000175 h 6380470"/>
              <a:gd name="connsiteX3032" fmla="*/ 9541123 w 11625583"/>
              <a:gd name="connsiteY3032" fmla="*/ 2000175 h 6380470"/>
              <a:gd name="connsiteX3033" fmla="*/ 9605789 w 11625583"/>
              <a:gd name="connsiteY3033" fmla="*/ 2064841 h 6380470"/>
              <a:gd name="connsiteX3034" fmla="*/ 9541123 w 11625583"/>
              <a:gd name="connsiteY3034" fmla="*/ 2129508 h 6380470"/>
              <a:gd name="connsiteX3035" fmla="*/ 9476457 w 11625583"/>
              <a:gd name="connsiteY3035" fmla="*/ 2064841 h 6380470"/>
              <a:gd name="connsiteX3036" fmla="*/ 9541123 w 11625583"/>
              <a:gd name="connsiteY3036" fmla="*/ 2000175 h 6380470"/>
              <a:gd name="connsiteX3037" fmla="*/ 9384550 w 11625583"/>
              <a:gd name="connsiteY3037" fmla="*/ 2000175 h 6380470"/>
              <a:gd name="connsiteX3038" fmla="*/ 9449216 w 11625583"/>
              <a:gd name="connsiteY3038" fmla="*/ 2064841 h 6380470"/>
              <a:gd name="connsiteX3039" fmla="*/ 9384550 w 11625583"/>
              <a:gd name="connsiteY3039" fmla="*/ 2129508 h 6380470"/>
              <a:gd name="connsiteX3040" fmla="*/ 9319884 w 11625583"/>
              <a:gd name="connsiteY3040" fmla="*/ 2064841 h 6380470"/>
              <a:gd name="connsiteX3041" fmla="*/ 9384550 w 11625583"/>
              <a:gd name="connsiteY3041" fmla="*/ 2000175 h 6380470"/>
              <a:gd name="connsiteX3042" fmla="*/ 9227977 w 11625583"/>
              <a:gd name="connsiteY3042" fmla="*/ 2000175 h 6380470"/>
              <a:gd name="connsiteX3043" fmla="*/ 9292643 w 11625583"/>
              <a:gd name="connsiteY3043" fmla="*/ 2064841 h 6380470"/>
              <a:gd name="connsiteX3044" fmla="*/ 9227977 w 11625583"/>
              <a:gd name="connsiteY3044" fmla="*/ 2129508 h 6380470"/>
              <a:gd name="connsiteX3045" fmla="*/ 9163311 w 11625583"/>
              <a:gd name="connsiteY3045" fmla="*/ 2064841 h 6380470"/>
              <a:gd name="connsiteX3046" fmla="*/ 9227977 w 11625583"/>
              <a:gd name="connsiteY3046" fmla="*/ 2000175 h 6380470"/>
              <a:gd name="connsiteX3047" fmla="*/ 9075319 w 11625583"/>
              <a:gd name="connsiteY3047" fmla="*/ 2000175 h 6380470"/>
              <a:gd name="connsiteX3048" fmla="*/ 9139985 w 11625583"/>
              <a:gd name="connsiteY3048" fmla="*/ 2064841 h 6380470"/>
              <a:gd name="connsiteX3049" fmla="*/ 9075319 w 11625583"/>
              <a:gd name="connsiteY3049" fmla="*/ 2129508 h 6380470"/>
              <a:gd name="connsiteX3050" fmla="*/ 9010653 w 11625583"/>
              <a:gd name="connsiteY3050" fmla="*/ 2064841 h 6380470"/>
              <a:gd name="connsiteX3051" fmla="*/ 9075319 w 11625583"/>
              <a:gd name="connsiteY3051" fmla="*/ 2000175 h 6380470"/>
              <a:gd name="connsiteX3052" fmla="*/ 8914831 w 11625583"/>
              <a:gd name="connsiteY3052" fmla="*/ 2000175 h 6380470"/>
              <a:gd name="connsiteX3053" fmla="*/ 8979497 w 11625583"/>
              <a:gd name="connsiteY3053" fmla="*/ 2064841 h 6380470"/>
              <a:gd name="connsiteX3054" fmla="*/ 8914831 w 11625583"/>
              <a:gd name="connsiteY3054" fmla="*/ 2129508 h 6380470"/>
              <a:gd name="connsiteX3055" fmla="*/ 8850165 w 11625583"/>
              <a:gd name="connsiteY3055" fmla="*/ 2064841 h 6380470"/>
              <a:gd name="connsiteX3056" fmla="*/ 8914831 w 11625583"/>
              <a:gd name="connsiteY3056" fmla="*/ 2000175 h 6380470"/>
              <a:gd name="connsiteX3057" fmla="*/ 8766086 w 11625583"/>
              <a:gd name="connsiteY3057" fmla="*/ 2000175 h 6380470"/>
              <a:gd name="connsiteX3058" fmla="*/ 8830752 w 11625583"/>
              <a:gd name="connsiteY3058" fmla="*/ 2064841 h 6380470"/>
              <a:gd name="connsiteX3059" fmla="*/ 8766086 w 11625583"/>
              <a:gd name="connsiteY3059" fmla="*/ 2129508 h 6380470"/>
              <a:gd name="connsiteX3060" fmla="*/ 8701420 w 11625583"/>
              <a:gd name="connsiteY3060" fmla="*/ 2064841 h 6380470"/>
              <a:gd name="connsiteX3061" fmla="*/ 8766086 w 11625583"/>
              <a:gd name="connsiteY3061" fmla="*/ 2000175 h 6380470"/>
              <a:gd name="connsiteX3062" fmla="*/ 8601685 w 11625583"/>
              <a:gd name="connsiteY3062" fmla="*/ 2000175 h 6380470"/>
              <a:gd name="connsiteX3063" fmla="*/ 8666351 w 11625583"/>
              <a:gd name="connsiteY3063" fmla="*/ 2064841 h 6380470"/>
              <a:gd name="connsiteX3064" fmla="*/ 8601685 w 11625583"/>
              <a:gd name="connsiteY3064" fmla="*/ 2129508 h 6380470"/>
              <a:gd name="connsiteX3065" fmla="*/ 8537019 w 11625583"/>
              <a:gd name="connsiteY3065" fmla="*/ 2064841 h 6380470"/>
              <a:gd name="connsiteX3066" fmla="*/ 8601685 w 11625583"/>
              <a:gd name="connsiteY3066" fmla="*/ 2000175 h 6380470"/>
              <a:gd name="connsiteX3067" fmla="*/ 8449025 w 11625583"/>
              <a:gd name="connsiteY3067" fmla="*/ 2000175 h 6380470"/>
              <a:gd name="connsiteX3068" fmla="*/ 8513691 w 11625583"/>
              <a:gd name="connsiteY3068" fmla="*/ 2064841 h 6380470"/>
              <a:gd name="connsiteX3069" fmla="*/ 8449025 w 11625583"/>
              <a:gd name="connsiteY3069" fmla="*/ 2129508 h 6380470"/>
              <a:gd name="connsiteX3070" fmla="*/ 8384359 w 11625583"/>
              <a:gd name="connsiteY3070" fmla="*/ 2064841 h 6380470"/>
              <a:gd name="connsiteX3071" fmla="*/ 8449025 w 11625583"/>
              <a:gd name="connsiteY3071" fmla="*/ 2000175 h 6380470"/>
              <a:gd name="connsiteX3072" fmla="*/ 8296368 w 11625583"/>
              <a:gd name="connsiteY3072" fmla="*/ 2000175 h 6380470"/>
              <a:gd name="connsiteX3073" fmla="*/ 8361034 w 11625583"/>
              <a:gd name="connsiteY3073" fmla="*/ 2064841 h 6380470"/>
              <a:gd name="connsiteX3074" fmla="*/ 8296368 w 11625583"/>
              <a:gd name="connsiteY3074" fmla="*/ 2129508 h 6380470"/>
              <a:gd name="connsiteX3075" fmla="*/ 8231702 w 11625583"/>
              <a:gd name="connsiteY3075" fmla="*/ 2064841 h 6380470"/>
              <a:gd name="connsiteX3076" fmla="*/ 8296368 w 11625583"/>
              <a:gd name="connsiteY3076" fmla="*/ 2000175 h 6380470"/>
              <a:gd name="connsiteX3077" fmla="*/ 8139793 w 11625583"/>
              <a:gd name="connsiteY3077" fmla="*/ 2000175 h 6380470"/>
              <a:gd name="connsiteX3078" fmla="*/ 8204459 w 11625583"/>
              <a:gd name="connsiteY3078" fmla="*/ 2064841 h 6380470"/>
              <a:gd name="connsiteX3079" fmla="*/ 8139793 w 11625583"/>
              <a:gd name="connsiteY3079" fmla="*/ 2129508 h 6380470"/>
              <a:gd name="connsiteX3080" fmla="*/ 8075127 w 11625583"/>
              <a:gd name="connsiteY3080" fmla="*/ 2064841 h 6380470"/>
              <a:gd name="connsiteX3081" fmla="*/ 8139793 w 11625583"/>
              <a:gd name="connsiteY3081" fmla="*/ 2000175 h 6380470"/>
              <a:gd name="connsiteX3082" fmla="*/ 7987133 w 11625583"/>
              <a:gd name="connsiteY3082" fmla="*/ 2000175 h 6380470"/>
              <a:gd name="connsiteX3083" fmla="*/ 8051799 w 11625583"/>
              <a:gd name="connsiteY3083" fmla="*/ 2064841 h 6380470"/>
              <a:gd name="connsiteX3084" fmla="*/ 7987133 w 11625583"/>
              <a:gd name="connsiteY3084" fmla="*/ 2129508 h 6380470"/>
              <a:gd name="connsiteX3085" fmla="*/ 7922467 w 11625583"/>
              <a:gd name="connsiteY3085" fmla="*/ 2064841 h 6380470"/>
              <a:gd name="connsiteX3086" fmla="*/ 7987133 w 11625583"/>
              <a:gd name="connsiteY3086" fmla="*/ 2000175 h 6380470"/>
              <a:gd name="connsiteX3087" fmla="*/ 7830562 w 11625583"/>
              <a:gd name="connsiteY3087" fmla="*/ 2000175 h 6380470"/>
              <a:gd name="connsiteX3088" fmla="*/ 7895228 w 11625583"/>
              <a:gd name="connsiteY3088" fmla="*/ 2064841 h 6380470"/>
              <a:gd name="connsiteX3089" fmla="*/ 7830562 w 11625583"/>
              <a:gd name="connsiteY3089" fmla="*/ 2129508 h 6380470"/>
              <a:gd name="connsiteX3090" fmla="*/ 7765896 w 11625583"/>
              <a:gd name="connsiteY3090" fmla="*/ 2064841 h 6380470"/>
              <a:gd name="connsiteX3091" fmla="*/ 7830562 w 11625583"/>
              <a:gd name="connsiteY3091" fmla="*/ 2000175 h 6380470"/>
              <a:gd name="connsiteX3092" fmla="*/ 7677904 w 11625583"/>
              <a:gd name="connsiteY3092" fmla="*/ 2000175 h 6380470"/>
              <a:gd name="connsiteX3093" fmla="*/ 7742570 w 11625583"/>
              <a:gd name="connsiteY3093" fmla="*/ 2064841 h 6380470"/>
              <a:gd name="connsiteX3094" fmla="*/ 7677904 w 11625583"/>
              <a:gd name="connsiteY3094" fmla="*/ 2129508 h 6380470"/>
              <a:gd name="connsiteX3095" fmla="*/ 7613238 w 11625583"/>
              <a:gd name="connsiteY3095" fmla="*/ 2064841 h 6380470"/>
              <a:gd name="connsiteX3096" fmla="*/ 7677904 w 11625583"/>
              <a:gd name="connsiteY3096" fmla="*/ 2000175 h 6380470"/>
              <a:gd name="connsiteX3097" fmla="*/ 7521331 w 11625583"/>
              <a:gd name="connsiteY3097" fmla="*/ 2000175 h 6380470"/>
              <a:gd name="connsiteX3098" fmla="*/ 7585997 w 11625583"/>
              <a:gd name="connsiteY3098" fmla="*/ 2064841 h 6380470"/>
              <a:gd name="connsiteX3099" fmla="*/ 7521331 w 11625583"/>
              <a:gd name="connsiteY3099" fmla="*/ 2129508 h 6380470"/>
              <a:gd name="connsiteX3100" fmla="*/ 7456665 w 11625583"/>
              <a:gd name="connsiteY3100" fmla="*/ 2064841 h 6380470"/>
              <a:gd name="connsiteX3101" fmla="*/ 7521331 w 11625583"/>
              <a:gd name="connsiteY3101" fmla="*/ 2000175 h 6380470"/>
              <a:gd name="connsiteX3102" fmla="*/ 7368669 w 11625583"/>
              <a:gd name="connsiteY3102" fmla="*/ 2000175 h 6380470"/>
              <a:gd name="connsiteX3103" fmla="*/ 7433335 w 11625583"/>
              <a:gd name="connsiteY3103" fmla="*/ 2064841 h 6380470"/>
              <a:gd name="connsiteX3104" fmla="*/ 7368669 w 11625583"/>
              <a:gd name="connsiteY3104" fmla="*/ 2129508 h 6380470"/>
              <a:gd name="connsiteX3105" fmla="*/ 7304003 w 11625583"/>
              <a:gd name="connsiteY3105" fmla="*/ 2064841 h 6380470"/>
              <a:gd name="connsiteX3106" fmla="*/ 7368669 w 11625583"/>
              <a:gd name="connsiteY3106" fmla="*/ 2000175 h 6380470"/>
              <a:gd name="connsiteX3107" fmla="*/ 7212096 w 11625583"/>
              <a:gd name="connsiteY3107" fmla="*/ 2000175 h 6380470"/>
              <a:gd name="connsiteX3108" fmla="*/ 7276762 w 11625583"/>
              <a:gd name="connsiteY3108" fmla="*/ 2064841 h 6380470"/>
              <a:gd name="connsiteX3109" fmla="*/ 7212096 w 11625583"/>
              <a:gd name="connsiteY3109" fmla="*/ 2129508 h 6380470"/>
              <a:gd name="connsiteX3110" fmla="*/ 7147430 w 11625583"/>
              <a:gd name="connsiteY3110" fmla="*/ 2064841 h 6380470"/>
              <a:gd name="connsiteX3111" fmla="*/ 7212096 w 11625583"/>
              <a:gd name="connsiteY3111" fmla="*/ 2000175 h 6380470"/>
              <a:gd name="connsiteX3112" fmla="*/ 7055523 w 11625583"/>
              <a:gd name="connsiteY3112" fmla="*/ 2000175 h 6380470"/>
              <a:gd name="connsiteX3113" fmla="*/ 7120189 w 11625583"/>
              <a:gd name="connsiteY3113" fmla="*/ 2064841 h 6380470"/>
              <a:gd name="connsiteX3114" fmla="*/ 7055523 w 11625583"/>
              <a:gd name="connsiteY3114" fmla="*/ 2129508 h 6380470"/>
              <a:gd name="connsiteX3115" fmla="*/ 6990857 w 11625583"/>
              <a:gd name="connsiteY3115" fmla="*/ 2064841 h 6380470"/>
              <a:gd name="connsiteX3116" fmla="*/ 7055523 w 11625583"/>
              <a:gd name="connsiteY3116" fmla="*/ 2000175 h 6380470"/>
              <a:gd name="connsiteX3117" fmla="*/ 6895037 w 11625583"/>
              <a:gd name="connsiteY3117" fmla="*/ 2000175 h 6380470"/>
              <a:gd name="connsiteX3118" fmla="*/ 6959703 w 11625583"/>
              <a:gd name="connsiteY3118" fmla="*/ 2064841 h 6380470"/>
              <a:gd name="connsiteX3119" fmla="*/ 6895037 w 11625583"/>
              <a:gd name="connsiteY3119" fmla="*/ 2129508 h 6380470"/>
              <a:gd name="connsiteX3120" fmla="*/ 6830371 w 11625583"/>
              <a:gd name="connsiteY3120" fmla="*/ 2064841 h 6380470"/>
              <a:gd name="connsiteX3121" fmla="*/ 6895037 w 11625583"/>
              <a:gd name="connsiteY3121" fmla="*/ 2000175 h 6380470"/>
              <a:gd name="connsiteX3122" fmla="*/ 6742377 w 11625583"/>
              <a:gd name="connsiteY3122" fmla="*/ 2000175 h 6380470"/>
              <a:gd name="connsiteX3123" fmla="*/ 6807043 w 11625583"/>
              <a:gd name="connsiteY3123" fmla="*/ 2064841 h 6380470"/>
              <a:gd name="connsiteX3124" fmla="*/ 6742377 w 11625583"/>
              <a:gd name="connsiteY3124" fmla="*/ 2129508 h 6380470"/>
              <a:gd name="connsiteX3125" fmla="*/ 6677711 w 11625583"/>
              <a:gd name="connsiteY3125" fmla="*/ 2064841 h 6380470"/>
              <a:gd name="connsiteX3126" fmla="*/ 6742377 w 11625583"/>
              <a:gd name="connsiteY3126" fmla="*/ 2000175 h 6380470"/>
              <a:gd name="connsiteX3127" fmla="*/ 6585804 w 11625583"/>
              <a:gd name="connsiteY3127" fmla="*/ 2000175 h 6380470"/>
              <a:gd name="connsiteX3128" fmla="*/ 6650470 w 11625583"/>
              <a:gd name="connsiteY3128" fmla="*/ 2064841 h 6380470"/>
              <a:gd name="connsiteX3129" fmla="*/ 6585804 w 11625583"/>
              <a:gd name="connsiteY3129" fmla="*/ 2129508 h 6380470"/>
              <a:gd name="connsiteX3130" fmla="*/ 6521138 w 11625583"/>
              <a:gd name="connsiteY3130" fmla="*/ 2064841 h 6380470"/>
              <a:gd name="connsiteX3131" fmla="*/ 6585804 w 11625583"/>
              <a:gd name="connsiteY3131" fmla="*/ 2000175 h 6380470"/>
              <a:gd name="connsiteX3132" fmla="*/ 6429231 w 11625583"/>
              <a:gd name="connsiteY3132" fmla="*/ 2000175 h 6380470"/>
              <a:gd name="connsiteX3133" fmla="*/ 6493897 w 11625583"/>
              <a:gd name="connsiteY3133" fmla="*/ 2064841 h 6380470"/>
              <a:gd name="connsiteX3134" fmla="*/ 6429231 w 11625583"/>
              <a:gd name="connsiteY3134" fmla="*/ 2129508 h 6380470"/>
              <a:gd name="connsiteX3135" fmla="*/ 6364565 w 11625583"/>
              <a:gd name="connsiteY3135" fmla="*/ 2064841 h 6380470"/>
              <a:gd name="connsiteX3136" fmla="*/ 6429231 w 11625583"/>
              <a:gd name="connsiteY3136" fmla="*/ 2000175 h 6380470"/>
              <a:gd name="connsiteX3137" fmla="*/ 6276571 w 11625583"/>
              <a:gd name="connsiteY3137" fmla="*/ 2000175 h 6380470"/>
              <a:gd name="connsiteX3138" fmla="*/ 6341237 w 11625583"/>
              <a:gd name="connsiteY3138" fmla="*/ 2064841 h 6380470"/>
              <a:gd name="connsiteX3139" fmla="*/ 6276571 w 11625583"/>
              <a:gd name="connsiteY3139" fmla="*/ 2129508 h 6380470"/>
              <a:gd name="connsiteX3140" fmla="*/ 6211905 w 11625583"/>
              <a:gd name="connsiteY3140" fmla="*/ 2064841 h 6380470"/>
              <a:gd name="connsiteX3141" fmla="*/ 6276571 w 11625583"/>
              <a:gd name="connsiteY3141" fmla="*/ 2000175 h 6380470"/>
              <a:gd name="connsiteX3142" fmla="*/ 6119999 w 11625583"/>
              <a:gd name="connsiteY3142" fmla="*/ 2000175 h 6380470"/>
              <a:gd name="connsiteX3143" fmla="*/ 6184665 w 11625583"/>
              <a:gd name="connsiteY3143" fmla="*/ 2064841 h 6380470"/>
              <a:gd name="connsiteX3144" fmla="*/ 6119999 w 11625583"/>
              <a:gd name="connsiteY3144" fmla="*/ 2129508 h 6380470"/>
              <a:gd name="connsiteX3145" fmla="*/ 6055333 w 11625583"/>
              <a:gd name="connsiteY3145" fmla="*/ 2064841 h 6380470"/>
              <a:gd name="connsiteX3146" fmla="*/ 6119999 w 11625583"/>
              <a:gd name="connsiteY3146" fmla="*/ 2000175 h 6380470"/>
              <a:gd name="connsiteX3147" fmla="*/ 5967339 w 11625583"/>
              <a:gd name="connsiteY3147" fmla="*/ 2000175 h 6380470"/>
              <a:gd name="connsiteX3148" fmla="*/ 6032005 w 11625583"/>
              <a:gd name="connsiteY3148" fmla="*/ 2064841 h 6380470"/>
              <a:gd name="connsiteX3149" fmla="*/ 5967339 w 11625583"/>
              <a:gd name="connsiteY3149" fmla="*/ 2129508 h 6380470"/>
              <a:gd name="connsiteX3150" fmla="*/ 5902673 w 11625583"/>
              <a:gd name="connsiteY3150" fmla="*/ 2064841 h 6380470"/>
              <a:gd name="connsiteX3151" fmla="*/ 5967339 w 11625583"/>
              <a:gd name="connsiteY3151" fmla="*/ 2000175 h 6380470"/>
              <a:gd name="connsiteX3152" fmla="*/ 5810796 w 11625583"/>
              <a:gd name="connsiteY3152" fmla="*/ 2000175 h 6380470"/>
              <a:gd name="connsiteX3153" fmla="*/ 5875432 w 11625583"/>
              <a:gd name="connsiteY3153" fmla="*/ 2064841 h 6380470"/>
              <a:gd name="connsiteX3154" fmla="*/ 5810796 w 11625583"/>
              <a:gd name="connsiteY3154" fmla="*/ 2129508 h 6380470"/>
              <a:gd name="connsiteX3155" fmla="*/ 5746114 w 11625583"/>
              <a:gd name="connsiteY3155" fmla="*/ 2064841 h 6380470"/>
              <a:gd name="connsiteX3156" fmla="*/ 5810796 w 11625583"/>
              <a:gd name="connsiteY3156" fmla="*/ 2000175 h 6380470"/>
              <a:gd name="connsiteX3157" fmla="*/ 5658111 w 11625583"/>
              <a:gd name="connsiteY3157" fmla="*/ 2000175 h 6380470"/>
              <a:gd name="connsiteX3158" fmla="*/ 5722783 w 11625583"/>
              <a:gd name="connsiteY3158" fmla="*/ 2064841 h 6380470"/>
              <a:gd name="connsiteX3159" fmla="*/ 5658111 w 11625583"/>
              <a:gd name="connsiteY3159" fmla="*/ 2129508 h 6380470"/>
              <a:gd name="connsiteX3160" fmla="*/ 5593443 w 11625583"/>
              <a:gd name="connsiteY3160" fmla="*/ 2064841 h 6380470"/>
              <a:gd name="connsiteX3161" fmla="*/ 5658111 w 11625583"/>
              <a:gd name="connsiteY3161" fmla="*/ 2000175 h 6380470"/>
              <a:gd name="connsiteX3162" fmla="*/ 5501543 w 11625583"/>
              <a:gd name="connsiteY3162" fmla="*/ 2000175 h 6380470"/>
              <a:gd name="connsiteX3163" fmla="*/ 5566204 w 11625583"/>
              <a:gd name="connsiteY3163" fmla="*/ 2064841 h 6380470"/>
              <a:gd name="connsiteX3164" fmla="*/ 5501543 w 11625583"/>
              <a:gd name="connsiteY3164" fmla="*/ 2129508 h 6380470"/>
              <a:gd name="connsiteX3165" fmla="*/ 5436884 w 11625583"/>
              <a:gd name="connsiteY3165" fmla="*/ 2064841 h 6380470"/>
              <a:gd name="connsiteX3166" fmla="*/ 5501543 w 11625583"/>
              <a:gd name="connsiteY3166" fmla="*/ 2000175 h 6380470"/>
              <a:gd name="connsiteX3167" fmla="*/ 3630587 w 11625583"/>
              <a:gd name="connsiteY3167" fmla="*/ 2000175 h 6380470"/>
              <a:gd name="connsiteX3168" fmla="*/ 3695253 w 11625583"/>
              <a:gd name="connsiteY3168" fmla="*/ 2064841 h 6380470"/>
              <a:gd name="connsiteX3169" fmla="*/ 3630587 w 11625583"/>
              <a:gd name="connsiteY3169" fmla="*/ 2129508 h 6380470"/>
              <a:gd name="connsiteX3170" fmla="*/ 3565911 w 11625583"/>
              <a:gd name="connsiteY3170" fmla="*/ 2064841 h 6380470"/>
              <a:gd name="connsiteX3171" fmla="*/ 3630587 w 11625583"/>
              <a:gd name="connsiteY3171" fmla="*/ 2000175 h 6380470"/>
              <a:gd name="connsiteX3172" fmla="*/ 3481836 w 11625583"/>
              <a:gd name="connsiteY3172" fmla="*/ 2000175 h 6380470"/>
              <a:gd name="connsiteX3173" fmla="*/ 3546503 w 11625583"/>
              <a:gd name="connsiteY3173" fmla="*/ 2064841 h 6380470"/>
              <a:gd name="connsiteX3174" fmla="*/ 3481836 w 11625583"/>
              <a:gd name="connsiteY3174" fmla="*/ 2129508 h 6380470"/>
              <a:gd name="connsiteX3175" fmla="*/ 3417179 w 11625583"/>
              <a:gd name="connsiteY3175" fmla="*/ 2064841 h 6380470"/>
              <a:gd name="connsiteX3176" fmla="*/ 3481836 w 11625583"/>
              <a:gd name="connsiteY3176" fmla="*/ 2000175 h 6380470"/>
              <a:gd name="connsiteX3177" fmla="*/ 3321368 w 11625583"/>
              <a:gd name="connsiteY3177" fmla="*/ 2000175 h 6380470"/>
              <a:gd name="connsiteX3178" fmla="*/ 3386016 w 11625583"/>
              <a:gd name="connsiteY3178" fmla="*/ 2064841 h 6380470"/>
              <a:gd name="connsiteX3179" fmla="*/ 3321368 w 11625583"/>
              <a:gd name="connsiteY3179" fmla="*/ 2129508 h 6380470"/>
              <a:gd name="connsiteX3180" fmla="*/ 3256702 w 11625583"/>
              <a:gd name="connsiteY3180" fmla="*/ 2064841 h 6380470"/>
              <a:gd name="connsiteX3181" fmla="*/ 3321368 w 11625583"/>
              <a:gd name="connsiteY3181" fmla="*/ 2000175 h 6380470"/>
              <a:gd name="connsiteX3182" fmla="*/ 3172613 w 11625583"/>
              <a:gd name="connsiteY3182" fmla="*/ 2000175 h 6380470"/>
              <a:gd name="connsiteX3183" fmla="*/ 3237285 w 11625583"/>
              <a:gd name="connsiteY3183" fmla="*/ 2064841 h 6380470"/>
              <a:gd name="connsiteX3184" fmla="*/ 3172613 w 11625583"/>
              <a:gd name="connsiteY3184" fmla="*/ 2129508 h 6380470"/>
              <a:gd name="connsiteX3185" fmla="*/ 3107933 w 11625583"/>
              <a:gd name="connsiteY3185" fmla="*/ 2064841 h 6380470"/>
              <a:gd name="connsiteX3186" fmla="*/ 3172613 w 11625583"/>
              <a:gd name="connsiteY3186" fmla="*/ 2000175 h 6380470"/>
              <a:gd name="connsiteX3187" fmla="*/ 3012103 w 11625583"/>
              <a:gd name="connsiteY3187" fmla="*/ 2000175 h 6380470"/>
              <a:gd name="connsiteX3188" fmla="*/ 3076772 w 11625583"/>
              <a:gd name="connsiteY3188" fmla="*/ 2064841 h 6380470"/>
              <a:gd name="connsiteX3189" fmla="*/ 3012103 w 11625583"/>
              <a:gd name="connsiteY3189" fmla="*/ 2129508 h 6380470"/>
              <a:gd name="connsiteX3190" fmla="*/ 2947444 w 11625583"/>
              <a:gd name="connsiteY3190" fmla="*/ 2064841 h 6380470"/>
              <a:gd name="connsiteX3191" fmla="*/ 3012103 w 11625583"/>
              <a:gd name="connsiteY3191" fmla="*/ 2000175 h 6380470"/>
              <a:gd name="connsiteX3192" fmla="*/ 2855546 w 11625583"/>
              <a:gd name="connsiteY3192" fmla="*/ 2000175 h 6380470"/>
              <a:gd name="connsiteX3193" fmla="*/ 2920205 w 11625583"/>
              <a:gd name="connsiteY3193" fmla="*/ 2064841 h 6380470"/>
              <a:gd name="connsiteX3194" fmla="*/ 2855546 w 11625583"/>
              <a:gd name="connsiteY3194" fmla="*/ 2129508 h 6380470"/>
              <a:gd name="connsiteX3195" fmla="*/ 2790888 w 11625583"/>
              <a:gd name="connsiteY3195" fmla="*/ 2064841 h 6380470"/>
              <a:gd name="connsiteX3196" fmla="*/ 2855546 w 11625583"/>
              <a:gd name="connsiteY3196" fmla="*/ 2000175 h 6380470"/>
              <a:gd name="connsiteX3197" fmla="*/ 2698992 w 11625583"/>
              <a:gd name="connsiteY3197" fmla="*/ 2000175 h 6380470"/>
              <a:gd name="connsiteX3198" fmla="*/ 2763651 w 11625583"/>
              <a:gd name="connsiteY3198" fmla="*/ 2064841 h 6380470"/>
              <a:gd name="connsiteX3199" fmla="*/ 2698992 w 11625583"/>
              <a:gd name="connsiteY3199" fmla="*/ 2129508 h 6380470"/>
              <a:gd name="connsiteX3200" fmla="*/ 2634334 w 11625583"/>
              <a:gd name="connsiteY3200" fmla="*/ 2064841 h 6380470"/>
              <a:gd name="connsiteX3201" fmla="*/ 2698992 w 11625583"/>
              <a:gd name="connsiteY3201" fmla="*/ 2000175 h 6380470"/>
              <a:gd name="connsiteX3202" fmla="*/ 2546352 w 11625583"/>
              <a:gd name="connsiteY3202" fmla="*/ 2000175 h 6380470"/>
              <a:gd name="connsiteX3203" fmla="*/ 2611012 w 11625583"/>
              <a:gd name="connsiteY3203" fmla="*/ 2064841 h 6380470"/>
              <a:gd name="connsiteX3204" fmla="*/ 2546352 w 11625583"/>
              <a:gd name="connsiteY3204" fmla="*/ 2129508 h 6380470"/>
              <a:gd name="connsiteX3205" fmla="*/ 2481692 w 11625583"/>
              <a:gd name="connsiteY3205" fmla="*/ 2064841 h 6380470"/>
              <a:gd name="connsiteX3206" fmla="*/ 2546352 w 11625583"/>
              <a:gd name="connsiteY3206" fmla="*/ 2000175 h 6380470"/>
              <a:gd name="connsiteX3207" fmla="*/ 2389761 w 11625583"/>
              <a:gd name="connsiteY3207" fmla="*/ 2000175 h 6380470"/>
              <a:gd name="connsiteX3208" fmla="*/ 2454456 w 11625583"/>
              <a:gd name="connsiteY3208" fmla="*/ 2064841 h 6380470"/>
              <a:gd name="connsiteX3209" fmla="*/ 2389761 w 11625583"/>
              <a:gd name="connsiteY3209" fmla="*/ 2129508 h 6380470"/>
              <a:gd name="connsiteX3210" fmla="*/ 2325118 w 11625583"/>
              <a:gd name="connsiteY3210" fmla="*/ 2064841 h 6380470"/>
              <a:gd name="connsiteX3211" fmla="*/ 2389761 w 11625583"/>
              <a:gd name="connsiteY3211" fmla="*/ 2000175 h 6380470"/>
              <a:gd name="connsiteX3212" fmla="*/ 2237104 w 11625583"/>
              <a:gd name="connsiteY3212" fmla="*/ 2000175 h 6380470"/>
              <a:gd name="connsiteX3213" fmla="*/ 2301785 w 11625583"/>
              <a:gd name="connsiteY3213" fmla="*/ 2064841 h 6380470"/>
              <a:gd name="connsiteX3214" fmla="*/ 2237104 w 11625583"/>
              <a:gd name="connsiteY3214" fmla="*/ 2129508 h 6380470"/>
              <a:gd name="connsiteX3215" fmla="*/ 2172423 w 11625583"/>
              <a:gd name="connsiteY3215" fmla="*/ 2064841 h 6380470"/>
              <a:gd name="connsiteX3216" fmla="*/ 2237104 w 11625583"/>
              <a:gd name="connsiteY3216" fmla="*/ 2000175 h 6380470"/>
              <a:gd name="connsiteX3217" fmla="*/ 2084427 w 11625583"/>
              <a:gd name="connsiteY3217" fmla="*/ 2000175 h 6380470"/>
              <a:gd name="connsiteX3218" fmla="*/ 2149089 w 11625583"/>
              <a:gd name="connsiteY3218" fmla="*/ 2064841 h 6380470"/>
              <a:gd name="connsiteX3219" fmla="*/ 2084427 w 11625583"/>
              <a:gd name="connsiteY3219" fmla="*/ 2129508 h 6380470"/>
              <a:gd name="connsiteX3220" fmla="*/ 2019780 w 11625583"/>
              <a:gd name="connsiteY3220" fmla="*/ 2064841 h 6380470"/>
              <a:gd name="connsiteX3221" fmla="*/ 2084427 w 11625583"/>
              <a:gd name="connsiteY3221" fmla="*/ 2000175 h 6380470"/>
              <a:gd name="connsiteX3222" fmla="*/ 1927843 w 11625583"/>
              <a:gd name="connsiteY3222" fmla="*/ 2000175 h 6380470"/>
              <a:gd name="connsiteX3223" fmla="*/ 1992527 w 11625583"/>
              <a:gd name="connsiteY3223" fmla="*/ 2064841 h 6380470"/>
              <a:gd name="connsiteX3224" fmla="*/ 1927843 w 11625583"/>
              <a:gd name="connsiteY3224" fmla="*/ 2129508 h 6380470"/>
              <a:gd name="connsiteX3225" fmla="*/ 1863202 w 11625583"/>
              <a:gd name="connsiteY3225" fmla="*/ 2064841 h 6380470"/>
              <a:gd name="connsiteX3226" fmla="*/ 1927843 w 11625583"/>
              <a:gd name="connsiteY3226" fmla="*/ 2000175 h 6380470"/>
              <a:gd name="connsiteX3227" fmla="*/ 1775193 w 11625583"/>
              <a:gd name="connsiteY3227" fmla="*/ 2000175 h 6380470"/>
              <a:gd name="connsiteX3228" fmla="*/ 1839873 w 11625583"/>
              <a:gd name="connsiteY3228" fmla="*/ 2064841 h 6380470"/>
              <a:gd name="connsiteX3229" fmla="*/ 1775193 w 11625583"/>
              <a:gd name="connsiteY3229" fmla="*/ 2129508 h 6380470"/>
              <a:gd name="connsiteX3230" fmla="*/ 1710523 w 11625583"/>
              <a:gd name="connsiteY3230" fmla="*/ 2064841 h 6380470"/>
              <a:gd name="connsiteX3231" fmla="*/ 1775193 w 11625583"/>
              <a:gd name="connsiteY3231" fmla="*/ 2000175 h 6380470"/>
              <a:gd name="connsiteX3232" fmla="*/ 1618612 w 11625583"/>
              <a:gd name="connsiteY3232" fmla="*/ 2000175 h 6380470"/>
              <a:gd name="connsiteX3233" fmla="*/ 1683281 w 11625583"/>
              <a:gd name="connsiteY3233" fmla="*/ 2064841 h 6380470"/>
              <a:gd name="connsiteX3234" fmla="*/ 1618612 w 11625583"/>
              <a:gd name="connsiteY3234" fmla="*/ 2129508 h 6380470"/>
              <a:gd name="connsiteX3235" fmla="*/ 1553949 w 11625583"/>
              <a:gd name="connsiteY3235" fmla="*/ 2064841 h 6380470"/>
              <a:gd name="connsiteX3236" fmla="*/ 1618612 w 11625583"/>
              <a:gd name="connsiteY3236" fmla="*/ 2000175 h 6380470"/>
              <a:gd name="connsiteX3237" fmla="*/ 1465954 w 11625583"/>
              <a:gd name="connsiteY3237" fmla="*/ 2000175 h 6380470"/>
              <a:gd name="connsiteX3238" fmla="*/ 1530620 w 11625583"/>
              <a:gd name="connsiteY3238" fmla="*/ 2064841 h 6380470"/>
              <a:gd name="connsiteX3239" fmla="*/ 1465954 w 11625583"/>
              <a:gd name="connsiteY3239" fmla="*/ 2129508 h 6380470"/>
              <a:gd name="connsiteX3240" fmla="*/ 1401290 w 11625583"/>
              <a:gd name="connsiteY3240" fmla="*/ 2064841 h 6380470"/>
              <a:gd name="connsiteX3241" fmla="*/ 1465954 w 11625583"/>
              <a:gd name="connsiteY3241" fmla="*/ 2000175 h 6380470"/>
              <a:gd name="connsiteX3242" fmla="*/ 2237112 w 11625583"/>
              <a:gd name="connsiteY3242" fmla="*/ 1851452 h 6380470"/>
              <a:gd name="connsiteX3243" fmla="*/ 2301794 w 11625583"/>
              <a:gd name="connsiteY3243" fmla="*/ 1916117 h 6380470"/>
              <a:gd name="connsiteX3244" fmla="*/ 2237112 w 11625583"/>
              <a:gd name="connsiteY3244" fmla="*/ 1980764 h 6380470"/>
              <a:gd name="connsiteX3245" fmla="*/ 2172429 w 11625583"/>
              <a:gd name="connsiteY3245" fmla="*/ 1916117 h 6380470"/>
              <a:gd name="connsiteX3246" fmla="*/ 2237112 w 11625583"/>
              <a:gd name="connsiteY3246" fmla="*/ 1851452 h 6380470"/>
              <a:gd name="connsiteX3247" fmla="*/ 2084431 w 11625583"/>
              <a:gd name="connsiteY3247" fmla="*/ 1851452 h 6380470"/>
              <a:gd name="connsiteX3248" fmla="*/ 2149096 w 11625583"/>
              <a:gd name="connsiteY3248" fmla="*/ 1916117 h 6380470"/>
              <a:gd name="connsiteX3249" fmla="*/ 2084431 w 11625583"/>
              <a:gd name="connsiteY3249" fmla="*/ 1980764 h 6380470"/>
              <a:gd name="connsiteX3250" fmla="*/ 2019789 w 11625583"/>
              <a:gd name="connsiteY3250" fmla="*/ 1916117 h 6380470"/>
              <a:gd name="connsiteX3251" fmla="*/ 2084431 w 11625583"/>
              <a:gd name="connsiteY3251" fmla="*/ 1851452 h 6380470"/>
              <a:gd name="connsiteX3252" fmla="*/ 1927843 w 11625583"/>
              <a:gd name="connsiteY3252" fmla="*/ 1851452 h 6380470"/>
              <a:gd name="connsiteX3253" fmla="*/ 1992535 w 11625583"/>
              <a:gd name="connsiteY3253" fmla="*/ 1916117 h 6380470"/>
              <a:gd name="connsiteX3254" fmla="*/ 1927843 w 11625583"/>
              <a:gd name="connsiteY3254" fmla="*/ 1980764 h 6380470"/>
              <a:gd name="connsiteX3255" fmla="*/ 1863210 w 11625583"/>
              <a:gd name="connsiteY3255" fmla="*/ 1916117 h 6380470"/>
              <a:gd name="connsiteX3256" fmla="*/ 1927843 w 11625583"/>
              <a:gd name="connsiteY3256" fmla="*/ 1851452 h 6380470"/>
              <a:gd name="connsiteX3257" fmla="*/ 1775198 w 11625583"/>
              <a:gd name="connsiteY3257" fmla="*/ 1851452 h 6380470"/>
              <a:gd name="connsiteX3258" fmla="*/ 1839879 w 11625583"/>
              <a:gd name="connsiteY3258" fmla="*/ 1916117 h 6380470"/>
              <a:gd name="connsiteX3259" fmla="*/ 1775198 w 11625583"/>
              <a:gd name="connsiteY3259" fmla="*/ 1980764 h 6380470"/>
              <a:gd name="connsiteX3260" fmla="*/ 1710529 w 11625583"/>
              <a:gd name="connsiteY3260" fmla="*/ 1916117 h 6380470"/>
              <a:gd name="connsiteX3261" fmla="*/ 1775198 w 11625583"/>
              <a:gd name="connsiteY3261" fmla="*/ 1851452 h 6380470"/>
              <a:gd name="connsiteX3262" fmla="*/ 1618616 w 11625583"/>
              <a:gd name="connsiteY3262" fmla="*/ 1851452 h 6380470"/>
              <a:gd name="connsiteX3263" fmla="*/ 1683287 w 11625583"/>
              <a:gd name="connsiteY3263" fmla="*/ 1916117 h 6380470"/>
              <a:gd name="connsiteX3264" fmla="*/ 1618616 w 11625583"/>
              <a:gd name="connsiteY3264" fmla="*/ 1980764 h 6380470"/>
              <a:gd name="connsiteX3265" fmla="*/ 1553953 w 11625583"/>
              <a:gd name="connsiteY3265" fmla="*/ 1916117 h 6380470"/>
              <a:gd name="connsiteX3266" fmla="*/ 1618616 w 11625583"/>
              <a:gd name="connsiteY3266" fmla="*/ 1851452 h 6380470"/>
              <a:gd name="connsiteX3267" fmla="*/ 1465960 w 11625583"/>
              <a:gd name="connsiteY3267" fmla="*/ 1851450 h 6380470"/>
              <a:gd name="connsiteX3268" fmla="*/ 1530626 w 11625583"/>
              <a:gd name="connsiteY3268" fmla="*/ 1916115 h 6380470"/>
              <a:gd name="connsiteX3269" fmla="*/ 1465960 w 11625583"/>
              <a:gd name="connsiteY3269" fmla="*/ 1980761 h 6380470"/>
              <a:gd name="connsiteX3270" fmla="*/ 1401296 w 11625583"/>
              <a:gd name="connsiteY3270" fmla="*/ 1916115 h 6380470"/>
              <a:gd name="connsiteX3271" fmla="*/ 1465960 w 11625583"/>
              <a:gd name="connsiteY3271" fmla="*/ 1851450 h 6380470"/>
              <a:gd name="connsiteX3272" fmla="*/ 10625394 w 11625583"/>
              <a:gd name="connsiteY3272" fmla="*/ 1851450 h 6380470"/>
              <a:gd name="connsiteX3273" fmla="*/ 10690060 w 11625583"/>
              <a:gd name="connsiteY3273" fmla="*/ 1916114 h 6380470"/>
              <a:gd name="connsiteX3274" fmla="*/ 10625394 w 11625583"/>
              <a:gd name="connsiteY3274" fmla="*/ 1980760 h 6380470"/>
              <a:gd name="connsiteX3275" fmla="*/ 10560728 w 11625583"/>
              <a:gd name="connsiteY3275" fmla="*/ 1916114 h 6380470"/>
              <a:gd name="connsiteX3276" fmla="*/ 10625394 w 11625583"/>
              <a:gd name="connsiteY3276" fmla="*/ 1851450 h 6380470"/>
              <a:gd name="connsiteX3277" fmla="*/ 10159588 w 11625583"/>
              <a:gd name="connsiteY3277" fmla="*/ 1851450 h 6380470"/>
              <a:gd name="connsiteX3278" fmla="*/ 10224254 w 11625583"/>
              <a:gd name="connsiteY3278" fmla="*/ 1916114 h 6380470"/>
              <a:gd name="connsiteX3279" fmla="*/ 10159588 w 11625583"/>
              <a:gd name="connsiteY3279" fmla="*/ 1980760 h 6380470"/>
              <a:gd name="connsiteX3280" fmla="*/ 10094922 w 11625583"/>
              <a:gd name="connsiteY3280" fmla="*/ 1916114 h 6380470"/>
              <a:gd name="connsiteX3281" fmla="*/ 10159588 w 11625583"/>
              <a:gd name="connsiteY3281" fmla="*/ 1851450 h 6380470"/>
              <a:gd name="connsiteX3282" fmla="*/ 10003016 w 11625583"/>
              <a:gd name="connsiteY3282" fmla="*/ 1851450 h 6380470"/>
              <a:gd name="connsiteX3283" fmla="*/ 10067682 w 11625583"/>
              <a:gd name="connsiteY3283" fmla="*/ 1916114 h 6380470"/>
              <a:gd name="connsiteX3284" fmla="*/ 10003016 w 11625583"/>
              <a:gd name="connsiteY3284" fmla="*/ 1980760 h 6380470"/>
              <a:gd name="connsiteX3285" fmla="*/ 9938350 w 11625583"/>
              <a:gd name="connsiteY3285" fmla="*/ 1916114 h 6380470"/>
              <a:gd name="connsiteX3286" fmla="*/ 10003016 w 11625583"/>
              <a:gd name="connsiteY3286" fmla="*/ 1851450 h 6380470"/>
              <a:gd name="connsiteX3287" fmla="*/ 9850358 w 11625583"/>
              <a:gd name="connsiteY3287" fmla="*/ 1851450 h 6380470"/>
              <a:gd name="connsiteX3288" fmla="*/ 9915024 w 11625583"/>
              <a:gd name="connsiteY3288" fmla="*/ 1916114 h 6380470"/>
              <a:gd name="connsiteX3289" fmla="*/ 9850358 w 11625583"/>
              <a:gd name="connsiteY3289" fmla="*/ 1980760 h 6380470"/>
              <a:gd name="connsiteX3290" fmla="*/ 9785692 w 11625583"/>
              <a:gd name="connsiteY3290" fmla="*/ 1916114 h 6380470"/>
              <a:gd name="connsiteX3291" fmla="*/ 9850358 w 11625583"/>
              <a:gd name="connsiteY3291" fmla="*/ 1851450 h 6380470"/>
              <a:gd name="connsiteX3292" fmla="*/ 9693783 w 11625583"/>
              <a:gd name="connsiteY3292" fmla="*/ 1851450 h 6380470"/>
              <a:gd name="connsiteX3293" fmla="*/ 9758449 w 11625583"/>
              <a:gd name="connsiteY3293" fmla="*/ 1916114 h 6380470"/>
              <a:gd name="connsiteX3294" fmla="*/ 9693783 w 11625583"/>
              <a:gd name="connsiteY3294" fmla="*/ 1980760 h 6380470"/>
              <a:gd name="connsiteX3295" fmla="*/ 9629117 w 11625583"/>
              <a:gd name="connsiteY3295" fmla="*/ 1916114 h 6380470"/>
              <a:gd name="connsiteX3296" fmla="*/ 9693783 w 11625583"/>
              <a:gd name="connsiteY3296" fmla="*/ 1851450 h 6380470"/>
              <a:gd name="connsiteX3297" fmla="*/ 9541123 w 11625583"/>
              <a:gd name="connsiteY3297" fmla="*/ 1851450 h 6380470"/>
              <a:gd name="connsiteX3298" fmla="*/ 9605789 w 11625583"/>
              <a:gd name="connsiteY3298" fmla="*/ 1916114 h 6380470"/>
              <a:gd name="connsiteX3299" fmla="*/ 9541123 w 11625583"/>
              <a:gd name="connsiteY3299" fmla="*/ 1980760 h 6380470"/>
              <a:gd name="connsiteX3300" fmla="*/ 9476457 w 11625583"/>
              <a:gd name="connsiteY3300" fmla="*/ 1916114 h 6380470"/>
              <a:gd name="connsiteX3301" fmla="*/ 9541123 w 11625583"/>
              <a:gd name="connsiteY3301" fmla="*/ 1851450 h 6380470"/>
              <a:gd name="connsiteX3302" fmla="*/ 9384550 w 11625583"/>
              <a:gd name="connsiteY3302" fmla="*/ 1851450 h 6380470"/>
              <a:gd name="connsiteX3303" fmla="*/ 9449216 w 11625583"/>
              <a:gd name="connsiteY3303" fmla="*/ 1916114 h 6380470"/>
              <a:gd name="connsiteX3304" fmla="*/ 9384550 w 11625583"/>
              <a:gd name="connsiteY3304" fmla="*/ 1980760 h 6380470"/>
              <a:gd name="connsiteX3305" fmla="*/ 9319884 w 11625583"/>
              <a:gd name="connsiteY3305" fmla="*/ 1916114 h 6380470"/>
              <a:gd name="connsiteX3306" fmla="*/ 9384550 w 11625583"/>
              <a:gd name="connsiteY3306" fmla="*/ 1851450 h 6380470"/>
              <a:gd name="connsiteX3307" fmla="*/ 9227977 w 11625583"/>
              <a:gd name="connsiteY3307" fmla="*/ 1851450 h 6380470"/>
              <a:gd name="connsiteX3308" fmla="*/ 9292643 w 11625583"/>
              <a:gd name="connsiteY3308" fmla="*/ 1916114 h 6380470"/>
              <a:gd name="connsiteX3309" fmla="*/ 9227977 w 11625583"/>
              <a:gd name="connsiteY3309" fmla="*/ 1980760 h 6380470"/>
              <a:gd name="connsiteX3310" fmla="*/ 9163311 w 11625583"/>
              <a:gd name="connsiteY3310" fmla="*/ 1916114 h 6380470"/>
              <a:gd name="connsiteX3311" fmla="*/ 9227977 w 11625583"/>
              <a:gd name="connsiteY3311" fmla="*/ 1851450 h 6380470"/>
              <a:gd name="connsiteX3312" fmla="*/ 9075319 w 11625583"/>
              <a:gd name="connsiteY3312" fmla="*/ 1851450 h 6380470"/>
              <a:gd name="connsiteX3313" fmla="*/ 9139985 w 11625583"/>
              <a:gd name="connsiteY3313" fmla="*/ 1916114 h 6380470"/>
              <a:gd name="connsiteX3314" fmla="*/ 9075319 w 11625583"/>
              <a:gd name="connsiteY3314" fmla="*/ 1980760 h 6380470"/>
              <a:gd name="connsiteX3315" fmla="*/ 9010653 w 11625583"/>
              <a:gd name="connsiteY3315" fmla="*/ 1916114 h 6380470"/>
              <a:gd name="connsiteX3316" fmla="*/ 9075319 w 11625583"/>
              <a:gd name="connsiteY3316" fmla="*/ 1851450 h 6380470"/>
              <a:gd name="connsiteX3317" fmla="*/ 8914831 w 11625583"/>
              <a:gd name="connsiteY3317" fmla="*/ 1851450 h 6380470"/>
              <a:gd name="connsiteX3318" fmla="*/ 8979497 w 11625583"/>
              <a:gd name="connsiteY3318" fmla="*/ 1916114 h 6380470"/>
              <a:gd name="connsiteX3319" fmla="*/ 8914831 w 11625583"/>
              <a:gd name="connsiteY3319" fmla="*/ 1980760 h 6380470"/>
              <a:gd name="connsiteX3320" fmla="*/ 8850165 w 11625583"/>
              <a:gd name="connsiteY3320" fmla="*/ 1916114 h 6380470"/>
              <a:gd name="connsiteX3321" fmla="*/ 8914831 w 11625583"/>
              <a:gd name="connsiteY3321" fmla="*/ 1851450 h 6380470"/>
              <a:gd name="connsiteX3322" fmla="*/ 8766086 w 11625583"/>
              <a:gd name="connsiteY3322" fmla="*/ 1851450 h 6380470"/>
              <a:gd name="connsiteX3323" fmla="*/ 8830752 w 11625583"/>
              <a:gd name="connsiteY3323" fmla="*/ 1916114 h 6380470"/>
              <a:gd name="connsiteX3324" fmla="*/ 8766086 w 11625583"/>
              <a:gd name="connsiteY3324" fmla="*/ 1980760 h 6380470"/>
              <a:gd name="connsiteX3325" fmla="*/ 8701420 w 11625583"/>
              <a:gd name="connsiteY3325" fmla="*/ 1916114 h 6380470"/>
              <a:gd name="connsiteX3326" fmla="*/ 8766086 w 11625583"/>
              <a:gd name="connsiteY3326" fmla="*/ 1851450 h 6380470"/>
              <a:gd name="connsiteX3327" fmla="*/ 8601685 w 11625583"/>
              <a:gd name="connsiteY3327" fmla="*/ 1851450 h 6380470"/>
              <a:gd name="connsiteX3328" fmla="*/ 8666351 w 11625583"/>
              <a:gd name="connsiteY3328" fmla="*/ 1916114 h 6380470"/>
              <a:gd name="connsiteX3329" fmla="*/ 8601685 w 11625583"/>
              <a:gd name="connsiteY3329" fmla="*/ 1980760 h 6380470"/>
              <a:gd name="connsiteX3330" fmla="*/ 8537019 w 11625583"/>
              <a:gd name="connsiteY3330" fmla="*/ 1916114 h 6380470"/>
              <a:gd name="connsiteX3331" fmla="*/ 8601685 w 11625583"/>
              <a:gd name="connsiteY3331" fmla="*/ 1851450 h 6380470"/>
              <a:gd name="connsiteX3332" fmla="*/ 8449025 w 11625583"/>
              <a:gd name="connsiteY3332" fmla="*/ 1851450 h 6380470"/>
              <a:gd name="connsiteX3333" fmla="*/ 8513691 w 11625583"/>
              <a:gd name="connsiteY3333" fmla="*/ 1916114 h 6380470"/>
              <a:gd name="connsiteX3334" fmla="*/ 8449025 w 11625583"/>
              <a:gd name="connsiteY3334" fmla="*/ 1980760 h 6380470"/>
              <a:gd name="connsiteX3335" fmla="*/ 8384359 w 11625583"/>
              <a:gd name="connsiteY3335" fmla="*/ 1916114 h 6380470"/>
              <a:gd name="connsiteX3336" fmla="*/ 8449025 w 11625583"/>
              <a:gd name="connsiteY3336" fmla="*/ 1851450 h 6380470"/>
              <a:gd name="connsiteX3337" fmla="*/ 8296368 w 11625583"/>
              <a:gd name="connsiteY3337" fmla="*/ 1851450 h 6380470"/>
              <a:gd name="connsiteX3338" fmla="*/ 8361034 w 11625583"/>
              <a:gd name="connsiteY3338" fmla="*/ 1916114 h 6380470"/>
              <a:gd name="connsiteX3339" fmla="*/ 8296368 w 11625583"/>
              <a:gd name="connsiteY3339" fmla="*/ 1980760 h 6380470"/>
              <a:gd name="connsiteX3340" fmla="*/ 8231702 w 11625583"/>
              <a:gd name="connsiteY3340" fmla="*/ 1916114 h 6380470"/>
              <a:gd name="connsiteX3341" fmla="*/ 8296368 w 11625583"/>
              <a:gd name="connsiteY3341" fmla="*/ 1851450 h 6380470"/>
              <a:gd name="connsiteX3342" fmla="*/ 8139793 w 11625583"/>
              <a:gd name="connsiteY3342" fmla="*/ 1851450 h 6380470"/>
              <a:gd name="connsiteX3343" fmla="*/ 8204459 w 11625583"/>
              <a:gd name="connsiteY3343" fmla="*/ 1916114 h 6380470"/>
              <a:gd name="connsiteX3344" fmla="*/ 8139793 w 11625583"/>
              <a:gd name="connsiteY3344" fmla="*/ 1980760 h 6380470"/>
              <a:gd name="connsiteX3345" fmla="*/ 8075127 w 11625583"/>
              <a:gd name="connsiteY3345" fmla="*/ 1916114 h 6380470"/>
              <a:gd name="connsiteX3346" fmla="*/ 8139793 w 11625583"/>
              <a:gd name="connsiteY3346" fmla="*/ 1851450 h 6380470"/>
              <a:gd name="connsiteX3347" fmla="*/ 7987133 w 11625583"/>
              <a:gd name="connsiteY3347" fmla="*/ 1851450 h 6380470"/>
              <a:gd name="connsiteX3348" fmla="*/ 8051799 w 11625583"/>
              <a:gd name="connsiteY3348" fmla="*/ 1916114 h 6380470"/>
              <a:gd name="connsiteX3349" fmla="*/ 7987133 w 11625583"/>
              <a:gd name="connsiteY3349" fmla="*/ 1980760 h 6380470"/>
              <a:gd name="connsiteX3350" fmla="*/ 7922467 w 11625583"/>
              <a:gd name="connsiteY3350" fmla="*/ 1916114 h 6380470"/>
              <a:gd name="connsiteX3351" fmla="*/ 7987133 w 11625583"/>
              <a:gd name="connsiteY3351" fmla="*/ 1851450 h 6380470"/>
              <a:gd name="connsiteX3352" fmla="*/ 7830562 w 11625583"/>
              <a:gd name="connsiteY3352" fmla="*/ 1851450 h 6380470"/>
              <a:gd name="connsiteX3353" fmla="*/ 7895228 w 11625583"/>
              <a:gd name="connsiteY3353" fmla="*/ 1916114 h 6380470"/>
              <a:gd name="connsiteX3354" fmla="*/ 7830562 w 11625583"/>
              <a:gd name="connsiteY3354" fmla="*/ 1980760 h 6380470"/>
              <a:gd name="connsiteX3355" fmla="*/ 7765896 w 11625583"/>
              <a:gd name="connsiteY3355" fmla="*/ 1916114 h 6380470"/>
              <a:gd name="connsiteX3356" fmla="*/ 7830562 w 11625583"/>
              <a:gd name="connsiteY3356" fmla="*/ 1851450 h 6380470"/>
              <a:gd name="connsiteX3357" fmla="*/ 7677904 w 11625583"/>
              <a:gd name="connsiteY3357" fmla="*/ 1851450 h 6380470"/>
              <a:gd name="connsiteX3358" fmla="*/ 7742570 w 11625583"/>
              <a:gd name="connsiteY3358" fmla="*/ 1916114 h 6380470"/>
              <a:gd name="connsiteX3359" fmla="*/ 7677904 w 11625583"/>
              <a:gd name="connsiteY3359" fmla="*/ 1980760 h 6380470"/>
              <a:gd name="connsiteX3360" fmla="*/ 7613238 w 11625583"/>
              <a:gd name="connsiteY3360" fmla="*/ 1916114 h 6380470"/>
              <a:gd name="connsiteX3361" fmla="*/ 7677904 w 11625583"/>
              <a:gd name="connsiteY3361" fmla="*/ 1851450 h 6380470"/>
              <a:gd name="connsiteX3362" fmla="*/ 7521331 w 11625583"/>
              <a:gd name="connsiteY3362" fmla="*/ 1851450 h 6380470"/>
              <a:gd name="connsiteX3363" fmla="*/ 7585997 w 11625583"/>
              <a:gd name="connsiteY3363" fmla="*/ 1916114 h 6380470"/>
              <a:gd name="connsiteX3364" fmla="*/ 7521331 w 11625583"/>
              <a:gd name="connsiteY3364" fmla="*/ 1980760 h 6380470"/>
              <a:gd name="connsiteX3365" fmla="*/ 7456665 w 11625583"/>
              <a:gd name="connsiteY3365" fmla="*/ 1916114 h 6380470"/>
              <a:gd name="connsiteX3366" fmla="*/ 7521331 w 11625583"/>
              <a:gd name="connsiteY3366" fmla="*/ 1851450 h 6380470"/>
              <a:gd name="connsiteX3367" fmla="*/ 7368671 w 11625583"/>
              <a:gd name="connsiteY3367" fmla="*/ 1851450 h 6380470"/>
              <a:gd name="connsiteX3368" fmla="*/ 7433337 w 11625583"/>
              <a:gd name="connsiteY3368" fmla="*/ 1916114 h 6380470"/>
              <a:gd name="connsiteX3369" fmla="*/ 7368671 w 11625583"/>
              <a:gd name="connsiteY3369" fmla="*/ 1980760 h 6380470"/>
              <a:gd name="connsiteX3370" fmla="*/ 7304005 w 11625583"/>
              <a:gd name="connsiteY3370" fmla="*/ 1916114 h 6380470"/>
              <a:gd name="connsiteX3371" fmla="*/ 7368671 w 11625583"/>
              <a:gd name="connsiteY3371" fmla="*/ 1851450 h 6380470"/>
              <a:gd name="connsiteX3372" fmla="*/ 7212096 w 11625583"/>
              <a:gd name="connsiteY3372" fmla="*/ 1851450 h 6380470"/>
              <a:gd name="connsiteX3373" fmla="*/ 7276762 w 11625583"/>
              <a:gd name="connsiteY3373" fmla="*/ 1916114 h 6380470"/>
              <a:gd name="connsiteX3374" fmla="*/ 7212096 w 11625583"/>
              <a:gd name="connsiteY3374" fmla="*/ 1980760 h 6380470"/>
              <a:gd name="connsiteX3375" fmla="*/ 7147430 w 11625583"/>
              <a:gd name="connsiteY3375" fmla="*/ 1916114 h 6380470"/>
              <a:gd name="connsiteX3376" fmla="*/ 7212096 w 11625583"/>
              <a:gd name="connsiteY3376" fmla="*/ 1851450 h 6380470"/>
              <a:gd name="connsiteX3377" fmla="*/ 7055523 w 11625583"/>
              <a:gd name="connsiteY3377" fmla="*/ 1851450 h 6380470"/>
              <a:gd name="connsiteX3378" fmla="*/ 7120189 w 11625583"/>
              <a:gd name="connsiteY3378" fmla="*/ 1916114 h 6380470"/>
              <a:gd name="connsiteX3379" fmla="*/ 7055523 w 11625583"/>
              <a:gd name="connsiteY3379" fmla="*/ 1980760 h 6380470"/>
              <a:gd name="connsiteX3380" fmla="*/ 6990857 w 11625583"/>
              <a:gd name="connsiteY3380" fmla="*/ 1916114 h 6380470"/>
              <a:gd name="connsiteX3381" fmla="*/ 7055523 w 11625583"/>
              <a:gd name="connsiteY3381" fmla="*/ 1851450 h 6380470"/>
              <a:gd name="connsiteX3382" fmla="*/ 6895037 w 11625583"/>
              <a:gd name="connsiteY3382" fmla="*/ 1851450 h 6380470"/>
              <a:gd name="connsiteX3383" fmla="*/ 6959703 w 11625583"/>
              <a:gd name="connsiteY3383" fmla="*/ 1916114 h 6380470"/>
              <a:gd name="connsiteX3384" fmla="*/ 6895037 w 11625583"/>
              <a:gd name="connsiteY3384" fmla="*/ 1980760 h 6380470"/>
              <a:gd name="connsiteX3385" fmla="*/ 6830371 w 11625583"/>
              <a:gd name="connsiteY3385" fmla="*/ 1916114 h 6380470"/>
              <a:gd name="connsiteX3386" fmla="*/ 6895037 w 11625583"/>
              <a:gd name="connsiteY3386" fmla="*/ 1851450 h 6380470"/>
              <a:gd name="connsiteX3387" fmla="*/ 6742377 w 11625583"/>
              <a:gd name="connsiteY3387" fmla="*/ 1851450 h 6380470"/>
              <a:gd name="connsiteX3388" fmla="*/ 6807043 w 11625583"/>
              <a:gd name="connsiteY3388" fmla="*/ 1916114 h 6380470"/>
              <a:gd name="connsiteX3389" fmla="*/ 6742377 w 11625583"/>
              <a:gd name="connsiteY3389" fmla="*/ 1980760 h 6380470"/>
              <a:gd name="connsiteX3390" fmla="*/ 6677711 w 11625583"/>
              <a:gd name="connsiteY3390" fmla="*/ 1916114 h 6380470"/>
              <a:gd name="connsiteX3391" fmla="*/ 6742377 w 11625583"/>
              <a:gd name="connsiteY3391" fmla="*/ 1851450 h 6380470"/>
              <a:gd name="connsiteX3392" fmla="*/ 6585804 w 11625583"/>
              <a:gd name="connsiteY3392" fmla="*/ 1851450 h 6380470"/>
              <a:gd name="connsiteX3393" fmla="*/ 6650470 w 11625583"/>
              <a:gd name="connsiteY3393" fmla="*/ 1916114 h 6380470"/>
              <a:gd name="connsiteX3394" fmla="*/ 6585804 w 11625583"/>
              <a:gd name="connsiteY3394" fmla="*/ 1980760 h 6380470"/>
              <a:gd name="connsiteX3395" fmla="*/ 6521138 w 11625583"/>
              <a:gd name="connsiteY3395" fmla="*/ 1916114 h 6380470"/>
              <a:gd name="connsiteX3396" fmla="*/ 6585804 w 11625583"/>
              <a:gd name="connsiteY3396" fmla="*/ 1851450 h 6380470"/>
              <a:gd name="connsiteX3397" fmla="*/ 6276571 w 11625583"/>
              <a:gd name="connsiteY3397" fmla="*/ 1851450 h 6380470"/>
              <a:gd name="connsiteX3398" fmla="*/ 6341237 w 11625583"/>
              <a:gd name="connsiteY3398" fmla="*/ 1916114 h 6380470"/>
              <a:gd name="connsiteX3399" fmla="*/ 6276571 w 11625583"/>
              <a:gd name="connsiteY3399" fmla="*/ 1980760 h 6380470"/>
              <a:gd name="connsiteX3400" fmla="*/ 6211905 w 11625583"/>
              <a:gd name="connsiteY3400" fmla="*/ 1916114 h 6380470"/>
              <a:gd name="connsiteX3401" fmla="*/ 6276571 w 11625583"/>
              <a:gd name="connsiteY3401" fmla="*/ 1851450 h 6380470"/>
              <a:gd name="connsiteX3402" fmla="*/ 6119999 w 11625583"/>
              <a:gd name="connsiteY3402" fmla="*/ 1851450 h 6380470"/>
              <a:gd name="connsiteX3403" fmla="*/ 6184665 w 11625583"/>
              <a:gd name="connsiteY3403" fmla="*/ 1916114 h 6380470"/>
              <a:gd name="connsiteX3404" fmla="*/ 6119999 w 11625583"/>
              <a:gd name="connsiteY3404" fmla="*/ 1980760 h 6380470"/>
              <a:gd name="connsiteX3405" fmla="*/ 6055333 w 11625583"/>
              <a:gd name="connsiteY3405" fmla="*/ 1916114 h 6380470"/>
              <a:gd name="connsiteX3406" fmla="*/ 6119999 w 11625583"/>
              <a:gd name="connsiteY3406" fmla="*/ 1851450 h 6380470"/>
              <a:gd name="connsiteX3407" fmla="*/ 5967339 w 11625583"/>
              <a:gd name="connsiteY3407" fmla="*/ 1851450 h 6380470"/>
              <a:gd name="connsiteX3408" fmla="*/ 6032005 w 11625583"/>
              <a:gd name="connsiteY3408" fmla="*/ 1916114 h 6380470"/>
              <a:gd name="connsiteX3409" fmla="*/ 5967339 w 11625583"/>
              <a:gd name="connsiteY3409" fmla="*/ 1980760 h 6380470"/>
              <a:gd name="connsiteX3410" fmla="*/ 5902673 w 11625583"/>
              <a:gd name="connsiteY3410" fmla="*/ 1916114 h 6380470"/>
              <a:gd name="connsiteX3411" fmla="*/ 5967339 w 11625583"/>
              <a:gd name="connsiteY3411" fmla="*/ 1851450 h 6380470"/>
              <a:gd name="connsiteX3412" fmla="*/ 5810798 w 11625583"/>
              <a:gd name="connsiteY3412" fmla="*/ 1851450 h 6380470"/>
              <a:gd name="connsiteX3413" fmla="*/ 5875432 w 11625583"/>
              <a:gd name="connsiteY3413" fmla="*/ 1916114 h 6380470"/>
              <a:gd name="connsiteX3414" fmla="*/ 5810798 w 11625583"/>
              <a:gd name="connsiteY3414" fmla="*/ 1980760 h 6380470"/>
              <a:gd name="connsiteX3415" fmla="*/ 5746117 w 11625583"/>
              <a:gd name="connsiteY3415" fmla="*/ 1916114 h 6380470"/>
              <a:gd name="connsiteX3416" fmla="*/ 5810798 w 11625583"/>
              <a:gd name="connsiteY3416" fmla="*/ 1851450 h 6380470"/>
              <a:gd name="connsiteX3417" fmla="*/ 5658111 w 11625583"/>
              <a:gd name="connsiteY3417" fmla="*/ 1851450 h 6380470"/>
              <a:gd name="connsiteX3418" fmla="*/ 5722783 w 11625583"/>
              <a:gd name="connsiteY3418" fmla="*/ 1916114 h 6380470"/>
              <a:gd name="connsiteX3419" fmla="*/ 5658111 w 11625583"/>
              <a:gd name="connsiteY3419" fmla="*/ 1980760 h 6380470"/>
              <a:gd name="connsiteX3420" fmla="*/ 5593443 w 11625583"/>
              <a:gd name="connsiteY3420" fmla="*/ 1916114 h 6380470"/>
              <a:gd name="connsiteX3421" fmla="*/ 5658111 w 11625583"/>
              <a:gd name="connsiteY3421" fmla="*/ 1851450 h 6380470"/>
              <a:gd name="connsiteX3422" fmla="*/ 5501543 w 11625583"/>
              <a:gd name="connsiteY3422" fmla="*/ 1851450 h 6380470"/>
              <a:gd name="connsiteX3423" fmla="*/ 5566204 w 11625583"/>
              <a:gd name="connsiteY3423" fmla="*/ 1916114 h 6380470"/>
              <a:gd name="connsiteX3424" fmla="*/ 5501543 w 11625583"/>
              <a:gd name="connsiteY3424" fmla="*/ 1980760 h 6380470"/>
              <a:gd name="connsiteX3425" fmla="*/ 5436885 w 11625583"/>
              <a:gd name="connsiteY3425" fmla="*/ 1916114 h 6380470"/>
              <a:gd name="connsiteX3426" fmla="*/ 5501543 w 11625583"/>
              <a:gd name="connsiteY3426" fmla="*/ 1851450 h 6380470"/>
              <a:gd name="connsiteX3427" fmla="*/ 5348888 w 11625583"/>
              <a:gd name="connsiteY3427" fmla="*/ 1851450 h 6380470"/>
              <a:gd name="connsiteX3428" fmla="*/ 5413554 w 11625583"/>
              <a:gd name="connsiteY3428" fmla="*/ 1916114 h 6380470"/>
              <a:gd name="connsiteX3429" fmla="*/ 5348888 w 11625583"/>
              <a:gd name="connsiteY3429" fmla="*/ 1980760 h 6380470"/>
              <a:gd name="connsiteX3430" fmla="*/ 5284230 w 11625583"/>
              <a:gd name="connsiteY3430" fmla="*/ 1916114 h 6380470"/>
              <a:gd name="connsiteX3431" fmla="*/ 5348888 w 11625583"/>
              <a:gd name="connsiteY3431" fmla="*/ 1851450 h 6380470"/>
              <a:gd name="connsiteX3432" fmla="*/ 3630594 w 11625583"/>
              <a:gd name="connsiteY3432" fmla="*/ 1851450 h 6380470"/>
              <a:gd name="connsiteX3433" fmla="*/ 3695260 w 11625583"/>
              <a:gd name="connsiteY3433" fmla="*/ 1916114 h 6380470"/>
              <a:gd name="connsiteX3434" fmla="*/ 3630594 w 11625583"/>
              <a:gd name="connsiteY3434" fmla="*/ 1980760 h 6380470"/>
              <a:gd name="connsiteX3435" fmla="*/ 3565917 w 11625583"/>
              <a:gd name="connsiteY3435" fmla="*/ 1916114 h 6380470"/>
              <a:gd name="connsiteX3436" fmla="*/ 3630594 w 11625583"/>
              <a:gd name="connsiteY3436" fmla="*/ 1851450 h 6380470"/>
              <a:gd name="connsiteX3437" fmla="*/ 3481843 w 11625583"/>
              <a:gd name="connsiteY3437" fmla="*/ 1851450 h 6380470"/>
              <a:gd name="connsiteX3438" fmla="*/ 3546512 w 11625583"/>
              <a:gd name="connsiteY3438" fmla="*/ 1916114 h 6380470"/>
              <a:gd name="connsiteX3439" fmla="*/ 3481843 w 11625583"/>
              <a:gd name="connsiteY3439" fmla="*/ 1980760 h 6380470"/>
              <a:gd name="connsiteX3440" fmla="*/ 3417186 w 11625583"/>
              <a:gd name="connsiteY3440" fmla="*/ 1916114 h 6380470"/>
              <a:gd name="connsiteX3441" fmla="*/ 3481843 w 11625583"/>
              <a:gd name="connsiteY3441" fmla="*/ 1851450 h 6380470"/>
              <a:gd name="connsiteX3442" fmla="*/ 3321374 w 11625583"/>
              <a:gd name="connsiteY3442" fmla="*/ 1851450 h 6380470"/>
              <a:gd name="connsiteX3443" fmla="*/ 3386019 w 11625583"/>
              <a:gd name="connsiteY3443" fmla="*/ 1916114 h 6380470"/>
              <a:gd name="connsiteX3444" fmla="*/ 3321374 w 11625583"/>
              <a:gd name="connsiteY3444" fmla="*/ 1980760 h 6380470"/>
              <a:gd name="connsiteX3445" fmla="*/ 3256709 w 11625583"/>
              <a:gd name="connsiteY3445" fmla="*/ 1916114 h 6380470"/>
              <a:gd name="connsiteX3446" fmla="*/ 3321374 w 11625583"/>
              <a:gd name="connsiteY3446" fmla="*/ 1851450 h 6380470"/>
              <a:gd name="connsiteX3447" fmla="*/ 3172621 w 11625583"/>
              <a:gd name="connsiteY3447" fmla="*/ 1851450 h 6380470"/>
              <a:gd name="connsiteX3448" fmla="*/ 3237294 w 11625583"/>
              <a:gd name="connsiteY3448" fmla="*/ 1916114 h 6380470"/>
              <a:gd name="connsiteX3449" fmla="*/ 3172621 w 11625583"/>
              <a:gd name="connsiteY3449" fmla="*/ 1980760 h 6380470"/>
              <a:gd name="connsiteX3450" fmla="*/ 3107940 w 11625583"/>
              <a:gd name="connsiteY3450" fmla="*/ 1916114 h 6380470"/>
              <a:gd name="connsiteX3451" fmla="*/ 3172621 w 11625583"/>
              <a:gd name="connsiteY3451" fmla="*/ 1851450 h 6380470"/>
              <a:gd name="connsiteX3452" fmla="*/ 3012108 w 11625583"/>
              <a:gd name="connsiteY3452" fmla="*/ 1851450 h 6380470"/>
              <a:gd name="connsiteX3453" fmla="*/ 3076778 w 11625583"/>
              <a:gd name="connsiteY3453" fmla="*/ 1916114 h 6380470"/>
              <a:gd name="connsiteX3454" fmla="*/ 3012108 w 11625583"/>
              <a:gd name="connsiteY3454" fmla="*/ 1980760 h 6380470"/>
              <a:gd name="connsiteX3455" fmla="*/ 2947451 w 11625583"/>
              <a:gd name="connsiteY3455" fmla="*/ 1916114 h 6380470"/>
              <a:gd name="connsiteX3456" fmla="*/ 3012108 w 11625583"/>
              <a:gd name="connsiteY3456" fmla="*/ 1851450 h 6380470"/>
              <a:gd name="connsiteX3457" fmla="*/ 2855554 w 11625583"/>
              <a:gd name="connsiteY3457" fmla="*/ 1851450 h 6380470"/>
              <a:gd name="connsiteX3458" fmla="*/ 2920212 w 11625583"/>
              <a:gd name="connsiteY3458" fmla="*/ 1916114 h 6380470"/>
              <a:gd name="connsiteX3459" fmla="*/ 2855554 w 11625583"/>
              <a:gd name="connsiteY3459" fmla="*/ 1980760 h 6380470"/>
              <a:gd name="connsiteX3460" fmla="*/ 2790897 w 11625583"/>
              <a:gd name="connsiteY3460" fmla="*/ 1916114 h 6380470"/>
              <a:gd name="connsiteX3461" fmla="*/ 2855554 w 11625583"/>
              <a:gd name="connsiteY3461" fmla="*/ 1851450 h 6380470"/>
              <a:gd name="connsiteX3462" fmla="*/ 2699002 w 11625583"/>
              <a:gd name="connsiteY3462" fmla="*/ 1851450 h 6380470"/>
              <a:gd name="connsiteX3463" fmla="*/ 2763659 w 11625583"/>
              <a:gd name="connsiteY3463" fmla="*/ 1916114 h 6380470"/>
              <a:gd name="connsiteX3464" fmla="*/ 2699002 w 11625583"/>
              <a:gd name="connsiteY3464" fmla="*/ 1980760 h 6380470"/>
              <a:gd name="connsiteX3465" fmla="*/ 2634344 w 11625583"/>
              <a:gd name="connsiteY3465" fmla="*/ 1916114 h 6380470"/>
              <a:gd name="connsiteX3466" fmla="*/ 2699002 w 11625583"/>
              <a:gd name="connsiteY3466" fmla="*/ 1851450 h 6380470"/>
              <a:gd name="connsiteX3467" fmla="*/ 2546361 w 11625583"/>
              <a:gd name="connsiteY3467" fmla="*/ 1851450 h 6380470"/>
              <a:gd name="connsiteX3468" fmla="*/ 2611021 w 11625583"/>
              <a:gd name="connsiteY3468" fmla="*/ 1916114 h 6380470"/>
              <a:gd name="connsiteX3469" fmla="*/ 2546361 w 11625583"/>
              <a:gd name="connsiteY3469" fmla="*/ 1980760 h 6380470"/>
              <a:gd name="connsiteX3470" fmla="*/ 2481704 w 11625583"/>
              <a:gd name="connsiteY3470" fmla="*/ 1916114 h 6380470"/>
              <a:gd name="connsiteX3471" fmla="*/ 2546361 w 11625583"/>
              <a:gd name="connsiteY3471" fmla="*/ 1851450 h 6380470"/>
              <a:gd name="connsiteX3472" fmla="*/ 2389782 w 11625583"/>
              <a:gd name="connsiteY3472" fmla="*/ 1851450 h 6380470"/>
              <a:gd name="connsiteX3473" fmla="*/ 2454467 w 11625583"/>
              <a:gd name="connsiteY3473" fmla="*/ 1916114 h 6380470"/>
              <a:gd name="connsiteX3474" fmla="*/ 2389782 w 11625583"/>
              <a:gd name="connsiteY3474" fmla="*/ 1980760 h 6380470"/>
              <a:gd name="connsiteX3475" fmla="*/ 2325128 w 11625583"/>
              <a:gd name="connsiteY3475" fmla="*/ 1916114 h 6380470"/>
              <a:gd name="connsiteX3476" fmla="*/ 2389782 w 11625583"/>
              <a:gd name="connsiteY3476" fmla="*/ 1851450 h 6380470"/>
              <a:gd name="connsiteX3477" fmla="*/ 10625394 w 11625583"/>
              <a:gd name="connsiteY3477" fmla="*/ 1710535 h 6380470"/>
              <a:gd name="connsiteX3478" fmla="*/ 10690060 w 11625583"/>
              <a:gd name="connsiteY3478" fmla="*/ 1775201 h 6380470"/>
              <a:gd name="connsiteX3479" fmla="*/ 10625394 w 11625583"/>
              <a:gd name="connsiteY3479" fmla="*/ 1839865 h 6380470"/>
              <a:gd name="connsiteX3480" fmla="*/ 10560728 w 11625583"/>
              <a:gd name="connsiteY3480" fmla="*/ 1775201 h 6380470"/>
              <a:gd name="connsiteX3481" fmla="*/ 10625394 w 11625583"/>
              <a:gd name="connsiteY3481" fmla="*/ 1710535 h 6380470"/>
              <a:gd name="connsiteX3482" fmla="*/ 10159588 w 11625583"/>
              <a:gd name="connsiteY3482" fmla="*/ 1710535 h 6380470"/>
              <a:gd name="connsiteX3483" fmla="*/ 10224254 w 11625583"/>
              <a:gd name="connsiteY3483" fmla="*/ 1775201 h 6380470"/>
              <a:gd name="connsiteX3484" fmla="*/ 10159588 w 11625583"/>
              <a:gd name="connsiteY3484" fmla="*/ 1839865 h 6380470"/>
              <a:gd name="connsiteX3485" fmla="*/ 10094922 w 11625583"/>
              <a:gd name="connsiteY3485" fmla="*/ 1775201 h 6380470"/>
              <a:gd name="connsiteX3486" fmla="*/ 10159588 w 11625583"/>
              <a:gd name="connsiteY3486" fmla="*/ 1710535 h 6380470"/>
              <a:gd name="connsiteX3487" fmla="*/ 10003016 w 11625583"/>
              <a:gd name="connsiteY3487" fmla="*/ 1710535 h 6380470"/>
              <a:gd name="connsiteX3488" fmla="*/ 10067682 w 11625583"/>
              <a:gd name="connsiteY3488" fmla="*/ 1775201 h 6380470"/>
              <a:gd name="connsiteX3489" fmla="*/ 10003016 w 11625583"/>
              <a:gd name="connsiteY3489" fmla="*/ 1839865 h 6380470"/>
              <a:gd name="connsiteX3490" fmla="*/ 9938350 w 11625583"/>
              <a:gd name="connsiteY3490" fmla="*/ 1775201 h 6380470"/>
              <a:gd name="connsiteX3491" fmla="*/ 10003016 w 11625583"/>
              <a:gd name="connsiteY3491" fmla="*/ 1710535 h 6380470"/>
              <a:gd name="connsiteX3492" fmla="*/ 9850356 w 11625583"/>
              <a:gd name="connsiteY3492" fmla="*/ 1710535 h 6380470"/>
              <a:gd name="connsiteX3493" fmla="*/ 9915022 w 11625583"/>
              <a:gd name="connsiteY3493" fmla="*/ 1775201 h 6380470"/>
              <a:gd name="connsiteX3494" fmla="*/ 9850356 w 11625583"/>
              <a:gd name="connsiteY3494" fmla="*/ 1839865 h 6380470"/>
              <a:gd name="connsiteX3495" fmla="*/ 9785690 w 11625583"/>
              <a:gd name="connsiteY3495" fmla="*/ 1775201 h 6380470"/>
              <a:gd name="connsiteX3496" fmla="*/ 9850356 w 11625583"/>
              <a:gd name="connsiteY3496" fmla="*/ 1710535 h 6380470"/>
              <a:gd name="connsiteX3497" fmla="*/ 9693782 w 11625583"/>
              <a:gd name="connsiteY3497" fmla="*/ 1710535 h 6380470"/>
              <a:gd name="connsiteX3498" fmla="*/ 9758448 w 11625583"/>
              <a:gd name="connsiteY3498" fmla="*/ 1775201 h 6380470"/>
              <a:gd name="connsiteX3499" fmla="*/ 9693782 w 11625583"/>
              <a:gd name="connsiteY3499" fmla="*/ 1839865 h 6380470"/>
              <a:gd name="connsiteX3500" fmla="*/ 9629116 w 11625583"/>
              <a:gd name="connsiteY3500" fmla="*/ 1775201 h 6380470"/>
              <a:gd name="connsiteX3501" fmla="*/ 9693782 w 11625583"/>
              <a:gd name="connsiteY3501" fmla="*/ 1710535 h 6380470"/>
              <a:gd name="connsiteX3502" fmla="*/ 9541123 w 11625583"/>
              <a:gd name="connsiteY3502" fmla="*/ 1710535 h 6380470"/>
              <a:gd name="connsiteX3503" fmla="*/ 9605789 w 11625583"/>
              <a:gd name="connsiteY3503" fmla="*/ 1775201 h 6380470"/>
              <a:gd name="connsiteX3504" fmla="*/ 9541123 w 11625583"/>
              <a:gd name="connsiteY3504" fmla="*/ 1839865 h 6380470"/>
              <a:gd name="connsiteX3505" fmla="*/ 9476457 w 11625583"/>
              <a:gd name="connsiteY3505" fmla="*/ 1775201 h 6380470"/>
              <a:gd name="connsiteX3506" fmla="*/ 9541123 w 11625583"/>
              <a:gd name="connsiteY3506" fmla="*/ 1710535 h 6380470"/>
              <a:gd name="connsiteX3507" fmla="*/ 9384550 w 11625583"/>
              <a:gd name="connsiteY3507" fmla="*/ 1710535 h 6380470"/>
              <a:gd name="connsiteX3508" fmla="*/ 9449216 w 11625583"/>
              <a:gd name="connsiteY3508" fmla="*/ 1775201 h 6380470"/>
              <a:gd name="connsiteX3509" fmla="*/ 9384550 w 11625583"/>
              <a:gd name="connsiteY3509" fmla="*/ 1839865 h 6380470"/>
              <a:gd name="connsiteX3510" fmla="*/ 9319884 w 11625583"/>
              <a:gd name="connsiteY3510" fmla="*/ 1775201 h 6380470"/>
              <a:gd name="connsiteX3511" fmla="*/ 9384550 w 11625583"/>
              <a:gd name="connsiteY3511" fmla="*/ 1710535 h 6380470"/>
              <a:gd name="connsiteX3512" fmla="*/ 9227977 w 11625583"/>
              <a:gd name="connsiteY3512" fmla="*/ 1710535 h 6380470"/>
              <a:gd name="connsiteX3513" fmla="*/ 9292643 w 11625583"/>
              <a:gd name="connsiteY3513" fmla="*/ 1775201 h 6380470"/>
              <a:gd name="connsiteX3514" fmla="*/ 9227977 w 11625583"/>
              <a:gd name="connsiteY3514" fmla="*/ 1839865 h 6380470"/>
              <a:gd name="connsiteX3515" fmla="*/ 9163311 w 11625583"/>
              <a:gd name="connsiteY3515" fmla="*/ 1775201 h 6380470"/>
              <a:gd name="connsiteX3516" fmla="*/ 9227977 w 11625583"/>
              <a:gd name="connsiteY3516" fmla="*/ 1710535 h 6380470"/>
              <a:gd name="connsiteX3517" fmla="*/ 9075317 w 11625583"/>
              <a:gd name="connsiteY3517" fmla="*/ 1710535 h 6380470"/>
              <a:gd name="connsiteX3518" fmla="*/ 9139983 w 11625583"/>
              <a:gd name="connsiteY3518" fmla="*/ 1775201 h 6380470"/>
              <a:gd name="connsiteX3519" fmla="*/ 9075317 w 11625583"/>
              <a:gd name="connsiteY3519" fmla="*/ 1839865 h 6380470"/>
              <a:gd name="connsiteX3520" fmla="*/ 9010651 w 11625583"/>
              <a:gd name="connsiteY3520" fmla="*/ 1775201 h 6380470"/>
              <a:gd name="connsiteX3521" fmla="*/ 9075317 w 11625583"/>
              <a:gd name="connsiteY3521" fmla="*/ 1710535 h 6380470"/>
              <a:gd name="connsiteX3522" fmla="*/ 8914829 w 11625583"/>
              <a:gd name="connsiteY3522" fmla="*/ 1710535 h 6380470"/>
              <a:gd name="connsiteX3523" fmla="*/ 8979495 w 11625583"/>
              <a:gd name="connsiteY3523" fmla="*/ 1775201 h 6380470"/>
              <a:gd name="connsiteX3524" fmla="*/ 8914829 w 11625583"/>
              <a:gd name="connsiteY3524" fmla="*/ 1839865 h 6380470"/>
              <a:gd name="connsiteX3525" fmla="*/ 8850163 w 11625583"/>
              <a:gd name="connsiteY3525" fmla="*/ 1775201 h 6380470"/>
              <a:gd name="connsiteX3526" fmla="*/ 8914829 w 11625583"/>
              <a:gd name="connsiteY3526" fmla="*/ 1710535 h 6380470"/>
              <a:gd name="connsiteX3527" fmla="*/ 8766086 w 11625583"/>
              <a:gd name="connsiteY3527" fmla="*/ 1710535 h 6380470"/>
              <a:gd name="connsiteX3528" fmla="*/ 8830752 w 11625583"/>
              <a:gd name="connsiteY3528" fmla="*/ 1775201 h 6380470"/>
              <a:gd name="connsiteX3529" fmla="*/ 8766086 w 11625583"/>
              <a:gd name="connsiteY3529" fmla="*/ 1839865 h 6380470"/>
              <a:gd name="connsiteX3530" fmla="*/ 8701420 w 11625583"/>
              <a:gd name="connsiteY3530" fmla="*/ 1775201 h 6380470"/>
              <a:gd name="connsiteX3531" fmla="*/ 8766086 w 11625583"/>
              <a:gd name="connsiteY3531" fmla="*/ 1710535 h 6380470"/>
              <a:gd name="connsiteX3532" fmla="*/ 8601683 w 11625583"/>
              <a:gd name="connsiteY3532" fmla="*/ 1710535 h 6380470"/>
              <a:gd name="connsiteX3533" fmla="*/ 8666349 w 11625583"/>
              <a:gd name="connsiteY3533" fmla="*/ 1775201 h 6380470"/>
              <a:gd name="connsiteX3534" fmla="*/ 8601683 w 11625583"/>
              <a:gd name="connsiteY3534" fmla="*/ 1839865 h 6380470"/>
              <a:gd name="connsiteX3535" fmla="*/ 8537017 w 11625583"/>
              <a:gd name="connsiteY3535" fmla="*/ 1775201 h 6380470"/>
              <a:gd name="connsiteX3536" fmla="*/ 8601683 w 11625583"/>
              <a:gd name="connsiteY3536" fmla="*/ 1710535 h 6380470"/>
              <a:gd name="connsiteX3537" fmla="*/ 8449025 w 11625583"/>
              <a:gd name="connsiteY3537" fmla="*/ 1710535 h 6380470"/>
              <a:gd name="connsiteX3538" fmla="*/ 8513691 w 11625583"/>
              <a:gd name="connsiteY3538" fmla="*/ 1775201 h 6380470"/>
              <a:gd name="connsiteX3539" fmla="*/ 8449025 w 11625583"/>
              <a:gd name="connsiteY3539" fmla="*/ 1839865 h 6380470"/>
              <a:gd name="connsiteX3540" fmla="*/ 8384359 w 11625583"/>
              <a:gd name="connsiteY3540" fmla="*/ 1775201 h 6380470"/>
              <a:gd name="connsiteX3541" fmla="*/ 8449025 w 11625583"/>
              <a:gd name="connsiteY3541" fmla="*/ 1710535 h 6380470"/>
              <a:gd name="connsiteX3542" fmla="*/ 8296367 w 11625583"/>
              <a:gd name="connsiteY3542" fmla="*/ 1710535 h 6380470"/>
              <a:gd name="connsiteX3543" fmla="*/ 8361033 w 11625583"/>
              <a:gd name="connsiteY3543" fmla="*/ 1775201 h 6380470"/>
              <a:gd name="connsiteX3544" fmla="*/ 8296367 w 11625583"/>
              <a:gd name="connsiteY3544" fmla="*/ 1839865 h 6380470"/>
              <a:gd name="connsiteX3545" fmla="*/ 8231701 w 11625583"/>
              <a:gd name="connsiteY3545" fmla="*/ 1775201 h 6380470"/>
              <a:gd name="connsiteX3546" fmla="*/ 8296367 w 11625583"/>
              <a:gd name="connsiteY3546" fmla="*/ 1710535 h 6380470"/>
              <a:gd name="connsiteX3547" fmla="*/ 8139792 w 11625583"/>
              <a:gd name="connsiteY3547" fmla="*/ 1710535 h 6380470"/>
              <a:gd name="connsiteX3548" fmla="*/ 8204458 w 11625583"/>
              <a:gd name="connsiteY3548" fmla="*/ 1775201 h 6380470"/>
              <a:gd name="connsiteX3549" fmla="*/ 8139792 w 11625583"/>
              <a:gd name="connsiteY3549" fmla="*/ 1839865 h 6380470"/>
              <a:gd name="connsiteX3550" fmla="*/ 8075126 w 11625583"/>
              <a:gd name="connsiteY3550" fmla="*/ 1775201 h 6380470"/>
              <a:gd name="connsiteX3551" fmla="*/ 8139792 w 11625583"/>
              <a:gd name="connsiteY3551" fmla="*/ 1710535 h 6380470"/>
              <a:gd name="connsiteX3552" fmla="*/ 7987133 w 11625583"/>
              <a:gd name="connsiteY3552" fmla="*/ 1710535 h 6380470"/>
              <a:gd name="connsiteX3553" fmla="*/ 8051799 w 11625583"/>
              <a:gd name="connsiteY3553" fmla="*/ 1775201 h 6380470"/>
              <a:gd name="connsiteX3554" fmla="*/ 7987133 w 11625583"/>
              <a:gd name="connsiteY3554" fmla="*/ 1839865 h 6380470"/>
              <a:gd name="connsiteX3555" fmla="*/ 7922467 w 11625583"/>
              <a:gd name="connsiteY3555" fmla="*/ 1775201 h 6380470"/>
              <a:gd name="connsiteX3556" fmla="*/ 7987133 w 11625583"/>
              <a:gd name="connsiteY3556" fmla="*/ 1710535 h 6380470"/>
              <a:gd name="connsiteX3557" fmla="*/ 7830562 w 11625583"/>
              <a:gd name="connsiteY3557" fmla="*/ 1710535 h 6380470"/>
              <a:gd name="connsiteX3558" fmla="*/ 7895228 w 11625583"/>
              <a:gd name="connsiteY3558" fmla="*/ 1775201 h 6380470"/>
              <a:gd name="connsiteX3559" fmla="*/ 7830562 w 11625583"/>
              <a:gd name="connsiteY3559" fmla="*/ 1839865 h 6380470"/>
              <a:gd name="connsiteX3560" fmla="*/ 7765896 w 11625583"/>
              <a:gd name="connsiteY3560" fmla="*/ 1775201 h 6380470"/>
              <a:gd name="connsiteX3561" fmla="*/ 7830562 w 11625583"/>
              <a:gd name="connsiteY3561" fmla="*/ 1710535 h 6380470"/>
              <a:gd name="connsiteX3562" fmla="*/ 7677902 w 11625583"/>
              <a:gd name="connsiteY3562" fmla="*/ 1710535 h 6380470"/>
              <a:gd name="connsiteX3563" fmla="*/ 7742568 w 11625583"/>
              <a:gd name="connsiteY3563" fmla="*/ 1775201 h 6380470"/>
              <a:gd name="connsiteX3564" fmla="*/ 7677902 w 11625583"/>
              <a:gd name="connsiteY3564" fmla="*/ 1839865 h 6380470"/>
              <a:gd name="connsiteX3565" fmla="*/ 7613236 w 11625583"/>
              <a:gd name="connsiteY3565" fmla="*/ 1775201 h 6380470"/>
              <a:gd name="connsiteX3566" fmla="*/ 7677902 w 11625583"/>
              <a:gd name="connsiteY3566" fmla="*/ 1710535 h 6380470"/>
              <a:gd name="connsiteX3567" fmla="*/ 7521329 w 11625583"/>
              <a:gd name="connsiteY3567" fmla="*/ 1710535 h 6380470"/>
              <a:gd name="connsiteX3568" fmla="*/ 7585995 w 11625583"/>
              <a:gd name="connsiteY3568" fmla="*/ 1775201 h 6380470"/>
              <a:gd name="connsiteX3569" fmla="*/ 7521329 w 11625583"/>
              <a:gd name="connsiteY3569" fmla="*/ 1839865 h 6380470"/>
              <a:gd name="connsiteX3570" fmla="*/ 7456663 w 11625583"/>
              <a:gd name="connsiteY3570" fmla="*/ 1775201 h 6380470"/>
              <a:gd name="connsiteX3571" fmla="*/ 7521329 w 11625583"/>
              <a:gd name="connsiteY3571" fmla="*/ 1710535 h 6380470"/>
              <a:gd name="connsiteX3572" fmla="*/ 7368669 w 11625583"/>
              <a:gd name="connsiteY3572" fmla="*/ 1710535 h 6380470"/>
              <a:gd name="connsiteX3573" fmla="*/ 7433335 w 11625583"/>
              <a:gd name="connsiteY3573" fmla="*/ 1775201 h 6380470"/>
              <a:gd name="connsiteX3574" fmla="*/ 7368669 w 11625583"/>
              <a:gd name="connsiteY3574" fmla="*/ 1839865 h 6380470"/>
              <a:gd name="connsiteX3575" fmla="*/ 7304003 w 11625583"/>
              <a:gd name="connsiteY3575" fmla="*/ 1775201 h 6380470"/>
              <a:gd name="connsiteX3576" fmla="*/ 7368669 w 11625583"/>
              <a:gd name="connsiteY3576" fmla="*/ 1710535 h 6380470"/>
              <a:gd name="connsiteX3577" fmla="*/ 7212096 w 11625583"/>
              <a:gd name="connsiteY3577" fmla="*/ 1710535 h 6380470"/>
              <a:gd name="connsiteX3578" fmla="*/ 7276762 w 11625583"/>
              <a:gd name="connsiteY3578" fmla="*/ 1775201 h 6380470"/>
              <a:gd name="connsiteX3579" fmla="*/ 7212096 w 11625583"/>
              <a:gd name="connsiteY3579" fmla="*/ 1839865 h 6380470"/>
              <a:gd name="connsiteX3580" fmla="*/ 7147430 w 11625583"/>
              <a:gd name="connsiteY3580" fmla="*/ 1775201 h 6380470"/>
              <a:gd name="connsiteX3581" fmla="*/ 7212096 w 11625583"/>
              <a:gd name="connsiteY3581" fmla="*/ 1710535 h 6380470"/>
              <a:gd name="connsiteX3582" fmla="*/ 7055523 w 11625583"/>
              <a:gd name="connsiteY3582" fmla="*/ 1710535 h 6380470"/>
              <a:gd name="connsiteX3583" fmla="*/ 7120189 w 11625583"/>
              <a:gd name="connsiteY3583" fmla="*/ 1775201 h 6380470"/>
              <a:gd name="connsiteX3584" fmla="*/ 7055523 w 11625583"/>
              <a:gd name="connsiteY3584" fmla="*/ 1839865 h 6380470"/>
              <a:gd name="connsiteX3585" fmla="*/ 6990857 w 11625583"/>
              <a:gd name="connsiteY3585" fmla="*/ 1775201 h 6380470"/>
              <a:gd name="connsiteX3586" fmla="*/ 7055523 w 11625583"/>
              <a:gd name="connsiteY3586" fmla="*/ 1710535 h 6380470"/>
              <a:gd name="connsiteX3587" fmla="*/ 6895037 w 11625583"/>
              <a:gd name="connsiteY3587" fmla="*/ 1710535 h 6380470"/>
              <a:gd name="connsiteX3588" fmla="*/ 6959703 w 11625583"/>
              <a:gd name="connsiteY3588" fmla="*/ 1775201 h 6380470"/>
              <a:gd name="connsiteX3589" fmla="*/ 6895037 w 11625583"/>
              <a:gd name="connsiteY3589" fmla="*/ 1839865 h 6380470"/>
              <a:gd name="connsiteX3590" fmla="*/ 6830371 w 11625583"/>
              <a:gd name="connsiteY3590" fmla="*/ 1775201 h 6380470"/>
              <a:gd name="connsiteX3591" fmla="*/ 6895037 w 11625583"/>
              <a:gd name="connsiteY3591" fmla="*/ 1710535 h 6380470"/>
              <a:gd name="connsiteX3592" fmla="*/ 6742375 w 11625583"/>
              <a:gd name="connsiteY3592" fmla="*/ 1710535 h 6380470"/>
              <a:gd name="connsiteX3593" fmla="*/ 6807041 w 11625583"/>
              <a:gd name="connsiteY3593" fmla="*/ 1775201 h 6380470"/>
              <a:gd name="connsiteX3594" fmla="*/ 6742375 w 11625583"/>
              <a:gd name="connsiteY3594" fmla="*/ 1839865 h 6380470"/>
              <a:gd name="connsiteX3595" fmla="*/ 6677709 w 11625583"/>
              <a:gd name="connsiteY3595" fmla="*/ 1775201 h 6380470"/>
              <a:gd name="connsiteX3596" fmla="*/ 6742375 w 11625583"/>
              <a:gd name="connsiteY3596" fmla="*/ 1710535 h 6380470"/>
              <a:gd name="connsiteX3597" fmla="*/ 6585802 w 11625583"/>
              <a:gd name="connsiteY3597" fmla="*/ 1710535 h 6380470"/>
              <a:gd name="connsiteX3598" fmla="*/ 6650468 w 11625583"/>
              <a:gd name="connsiteY3598" fmla="*/ 1775201 h 6380470"/>
              <a:gd name="connsiteX3599" fmla="*/ 6585802 w 11625583"/>
              <a:gd name="connsiteY3599" fmla="*/ 1839865 h 6380470"/>
              <a:gd name="connsiteX3600" fmla="*/ 6521136 w 11625583"/>
              <a:gd name="connsiteY3600" fmla="*/ 1775201 h 6380470"/>
              <a:gd name="connsiteX3601" fmla="*/ 6585802 w 11625583"/>
              <a:gd name="connsiteY3601" fmla="*/ 1710535 h 6380470"/>
              <a:gd name="connsiteX3602" fmla="*/ 6429229 w 11625583"/>
              <a:gd name="connsiteY3602" fmla="*/ 1710535 h 6380470"/>
              <a:gd name="connsiteX3603" fmla="*/ 6493895 w 11625583"/>
              <a:gd name="connsiteY3603" fmla="*/ 1775201 h 6380470"/>
              <a:gd name="connsiteX3604" fmla="*/ 6429229 w 11625583"/>
              <a:gd name="connsiteY3604" fmla="*/ 1839865 h 6380470"/>
              <a:gd name="connsiteX3605" fmla="*/ 6364563 w 11625583"/>
              <a:gd name="connsiteY3605" fmla="*/ 1775201 h 6380470"/>
              <a:gd name="connsiteX3606" fmla="*/ 6429229 w 11625583"/>
              <a:gd name="connsiteY3606" fmla="*/ 1710535 h 6380470"/>
              <a:gd name="connsiteX3607" fmla="*/ 6276571 w 11625583"/>
              <a:gd name="connsiteY3607" fmla="*/ 1710535 h 6380470"/>
              <a:gd name="connsiteX3608" fmla="*/ 6341237 w 11625583"/>
              <a:gd name="connsiteY3608" fmla="*/ 1775201 h 6380470"/>
              <a:gd name="connsiteX3609" fmla="*/ 6276571 w 11625583"/>
              <a:gd name="connsiteY3609" fmla="*/ 1839865 h 6380470"/>
              <a:gd name="connsiteX3610" fmla="*/ 6211905 w 11625583"/>
              <a:gd name="connsiteY3610" fmla="*/ 1775201 h 6380470"/>
              <a:gd name="connsiteX3611" fmla="*/ 6276571 w 11625583"/>
              <a:gd name="connsiteY3611" fmla="*/ 1710535 h 6380470"/>
              <a:gd name="connsiteX3612" fmla="*/ 6119999 w 11625583"/>
              <a:gd name="connsiteY3612" fmla="*/ 1710535 h 6380470"/>
              <a:gd name="connsiteX3613" fmla="*/ 6184665 w 11625583"/>
              <a:gd name="connsiteY3613" fmla="*/ 1775201 h 6380470"/>
              <a:gd name="connsiteX3614" fmla="*/ 6119999 w 11625583"/>
              <a:gd name="connsiteY3614" fmla="*/ 1839865 h 6380470"/>
              <a:gd name="connsiteX3615" fmla="*/ 6055333 w 11625583"/>
              <a:gd name="connsiteY3615" fmla="*/ 1775201 h 6380470"/>
              <a:gd name="connsiteX3616" fmla="*/ 6119999 w 11625583"/>
              <a:gd name="connsiteY3616" fmla="*/ 1710535 h 6380470"/>
              <a:gd name="connsiteX3617" fmla="*/ 5967338 w 11625583"/>
              <a:gd name="connsiteY3617" fmla="*/ 1710535 h 6380470"/>
              <a:gd name="connsiteX3618" fmla="*/ 6032004 w 11625583"/>
              <a:gd name="connsiteY3618" fmla="*/ 1775201 h 6380470"/>
              <a:gd name="connsiteX3619" fmla="*/ 5967338 w 11625583"/>
              <a:gd name="connsiteY3619" fmla="*/ 1839865 h 6380470"/>
              <a:gd name="connsiteX3620" fmla="*/ 5902672 w 11625583"/>
              <a:gd name="connsiteY3620" fmla="*/ 1775201 h 6380470"/>
              <a:gd name="connsiteX3621" fmla="*/ 5967338 w 11625583"/>
              <a:gd name="connsiteY3621" fmla="*/ 1710535 h 6380470"/>
              <a:gd name="connsiteX3622" fmla="*/ 5810800 w 11625583"/>
              <a:gd name="connsiteY3622" fmla="*/ 1710535 h 6380470"/>
              <a:gd name="connsiteX3623" fmla="*/ 5875431 w 11625583"/>
              <a:gd name="connsiteY3623" fmla="*/ 1775201 h 6380470"/>
              <a:gd name="connsiteX3624" fmla="*/ 5810800 w 11625583"/>
              <a:gd name="connsiteY3624" fmla="*/ 1839865 h 6380470"/>
              <a:gd name="connsiteX3625" fmla="*/ 5746117 w 11625583"/>
              <a:gd name="connsiteY3625" fmla="*/ 1775201 h 6380470"/>
              <a:gd name="connsiteX3626" fmla="*/ 5810800 w 11625583"/>
              <a:gd name="connsiteY3626" fmla="*/ 1710535 h 6380470"/>
              <a:gd name="connsiteX3627" fmla="*/ 5658108 w 11625583"/>
              <a:gd name="connsiteY3627" fmla="*/ 1710535 h 6380470"/>
              <a:gd name="connsiteX3628" fmla="*/ 5722783 w 11625583"/>
              <a:gd name="connsiteY3628" fmla="*/ 1775201 h 6380470"/>
              <a:gd name="connsiteX3629" fmla="*/ 5658108 w 11625583"/>
              <a:gd name="connsiteY3629" fmla="*/ 1839865 h 6380470"/>
              <a:gd name="connsiteX3630" fmla="*/ 5593441 w 11625583"/>
              <a:gd name="connsiteY3630" fmla="*/ 1775201 h 6380470"/>
              <a:gd name="connsiteX3631" fmla="*/ 5658108 w 11625583"/>
              <a:gd name="connsiteY3631" fmla="*/ 1710535 h 6380470"/>
              <a:gd name="connsiteX3632" fmla="*/ 5501543 w 11625583"/>
              <a:gd name="connsiteY3632" fmla="*/ 1710535 h 6380470"/>
              <a:gd name="connsiteX3633" fmla="*/ 5566205 w 11625583"/>
              <a:gd name="connsiteY3633" fmla="*/ 1775201 h 6380470"/>
              <a:gd name="connsiteX3634" fmla="*/ 5501543 w 11625583"/>
              <a:gd name="connsiteY3634" fmla="*/ 1839865 h 6380470"/>
              <a:gd name="connsiteX3635" fmla="*/ 5436886 w 11625583"/>
              <a:gd name="connsiteY3635" fmla="*/ 1775201 h 6380470"/>
              <a:gd name="connsiteX3636" fmla="*/ 5501543 w 11625583"/>
              <a:gd name="connsiteY3636" fmla="*/ 1710535 h 6380470"/>
              <a:gd name="connsiteX3637" fmla="*/ 5348888 w 11625583"/>
              <a:gd name="connsiteY3637" fmla="*/ 1710535 h 6380470"/>
              <a:gd name="connsiteX3638" fmla="*/ 5413554 w 11625583"/>
              <a:gd name="connsiteY3638" fmla="*/ 1775201 h 6380470"/>
              <a:gd name="connsiteX3639" fmla="*/ 5348888 w 11625583"/>
              <a:gd name="connsiteY3639" fmla="*/ 1839865 h 6380470"/>
              <a:gd name="connsiteX3640" fmla="*/ 5284230 w 11625583"/>
              <a:gd name="connsiteY3640" fmla="*/ 1775201 h 6380470"/>
              <a:gd name="connsiteX3641" fmla="*/ 5348888 w 11625583"/>
              <a:gd name="connsiteY3641" fmla="*/ 1710535 h 6380470"/>
              <a:gd name="connsiteX3642" fmla="*/ 5192321 w 11625583"/>
              <a:gd name="connsiteY3642" fmla="*/ 1710535 h 6380470"/>
              <a:gd name="connsiteX3643" fmla="*/ 5256982 w 11625583"/>
              <a:gd name="connsiteY3643" fmla="*/ 1775201 h 6380470"/>
              <a:gd name="connsiteX3644" fmla="*/ 5192321 w 11625583"/>
              <a:gd name="connsiteY3644" fmla="*/ 1839865 h 6380470"/>
              <a:gd name="connsiteX3645" fmla="*/ 5127656 w 11625583"/>
              <a:gd name="connsiteY3645" fmla="*/ 1775201 h 6380470"/>
              <a:gd name="connsiteX3646" fmla="*/ 5192321 w 11625583"/>
              <a:gd name="connsiteY3646" fmla="*/ 1710535 h 6380470"/>
              <a:gd name="connsiteX3647" fmla="*/ 3630603 w 11625583"/>
              <a:gd name="connsiteY3647" fmla="*/ 1710535 h 6380470"/>
              <a:gd name="connsiteX3648" fmla="*/ 3695268 w 11625583"/>
              <a:gd name="connsiteY3648" fmla="*/ 1775201 h 6380470"/>
              <a:gd name="connsiteX3649" fmla="*/ 3630603 w 11625583"/>
              <a:gd name="connsiteY3649" fmla="*/ 1839865 h 6380470"/>
              <a:gd name="connsiteX3650" fmla="*/ 3565924 w 11625583"/>
              <a:gd name="connsiteY3650" fmla="*/ 1775201 h 6380470"/>
              <a:gd name="connsiteX3651" fmla="*/ 3630603 w 11625583"/>
              <a:gd name="connsiteY3651" fmla="*/ 1710535 h 6380470"/>
              <a:gd name="connsiteX3652" fmla="*/ 3481848 w 11625583"/>
              <a:gd name="connsiteY3652" fmla="*/ 1710535 h 6380470"/>
              <a:gd name="connsiteX3653" fmla="*/ 3546518 w 11625583"/>
              <a:gd name="connsiteY3653" fmla="*/ 1775201 h 6380470"/>
              <a:gd name="connsiteX3654" fmla="*/ 3481848 w 11625583"/>
              <a:gd name="connsiteY3654" fmla="*/ 1839865 h 6380470"/>
              <a:gd name="connsiteX3655" fmla="*/ 3417193 w 11625583"/>
              <a:gd name="connsiteY3655" fmla="*/ 1775201 h 6380470"/>
              <a:gd name="connsiteX3656" fmla="*/ 3481848 w 11625583"/>
              <a:gd name="connsiteY3656" fmla="*/ 1710535 h 6380470"/>
              <a:gd name="connsiteX3657" fmla="*/ 3321383 w 11625583"/>
              <a:gd name="connsiteY3657" fmla="*/ 1710535 h 6380470"/>
              <a:gd name="connsiteX3658" fmla="*/ 3386026 w 11625583"/>
              <a:gd name="connsiteY3658" fmla="*/ 1775201 h 6380470"/>
              <a:gd name="connsiteX3659" fmla="*/ 3321383 w 11625583"/>
              <a:gd name="connsiteY3659" fmla="*/ 1839865 h 6380470"/>
              <a:gd name="connsiteX3660" fmla="*/ 3256721 w 11625583"/>
              <a:gd name="connsiteY3660" fmla="*/ 1775201 h 6380470"/>
              <a:gd name="connsiteX3661" fmla="*/ 3321383 w 11625583"/>
              <a:gd name="connsiteY3661" fmla="*/ 1710535 h 6380470"/>
              <a:gd name="connsiteX3662" fmla="*/ 3172630 w 11625583"/>
              <a:gd name="connsiteY3662" fmla="*/ 1710535 h 6380470"/>
              <a:gd name="connsiteX3663" fmla="*/ 3237304 w 11625583"/>
              <a:gd name="connsiteY3663" fmla="*/ 1775201 h 6380470"/>
              <a:gd name="connsiteX3664" fmla="*/ 3172630 w 11625583"/>
              <a:gd name="connsiteY3664" fmla="*/ 1839865 h 6380470"/>
              <a:gd name="connsiteX3665" fmla="*/ 3107947 w 11625583"/>
              <a:gd name="connsiteY3665" fmla="*/ 1775201 h 6380470"/>
              <a:gd name="connsiteX3666" fmla="*/ 3172630 w 11625583"/>
              <a:gd name="connsiteY3666" fmla="*/ 1710535 h 6380470"/>
              <a:gd name="connsiteX3667" fmla="*/ 3012113 w 11625583"/>
              <a:gd name="connsiteY3667" fmla="*/ 1710535 h 6380470"/>
              <a:gd name="connsiteX3668" fmla="*/ 3076783 w 11625583"/>
              <a:gd name="connsiteY3668" fmla="*/ 1775201 h 6380470"/>
              <a:gd name="connsiteX3669" fmla="*/ 3012113 w 11625583"/>
              <a:gd name="connsiteY3669" fmla="*/ 1839865 h 6380470"/>
              <a:gd name="connsiteX3670" fmla="*/ 2947457 w 11625583"/>
              <a:gd name="connsiteY3670" fmla="*/ 1775201 h 6380470"/>
              <a:gd name="connsiteX3671" fmla="*/ 3012113 w 11625583"/>
              <a:gd name="connsiteY3671" fmla="*/ 1710535 h 6380470"/>
              <a:gd name="connsiteX3672" fmla="*/ 2855561 w 11625583"/>
              <a:gd name="connsiteY3672" fmla="*/ 1710535 h 6380470"/>
              <a:gd name="connsiteX3673" fmla="*/ 2920218 w 11625583"/>
              <a:gd name="connsiteY3673" fmla="*/ 1775201 h 6380470"/>
              <a:gd name="connsiteX3674" fmla="*/ 2855561 w 11625583"/>
              <a:gd name="connsiteY3674" fmla="*/ 1839865 h 6380470"/>
              <a:gd name="connsiteX3675" fmla="*/ 2790904 w 11625583"/>
              <a:gd name="connsiteY3675" fmla="*/ 1775201 h 6380470"/>
              <a:gd name="connsiteX3676" fmla="*/ 2855561 w 11625583"/>
              <a:gd name="connsiteY3676" fmla="*/ 1710535 h 6380470"/>
              <a:gd name="connsiteX3677" fmla="*/ 2699010 w 11625583"/>
              <a:gd name="connsiteY3677" fmla="*/ 1710535 h 6380470"/>
              <a:gd name="connsiteX3678" fmla="*/ 2763667 w 11625583"/>
              <a:gd name="connsiteY3678" fmla="*/ 1775201 h 6380470"/>
              <a:gd name="connsiteX3679" fmla="*/ 2699010 w 11625583"/>
              <a:gd name="connsiteY3679" fmla="*/ 1839865 h 6380470"/>
              <a:gd name="connsiteX3680" fmla="*/ 2634353 w 11625583"/>
              <a:gd name="connsiteY3680" fmla="*/ 1775201 h 6380470"/>
              <a:gd name="connsiteX3681" fmla="*/ 2699010 w 11625583"/>
              <a:gd name="connsiteY3681" fmla="*/ 1710535 h 6380470"/>
              <a:gd name="connsiteX3682" fmla="*/ 2546372 w 11625583"/>
              <a:gd name="connsiteY3682" fmla="*/ 1710535 h 6380470"/>
              <a:gd name="connsiteX3683" fmla="*/ 2611030 w 11625583"/>
              <a:gd name="connsiteY3683" fmla="*/ 1775201 h 6380470"/>
              <a:gd name="connsiteX3684" fmla="*/ 2546372 w 11625583"/>
              <a:gd name="connsiteY3684" fmla="*/ 1839865 h 6380470"/>
              <a:gd name="connsiteX3685" fmla="*/ 2481712 w 11625583"/>
              <a:gd name="connsiteY3685" fmla="*/ 1775201 h 6380470"/>
              <a:gd name="connsiteX3686" fmla="*/ 2546372 w 11625583"/>
              <a:gd name="connsiteY3686" fmla="*/ 1710535 h 6380470"/>
              <a:gd name="connsiteX3687" fmla="*/ 2389782 w 11625583"/>
              <a:gd name="connsiteY3687" fmla="*/ 1710535 h 6380470"/>
              <a:gd name="connsiteX3688" fmla="*/ 2454476 w 11625583"/>
              <a:gd name="connsiteY3688" fmla="*/ 1775201 h 6380470"/>
              <a:gd name="connsiteX3689" fmla="*/ 2389782 w 11625583"/>
              <a:gd name="connsiteY3689" fmla="*/ 1839865 h 6380470"/>
              <a:gd name="connsiteX3690" fmla="*/ 2325139 w 11625583"/>
              <a:gd name="connsiteY3690" fmla="*/ 1775201 h 6380470"/>
              <a:gd name="connsiteX3691" fmla="*/ 2389782 w 11625583"/>
              <a:gd name="connsiteY3691" fmla="*/ 1710535 h 6380470"/>
              <a:gd name="connsiteX3692" fmla="*/ 2237121 w 11625583"/>
              <a:gd name="connsiteY3692" fmla="*/ 1710535 h 6380470"/>
              <a:gd name="connsiteX3693" fmla="*/ 2301804 w 11625583"/>
              <a:gd name="connsiteY3693" fmla="*/ 1775201 h 6380470"/>
              <a:gd name="connsiteX3694" fmla="*/ 2237121 w 11625583"/>
              <a:gd name="connsiteY3694" fmla="*/ 1839865 h 6380470"/>
              <a:gd name="connsiteX3695" fmla="*/ 2172438 w 11625583"/>
              <a:gd name="connsiteY3695" fmla="*/ 1775201 h 6380470"/>
              <a:gd name="connsiteX3696" fmla="*/ 2237121 w 11625583"/>
              <a:gd name="connsiteY3696" fmla="*/ 1710535 h 6380470"/>
              <a:gd name="connsiteX3697" fmla="*/ 2084441 w 11625583"/>
              <a:gd name="connsiteY3697" fmla="*/ 1710535 h 6380470"/>
              <a:gd name="connsiteX3698" fmla="*/ 2149104 w 11625583"/>
              <a:gd name="connsiteY3698" fmla="*/ 1775201 h 6380470"/>
              <a:gd name="connsiteX3699" fmla="*/ 2084441 w 11625583"/>
              <a:gd name="connsiteY3699" fmla="*/ 1839865 h 6380470"/>
              <a:gd name="connsiteX3700" fmla="*/ 2019794 w 11625583"/>
              <a:gd name="connsiteY3700" fmla="*/ 1775201 h 6380470"/>
              <a:gd name="connsiteX3701" fmla="*/ 2084441 w 11625583"/>
              <a:gd name="connsiteY3701" fmla="*/ 1710535 h 6380470"/>
              <a:gd name="connsiteX3702" fmla="*/ 1927857 w 11625583"/>
              <a:gd name="connsiteY3702" fmla="*/ 1710535 h 6380470"/>
              <a:gd name="connsiteX3703" fmla="*/ 1992543 w 11625583"/>
              <a:gd name="connsiteY3703" fmla="*/ 1775201 h 6380470"/>
              <a:gd name="connsiteX3704" fmla="*/ 1927857 w 11625583"/>
              <a:gd name="connsiteY3704" fmla="*/ 1839865 h 6380470"/>
              <a:gd name="connsiteX3705" fmla="*/ 1863219 w 11625583"/>
              <a:gd name="connsiteY3705" fmla="*/ 1775201 h 6380470"/>
              <a:gd name="connsiteX3706" fmla="*/ 1927857 w 11625583"/>
              <a:gd name="connsiteY3706" fmla="*/ 1710535 h 6380470"/>
              <a:gd name="connsiteX3707" fmla="*/ 1775206 w 11625583"/>
              <a:gd name="connsiteY3707" fmla="*/ 1710535 h 6380470"/>
              <a:gd name="connsiteX3708" fmla="*/ 1839889 w 11625583"/>
              <a:gd name="connsiteY3708" fmla="*/ 1775201 h 6380470"/>
              <a:gd name="connsiteX3709" fmla="*/ 1775206 w 11625583"/>
              <a:gd name="connsiteY3709" fmla="*/ 1839865 h 6380470"/>
              <a:gd name="connsiteX3710" fmla="*/ 1710535 w 11625583"/>
              <a:gd name="connsiteY3710" fmla="*/ 1775201 h 6380470"/>
              <a:gd name="connsiteX3711" fmla="*/ 1775206 w 11625583"/>
              <a:gd name="connsiteY3711" fmla="*/ 1710535 h 6380470"/>
              <a:gd name="connsiteX3712" fmla="*/ 1618624 w 11625583"/>
              <a:gd name="connsiteY3712" fmla="*/ 1710535 h 6380470"/>
              <a:gd name="connsiteX3713" fmla="*/ 1683293 w 11625583"/>
              <a:gd name="connsiteY3713" fmla="*/ 1775201 h 6380470"/>
              <a:gd name="connsiteX3714" fmla="*/ 1618624 w 11625583"/>
              <a:gd name="connsiteY3714" fmla="*/ 1839865 h 6380470"/>
              <a:gd name="connsiteX3715" fmla="*/ 1553961 w 11625583"/>
              <a:gd name="connsiteY3715" fmla="*/ 1775201 h 6380470"/>
              <a:gd name="connsiteX3716" fmla="*/ 1618624 w 11625583"/>
              <a:gd name="connsiteY3716" fmla="*/ 1710535 h 6380470"/>
              <a:gd name="connsiteX3717" fmla="*/ 1465967 w 11625583"/>
              <a:gd name="connsiteY3717" fmla="*/ 1710535 h 6380470"/>
              <a:gd name="connsiteX3718" fmla="*/ 1530634 w 11625583"/>
              <a:gd name="connsiteY3718" fmla="*/ 1775201 h 6380470"/>
              <a:gd name="connsiteX3719" fmla="*/ 1465967 w 11625583"/>
              <a:gd name="connsiteY3719" fmla="*/ 1839865 h 6380470"/>
              <a:gd name="connsiteX3720" fmla="*/ 1401304 w 11625583"/>
              <a:gd name="connsiteY3720" fmla="*/ 1775201 h 6380470"/>
              <a:gd name="connsiteX3721" fmla="*/ 1465967 w 11625583"/>
              <a:gd name="connsiteY3721" fmla="*/ 1710535 h 6380470"/>
              <a:gd name="connsiteX3722" fmla="*/ 1309394 w 11625583"/>
              <a:gd name="connsiteY3722" fmla="*/ 1710535 h 6380470"/>
              <a:gd name="connsiteX3723" fmla="*/ 1374060 w 11625583"/>
              <a:gd name="connsiteY3723" fmla="*/ 1775201 h 6380470"/>
              <a:gd name="connsiteX3724" fmla="*/ 1309394 w 11625583"/>
              <a:gd name="connsiteY3724" fmla="*/ 1839865 h 6380470"/>
              <a:gd name="connsiteX3725" fmla="*/ 1244728 w 11625583"/>
              <a:gd name="connsiteY3725" fmla="*/ 1775201 h 6380470"/>
              <a:gd name="connsiteX3726" fmla="*/ 1309394 w 11625583"/>
              <a:gd name="connsiteY3726" fmla="*/ 1710535 h 6380470"/>
              <a:gd name="connsiteX3727" fmla="*/ 1148909 w 11625583"/>
              <a:gd name="connsiteY3727" fmla="*/ 1710535 h 6380470"/>
              <a:gd name="connsiteX3728" fmla="*/ 1213575 w 11625583"/>
              <a:gd name="connsiteY3728" fmla="*/ 1775201 h 6380470"/>
              <a:gd name="connsiteX3729" fmla="*/ 1148909 w 11625583"/>
              <a:gd name="connsiteY3729" fmla="*/ 1839865 h 6380470"/>
              <a:gd name="connsiteX3730" fmla="*/ 1084244 w 11625583"/>
              <a:gd name="connsiteY3730" fmla="*/ 1775201 h 6380470"/>
              <a:gd name="connsiteX3731" fmla="*/ 1148909 w 11625583"/>
              <a:gd name="connsiteY3731" fmla="*/ 1710535 h 6380470"/>
              <a:gd name="connsiteX3732" fmla="*/ 8914829 w 11625583"/>
              <a:gd name="connsiteY3732" fmla="*/ 1565709 h 6380470"/>
              <a:gd name="connsiteX3733" fmla="*/ 8979495 w 11625583"/>
              <a:gd name="connsiteY3733" fmla="*/ 1630374 h 6380470"/>
              <a:gd name="connsiteX3734" fmla="*/ 8914829 w 11625583"/>
              <a:gd name="connsiteY3734" fmla="*/ 1695039 h 6380470"/>
              <a:gd name="connsiteX3735" fmla="*/ 8850163 w 11625583"/>
              <a:gd name="connsiteY3735" fmla="*/ 1630374 h 6380470"/>
              <a:gd name="connsiteX3736" fmla="*/ 8914829 w 11625583"/>
              <a:gd name="connsiteY3736" fmla="*/ 1565709 h 6380470"/>
              <a:gd name="connsiteX3737" fmla="*/ 8766086 w 11625583"/>
              <a:gd name="connsiteY3737" fmla="*/ 1565709 h 6380470"/>
              <a:gd name="connsiteX3738" fmla="*/ 8830752 w 11625583"/>
              <a:gd name="connsiteY3738" fmla="*/ 1630374 h 6380470"/>
              <a:gd name="connsiteX3739" fmla="*/ 8766086 w 11625583"/>
              <a:gd name="connsiteY3739" fmla="*/ 1695039 h 6380470"/>
              <a:gd name="connsiteX3740" fmla="*/ 8701420 w 11625583"/>
              <a:gd name="connsiteY3740" fmla="*/ 1630374 h 6380470"/>
              <a:gd name="connsiteX3741" fmla="*/ 8766086 w 11625583"/>
              <a:gd name="connsiteY3741" fmla="*/ 1565709 h 6380470"/>
              <a:gd name="connsiteX3742" fmla="*/ 8601683 w 11625583"/>
              <a:gd name="connsiteY3742" fmla="*/ 1565709 h 6380470"/>
              <a:gd name="connsiteX3743" fmla="*/ 8666349 w 11625583"/>
              <a:gd name="connsiteY3743" fmla="*/ 1630374 h 6380470"/>
              <a:gd name="connsiteX3744" fmla="*/ 8601683 w 11625583"/>
              <a:gd name="connsiteY3744" fmla="*/ 1695039 h 6380470"/>
              <a:gd name="connsiteX3745" fmla="*/ 8537017 w 11625583"/>
              <a:gd name="connsiteY3745" fmla="*/ 1630374 h 6380470"/>
              <a:gd name="connsiteX3746" fmla="*/ 8601683 w 11625583"/>
              <a:gd name="connsiteY3746" fmla="*/ 1565709 h 6380470"/>
              <a:gd name="connsiteX3747" fmla="*/ 8449025 w 11625583"/>
              <a:gd name="connsiteY3747" fmla="*/ 1565709 h 6380470"/>
              <a:gd name="connsiteX3748" fmla="*/ 8513691 w 11625583"/>
              <a:gd name="connsiteY3748" fmla="*/ 1630374 h 6380470"/>
              <a:gd name="connsiteX3749" fmla="*/ 8449025 w 11625583"/>
              <a:gd name="connsiteY3749" fmla="*/ 1695039 h 6380470"/>
              <a:gd name="connsiteX3750" fmla="*/ 8384359 w 11625583"/>
              <a:gd name="connsiteY3750" fmla="*/ 1630374 h 6380470"/>
              <a:gd name="connsiteX3751" fmla="*/ 8449025 w 11625583"/>
              <a:gd name="connsiteY3751" fmla="*/ 1565709 h 6380470"/>
              <a:gd name="connsiteX3752" fmla="*/ 8296367 w 11625583"/>
              <a:gd name="connsiteY3752" fmla="*/ 1565709 h 6380470"/>
              <a:gd name="connsiteX3753" fmla="*/ 8361033 w 11625583"/>
              <a:gd name="connsiteY3753" fmla="*/ 1630374 h 6380470"/>
              <a:gd name="connsiteX3754" fmla="*/ 8296367 w 11625583"/>
              <a:gd name="connsiteY3754" fmla="*/ 1695039 h 6380470"/>
              <a:gd name="connsiteX3755" fmla="*/ 8231701 w 11625583"/>
              <a:gd name="connsiteY3755" fmla="*/ 1630374 h 6380470"/>
              <a:gd name="connsiteX3756" fmla="*/ 8296367 w 11625583"/>
              <a:gd name="connsiteY3756" fmla="*/ 1565709 h 6380470"/>
              <a:gd name="connsiteX3757" fmla="*/ 8139792 w 11625583"/>
              <a:gd name="connsiteY3757" fmla="*/ 1565709 h 6380470"/>
              <a:gd name="connsiteX3758" fmla="*/ 8204458 w 11625583"/>
              <a:gd name="connsiteY3758" fmla="*/ 1630374 h 6380470"/>
              <a:gd name="connsiteX3759" fmla="*/ 8139792 w 11625583"/>
              <a:gd name="connsiteY3759" fmla="*/ 1695039 h 6380470"/>
              <a:gd name="connsiteX3760" fmla="*/ 8075126 w 11625583"/>
              <a:gd name="connsiteY3760" fmla="*/ 1630374 h 6380470"/>
              <a:gd name="connsiteX3761" fmla="*/ 8139792 w 11625583"/>
              <a:gd name="connsiteY3761" fmla="*/ 1565709 h 6380470"/>
              <a:gd name="connsiteX3762" fmla="*/ 7987133 w 11625583"/>
              <a:gd name="connsiteY3762" fmla="*/ 1565709 h 6380470"/>
              <a:gd name="connsiteX3763" fmla="*/ 8051799 w 11625583"/>
              <a:gd name="connsiteY3763" fmla="*/ 1630374 h 6380470"/>
              <a:gd name="connsiteX3764" fmla="*/ 7987133 w 11625583"/>
              <a:gd name="connsiteY3764" fmla="*/ 1695039 h 6380470"/>
              <a:gd name="connsiteX3765" fmla="*/ 7922467 w 11625583"/>
              <a:gd name="connsiteY3765" fmla="*/ 1630374 h 6380470"/>
              <a:gd name="connsiteX3766" fmla="*/ 7987133 w 11625583"/>
              <a:gd name="connsiteY3766" fmla="*/ 1565709 h 6380470"/>
              <a:gd name="connsiteX3767" fmla="*/ 7830562 w 11625583"/>
              <a:gd name="connsiteY3767" fmla="*/ 1565709 h 6380470"/>
              <a:gd name="connsiteX3768" fmla="*/ 7895228 w 11625583"/>
              <a:gd name="connsiteY3768" fmla="*/ 1630374 h 6380470"/>
              <a:gd name="connsiteX3769" fmla="*/ 7830562 w 11625583"/>
              <a:gd name="connsiteY3769" fmla="*/ 1695039 h 6380470"/>
              <a:gd name="connsiteX3770" fmla="*/ 7765896 w 11625583"/>
              <a:gd name="connsiteY3770" fmla="*/ 1630374 h 6380470"/>
              <a:gd name="connsiteX3771" fmla="*/ 7830562 w 11625583"/>
              <a:gd name="connsiteY3771" fmla="*/ 1565709 h 6380470"/>
              <a:gd name="connsiteX3772" fmla="*/ 7677902 w 11625583"/>
              <a:gd name="connsiteY3772" fmla="*/ 1565709 h 6380470"/>
              <a:gd name="connsiteX3773" fmla="*/ 7742568 w 11625583"/>
              <a:gd name="connsiteY3773" fmla="*/ 1630374 h 6380470"/>
              <a:gd name="connsiteX3774" fmla="*/ 7677902 w 11625583"/>
              <a:gd name="connsiteY3774" fmla="*/ 1695039 h 6380470"/>
              <a:gd name="connsiteX3775" fmla="*/ 7613236 w 11625583"/>
              <a:gd name="connsiteY3775" fmla="*/ 1630374 h 6380470"/>
              <a:gd name="connsiteX3776" fmla="*/ 7677902 w 11625583"/>
              <a:gd name="connsiteY3776" fmla="*/ 1565709 h 6380470"/>
              <a:gd name="connsiteX3777" fmla="*/ 7521329 w 11625583"/>
              <a:gd name="connsiteY3777" fmla="*/ 1565709 h 6380470"/>
              <a:gd name="connsiteX3778" fmla="*/ 7585995 w 11625583"/>
              <a:gd name="connsiteY3778" fmla="*/ 1630374 h 6380470"/>
              <a:gd name="connsiteX3779" fmla="*/ 7521329 w 11625583"/>
              <a:gd name="connsiteY3779" fmla="*/ 1695039 h 6380470"/>
              <a:gd name="connsiteX3780" fmla="*/ 7456663 w 11625583"/>
              <a:gd name="connsiteY3780" fmla="*/ 1630374 h 6380470"/>
              <a:gd name="connsiteX3781" fmla="*/ 7521329 w 11625583"/>
              <a:gd name="connsiteY3781" fmla="*/ 1565709 h 6380470"/>
              <a:gd name="connsiteX3782" fmla="*/ 7368669 w 11625583"/>
              <a:gd name="connsiteY3782" fmla="*/ 1565709 h 6380470"/>
              <a:gd name="connsiteX3783" fmla="*/ 7433335 w 11625583"/>
              <a:gd name="connsiteY3783" fmla="*/ 1630374 h 6380470"/>
              <a:gd name="connsiteX3784" fmla="*/ 7368669 w 11625583"/>
              <a:gd name="connsiteY3784" fmla="*/ 1695039 h 6380470"/>
              <a:gd name="connsiteX3785" fmla="*/ 7304003 w 11625583"/>
              <a:gd name="connsiteY3785" fmla="*/ 1630374 h 6380470"/>
              <a:gd name="connsiteX3786" fmla="*/ 7368669 w 11625583"/>
              <a:gd name="connsiteY3786" fmla="*/ 1565709 h 6380470"/>
              <a:gd name="connsiteX3787" fmla="*/ 7212096 w 11625583"/>
              <a:gd name="connsiteY3787" fmla="*/ 1565709 h 6380470"/>
              <a:gd name="connsiteX3788" fmla="*/ 7276762 w 11625583"/>
              <a:gd name="connsiteY3788" fmla="*/ 1630374 h 6380470"/>
              <a:gd name="connsiteX3789" fmla="*/ 7212096 w 11625583"/>
              <a:gd name="connsiteY3789" fmla="*/ 1695039 h 6380470"/>
              <a:gd name="connsiteX3790" fmla="*/ 7147430 w 11625583"/>
              <a:gd name="connsiteY3790" fmla="*/ 1630374 h 6380470"/>
              <a:gd name="connsiteX3791" fmla="*/ 7212096 w 11625583"/>
              <a:gd name="connsiteY3791" fmla="*/ 1565709 h 6380470"/>
              <a:gd name="connsiteX3792" fmla="*/ 7055523 w 11625583"/>
              <a:gd name="connsiteY3792" fmla="*/ 1565709 h 6380470"/>
              <a:gd name="connsiteX3793" fmla="*/ 7120189 w 11625583"/>
              <a:gd name="connsiteY3793" fmla="*/ 1630374 h 6380470"/>
              <a:gd name="connsiteX3794" fmla="*/ 7055523 w 11625583"/>
              <a:gd name="connsiteY3794" fmla="*/ 1695039 h 6380470"/>
              <a:gd name="connsiteX3795" fmla="*/ 6990857 w 11625583"/>
              <a:gd name="connsiteY3795" fmla="*/ 1630374 h 6380470"/>
              <a:gd name="connsiteX3796" fmla="*/ 7055523 w 11625583"/>
              <a:gd name="connsiteY3796" fmla="*/ 1565709 h 6380470"/>
              <a:gd name="connsiteX3797" fmla="*/ 6895037 w 11625583"/>
              <a:gd name="connsiteY3797" fmla="*/ 1565709 h 6380470"/>
              <a:gd name="connsiteX3798" fmla="*/ 6959703 w 11625583"/>
              <a:gd name="connsiteY3798" fmla="*/ 1630374 h 6380470"/>
              <a:gd name="connsiteX3799" fmla="*/ 6895037 w 11625583"/>
              <a:gd name="connsiteY3799" fmla="*/ 1695039 h 6380470"/>
              <a:gd name="connsiteX3800" fmla="*/ 6830371 w 11625583"/>
              <a:gd name="connsiteY3800" fmla="*/ 1630374 h 6380470"/>
              <a:gd name="connsiteX3801" fmla="*/ 6895037 w 11625583"/>
              <a:gd name="connsiteY3801" fmla="*/ 1565709 h 6380470"/>
              <a:gd name="connsiteX3802" fmla="*/ 6742375 w 11625583"/>
              <a:gd name="connsiteY3802" fmla="*/ 1565709 h 6380470"/>
              <a:gd name="connsiteX3803" fmla="*/ 6807041 w 11625583"/>
              <a:gd name="connsiteY3803" fmla="*/ 1630374 h 6380470"/>
              <a:gd name="connsiteX3804" fmla="*/ 6742375 w 11625583"/>
              <a:gd name="connsiteY3804" fmla="*/ 1695039 h 6380470"/>
              <a:gd name="connsiteX3805" fmla="*/ 6677709 w 11625583"/>
              <a:gd name="connsiteY3805" fmla="*/ 1630374 h 6380470"/>
              <a:gd name="connsiteX3806" fmla="*/ 6742375 w 11625583"/>
              <a:gd name="connsiteY3806" fmla="*/ 1565709 h 6380470"/>
              <a:gd name="connsiteX3807" fmla="*/ 6585802 w 11625583"/>
              <a:gd name="connsiteY3807" fmla="*/ 1565709 h 6380470"/>
              <a:gd name="connsiteX3808" fmla="*/ 6650468 w 11625583"/>
              <a:gd name="connsiteY3808" fmla="*/ 1630374 h 6380470"/>
              <a:gd name="connsiteX3809" fmla="*/ 6585802 w 11625583"/>
              <a:gd name="connsiteY3809" fmla="*/ 1695039 h 6380470"/>
              <a:gd name="connsiteX3810" fmla="*/ 6521136 w 11625583"/>
              <a:gd name="connsiteY3810" fmla="*/ 1630374 h 6380470"/>
              <a:gd name="connsiteX3811" fmla="*/ 6585802 w 11625583"/>
              <a:gd name="connsiteY3811" fmla="*/ 1565709 h 6380470"/>
              <a:gd name="connsiteX3812" fmla="*/ 6429229 w 11625583"/>
              <a:gd name="connsiteY3812" fmla="*/ 1565709 h 6380470"/>
              <a:gd name="connsiteX3813" fmla="*/ 6493895 w 11625583"/>
              <a:gd name="connsiteY3813" fmla="*/ 1630374 h 6380470"/>
              <a:gd name="connsiteX3814" fmla="*/ 6429229 w 11625583"/>
              <a:gd name="connsiteY3814" fmla="*/ 1695039 h 6380470"/>
              <a:gd name="connsiteX3815" fmla="*/ 6364563 w 11625583"/>
              <a:gd name="connsiteY3815" fmla="*/ 1630374 h 6380470"/>
              <a:gd name="connsiteX3816" fmla="*/ 6429229 w 11625583"/>
              <a:gd name="connsiteY3816" fmla="*/ 1565709 h 6380470"/>
              <a:gd name="connsiteX3817" fmla="*/ 6276571 w 11625583"/>
              <a:gd name="connsiteY3817" fmla="*/ 1565709 h 6380470"/>
              <a:gd name="connsiteX3818" fmla="*/ 6341237 w 11625583"/>
              <a:gd name="connsiteY3818" fmla="*/ 1630374 h 6380470"/>
              <a:gd name="connsiteX3819" fmla="*/ 6276571 w 11625583"/>
              <a:gd name="connsiteY3819" fmla="*/ 1695039 h 6380470"/>
              <a:gd name="connsiteX3820" fmla="*/ 6211905 w 11625583"/>
              <a:gd name="connsiteY3820" fmla="*/ 1630374 h 6380470"/>
              <a:gd name="connsiteX3821" fmla="*/ 6276571 w 11625583"/>
              <a:gd name="connsiteY3821" fmla="*/ 1565709 h 6380470"/>
              <a:gd name="connsiteX3822" fmla="*/ 5810802 w 11625583"/>
              <a:gd name="connsiteY3822" fmla="*/ 1565709 h 6380470"/>
              <a:gd name="connsiteX3823" fmla="*/ 5875431 w 11625583"/>
              <a:gd name="connsiteY3823" fmla="*/ 1630374 h 6380470"/>
              <a:gd name="connsiteX3824" fmla="*/ 5810802 w 11625583"/>
              <a:gd name="connsiteY3824" fmla="*/ 1695039 h 6380470"/>
              <a:gd name="connsiteX3825" fmla="*/ 5746117 w 11625583"/>
              <a:gd name="connsiteY3825" fmla="*/ 1630374 h 6380470"/>
              <a:gd name="connsiteX3826" fmla="*/ 5810802 w 11625583"/>
              <a:gd name="connsiteY3826" fmla="*/ 1565709 h 6380470"/>
              <a:gd name="connsiteX3827" fmla="*/ 5348888 w 11625583"/>
              <a:gd name="connsiteY3827" fmla="*/ 1565709 h 6380470"/>
              <a:gd name="connsiteX3828" fmla="*/ 5413556 w 11625583"/>
              <a:gd name="connsiteY3828" fmla="*/ 1630374 h 6380470"/>
              <a:gd name="connsiteX3829" fmla="*/ 5348888 w 11625583"/>
              <a:gd name="connsiteY3829" fmla="*/ 1695039 h 6380470"/>
              <a:gd name="connsiteX3830" fmla="*/ 5284232 w 11625583"/>
              <a:gd name="connsiteY3830" fmla="*/ 1630374 h 6380470"/>
              <a:gd name="connsiteX3831" fmla="*/ 5348888 w 11625583"/>
              <a:gd name="connsiteY3831" fmla="*/ 1565709 h 6380470"/>
              <a:gd name="connsiteX3832" fmla="*/ 3481855 w 11625583"/>
              <a:gd name="connsiteY3832" fmla="*/ 1565709 h 6380470"/>
              <a:gd name="connsiteX3833" fmla="*/ 3546525 w 11625583"/>
              <a:gd name="connsiteY3833" fmla="*/ 1630374 h 6380470"/>
              <a:gd name="connsiteX3834" fmla="*/ 3481855 w 11625583"/>
              <a:gd name="connsiteY3834" fmla="*/ 1695039 h 6380470"/>
              <a:gd name="connsiteX3835" fmla="*/ 3417201 w 11625583"/>
              <a:gd name="connsiteY3835" fmla="*/ 1630374 h 6380470"/>
              <a:gd name="connsiteX3836" fmla="*/ 3481855 w 11625583"/>
              <a:gd name="connsiteY3836" fmla="*/ 1565709 h 6380470"/>
              <a:gd name="connsiteX3837" fmla="*/ 3321390 w 11625583"/>
              <a:gd name="connsiteY3837" fmla="*/ 1565709 h 6380470"/>
              <a:gd name="connsiteX3838" fmla="*/ 3386032 w 11625583"/>
              <a:gd name="connsiteY3838" fmla="*/ 1630374 h 6380470"/>
              <a:gd name="connsiteX3839" fmla="*/ 3321390 w 11625583"/>
              <a:gd name="connsiteY3839" fmla="*/ 1695039 h 6380470"/>
              <a:gd name="connsiteX3840" fmla="*/ 3256727 w 11625583"/>
              <a:gd name="connsiteY3840" fmla="*/ 1630374 h 6380470"/>
              <a:gd name="connsiteX3841" fmla="*/ 3321390 w 11625583"/>
              <a:gd name="connsiteY3841" fmla="*/ 1565709 h 6380470"/>
              <a:gd name="connsiteX3842" fmla="*/ 3172637 w 11625583"/>
              <a:gd name="connsiteY3842" fmla="*/ 1565709 h 6380470"/>
              <a:gd name="connsiteX3843" fmla="*/ 3237310 w 11625583"/>
              <a:gd name="connsiteY3843" fmla="*/ 1630374 h 6380470"/>
              <a:gd name="connsiteX3844" fmla="*/ 3172637 w 11625583"/>
              <a:gd name="connsiteY3844" fmla="*/ 1695039 h 6380470"/>
              <a:gd name="connsiteX3845" fmla="*/ 3107954 w 11625583"/>
              <a:gd name="connsiteY3845" fmla="*/ 1630374 h 6380470"/>
              <a:gd name="connsiteX3846" fmla="*/ 3172637 w 11625583"/>
              <a:gd name="connsiteY3846" fmla="*/ 1565709 h 6380470"/>
              <a:gd name="connsiteX3847" fmla="*/ 3012119 w 11625583"/>
              <a:gd name="connsiteY3847" fmla="*/ 1565709 h 6380470"/>
              <a:gd name="connsiteX3848" fmla="*/ 3076788 w 11625583"/>
              <a:gd name="connsiteY3848" fmla="*/ 1630374 h 6380470"/>
              <a:gd name="connsiteX3849" fmla="*/ 3012119 w 11625583"/>
              <a:gd name="connsiteY3849" fmla="*/ 1695039 h 6380470"/>
              <a:gd name="connsiteX3850" fmla="*/ 2947463 w 11625583"/>
              <a:gd name="connsiteY3850" fmla="*/ 1630374 h 6380470"/>
              <a:gd name="connsiteX3851" fmla="*/ 3012119 w 11625583"/>
              <a:gd name="connsiteY3851" fmla="*/ 1565709 h 6380470"/>
              <a:gd name="connsiteX3852" fmla="*/ 2546380 w 11625583"/>
              <a:gd name="connsiteY3852" fmla="*/ 1565709 h 6380470"/>
              <a:gd name="connsiteX3853" fmla="*/ 2611038 w 11625583"/>
              <a:gd name="connsiteY3853" fmla="*/ 1630374 h 6380470"/>
              <a:gd name="connsiteX3854" fmla="*/ 2546380 w 11625583"/>
              <a:gd name="connsiteY3854" fmla="*/ 1695039 h 6380470"/>
              <a:gd name="connsiteX3855" fmla="*/ 2481723 w 11625583"/>
              <a:gd name="connsiteY3855" fmla="*/ 1630374 h 6380470"/>
              <a:gd name="connsiteX3856" fmla="*/ 2546380 w 11625583"/>
              <a:gd name="connsiteY3856" fmla="*/ 1565709 h 6380470"/>
              <a:gd name="connsiteX3857" fmla="*/ 2389803 w 11625583"/>
              <a:gd name="connsiteY3857" fmla="*/ 1565709 h 6380470"/>
              <a:gd name="connsiteX3858" fmla="*/ 2454486 w 11625583"/>
              <a:gd name="connsiteY3858" fmla="*/ 1630374 h 6380470"/>
              <a:gd name="connsiteX3859" fmla="*/ 2389803 w 11625583"/>
              <a:gd name="connsiteY3859" fmla="*/ 1695039 h 6380470"/>
              <a:gd name="connsiteX3860" fmla="*/ 2325148 w 11625583"/>
              <a:gd name="connsiteY3860" fmla="*/ 1630374 h 6380470"/>
              <a:gd name="connsiteX3861" fmla="*/ 2389803 w 11625583"/>
              <a:gd name="connsiteY3861" fmla="*/ 1565709 h 6380470"/>
              <a:gd name="connsiteX3862" fmla="*/ 2237130 w 11625583"/>
              <a:gd name="connsiteY3862" fmla="*/ 1565709 h 6380470"/>
              <a:gd name="connsiteX3863" fmla="*/ 2301814 w 11625583"/>
              <a:gd name="connsiteY3863" fmla="*/ 1630374 h 6380470"/>
              <a:gd name="connsiteX3864" fmla="*/ 2237130 w 11625583"/>
              <a:gd name="connsiteY3864" fmla="*/ 1695039 h 6380470"/>
              <a:gd name="connsiteX3865" fmla="*/ 2172445 w 11625583"/>
              <a:gd name="connsiteY3865" fmla="*/ 1630374 h 6380470"/>
              <a:gd name="connsiteX3866" fmla="*/ 2237130 w 11625583"/>
              <a:gd name="connsiteY3866" fmla="*/ 1565709 h 6380470"/>
              <a:gd name="connsiteX3867" fmla="*/ 2084449 w 11625583"/>
              <a:gd name="connsiteY3867" fmla="*/ 1565709 h 6380470"/>
              <a:gd name="connsiteX3868" fmla="*/ 2149111 w 11625583"/>
              <a:gd name="connsiteY3868" fmla="*/ 1630374 h 6380470"/>
              <a:gd name="connsiteX3869" fmla="*/ 2084449 w 11625583"/>
              <a:gd name="connsiteY3869" fmla="*/ 1695039 h 6380470"/>
              <a:gd name="connsiteX3870" fmla="*/ 2019802 w 11625583"/>
              <a:gd name="connsiteY3870" fmla="*/ 1630374 h 6380470"/>
              <a:gd name="connsiteX3871" fmla="*/ 2084449 w 11625583"/>
              <a:gd name="connsiteY3871" fmla="*/ 1565709 h 6380470"/>
              <a:gd name="connsiteX3872" fmla="*/ 1927857 w 11625583"/>
              <a:gd name="connsiteY3872" fmla="*/ 1565709 h 6380470"/>
              <a:gd name="connsiteX3873" fmla="*/ 1992550 w 11625583"/>
              <a:gd name="connsiteY3873" fmla="*/ 1630374 h 6380470"/>
              <a:gd name="connsiteX3874" fmla="*/ 1927857 w 11625583"/>
              <a:gd name="connsiteY3874" fmla="*/ 1695039 h 6380470"/>
              <a:gd name="connsiteX3875" fmla="*/ 1863227 w 11625583"/>
              <a:gd name="connsiteY3875" fmla="*/ 1630374 h 6380470"/>
              <a:gd name="connsiteX3876" fmla="*/ 1927857 w 11625583"/>
              <a:gd name="connsiteY3876" fmla="*/ 1565709 h 6380470"/>
              <a:gd name="connsiteX3877" fmla="*/ 1775214 w 11625583"/>
              <a:gd name="connsiteY3877" fmla="*/ 1565709 h 6380470"/>
              <a:gd name="connsiteX3878" fmla="*/ 1839897 w 11625583"/>
              <a:gd name="connsiteY3878" fmla="*/ 1630374 h 6380470"/>
              <a:gd name="connsiteX3879" fmla="*/ 1775214 w 11625583"/>
              <a:gd name="connsiteY3879" fmla="*/ 1695039 h 6380470"/>
              <a:gd name="connsiteX3880" fmla="*/ 1710542 w 11625583"/>
              <a:gd name="connsiteY3880" fmla="*/ 1630374 h 6380470"/>
              <a:gd name="connsiteX3881" fmla="*/ 1775214 w 11625583"/>
              <a:gd name="connsiteY3881" fmla="*/ 1565709 h 6380470"/>
              <a:gd name="connsiteX3882" fmla="*/ 1618630 w 11625583"/>
              <a:gd name="connsiteY3882" fmla="*/ 1565709 h 6380470"/>
              <a:gd name="connsiteX3883" fmla="*/ 1683301 w 11625583"/>
              <a:gd name="connsiteY3883" fmla="*/ 1630374 h 6380470"/>
              <a:gd name="connsiteX3884" fmla="*/ 1618630 w 11625583"/>
              <a:gd name="connsiteY3884" fmla="*/ 1695039 h 6380470"/>
              <a:gd name="connsiteX3885" fmla="*/ 1553968 w 11625583"/>
              <a:gd name="connsiteY3885" fmla="*/ 1630374 h 6380470"/>
              <a:gd name="connsiteX3886" fmla="*/ 1618630 w 11625583"/>
              <a:gd name="connsiteY3886" fmla="*/ 1565709 h 6380470"/>
              <a:gd name="connsiteX3887" fmla="*/ 1465974 w 11625583"/>
              <a:gd name="connsiteY3887" fmla="*/ 1565709 h 6380470"/>
              <a:gd name="connsiteX3888" fmla="*/ 1530639 w 11625583"/>
              <a:gd name="connsiteY3888" fmla="*/ 1630374 h 6380470"/>
              <a:gd name="connsiteX3889" fmla="*/ 1465974 w 11625583"/>
              <a:gd name="connsiteY3889" fmla="*/ 1695039 h 6380470"/>
              <a:gd name="connsiteX3890" fmla="*/ 1401310 w 11625583"/>
              <a:gd name="connsiteY3890" fmla="*/ 1630374 h 6380470"/>
              <a:gd name="connsiteX3891" fmla="*/ 1465974 w 11625583"/>
              <a:gd name="connsiteY3891" fmla="*/ 1565709 h 6380470"/>
              <a:gd name="connsiteX3892" fmla="*/ 1309401 w 11625583"/>
              <a:gd name="connsiteY3892" fmla="*/ 1565709 h 6380470"/>
              <a:gd name="connsiteX3893" fmla="*/ 1374066 w 11625583"/>
              <a:gd name="connsiteY3893" fmla="*/ 1630374 h 6380470"/>
              <a:gd name="connsiteX3894" fmla="*/ 1309401 w 11625583"/>
              <a:gd name="connsiteY3894" fmla="*/ 1695039 h 6380470"/>
              <a:gd name="connsiteX3895" fmla="*/ 1244735 w 11625583"/>
              <a:gd name="connsiteY3895" fmla="*/ 1630374 h 6380470"/>
              <a:gd name="connsiteX3896" fmla="*/ 1309401 w 11625583"/>
              <a:gd name="connsiteY3896" fmla="*/ 1565709 h 6380470"/>
              <a:gd name="connsiteX3897" fmla="*/ 1148916 w 11625583"/>
              <a:gd name="connsiteY3897" fmla="*/ 1565709 h 6380470"/>
              <a:gd name="connsiteX3898" fmla="*/ 1213581 w 11625583"/>
              <a:gd name="connsiteY3898" fmla="*/ 1630374 h 6380470"/>
              <a:gd name="connsiteX3899" fmla="*/ 1148916 w 11625583"/>
              <a:gd name="connsiteY3899" fmla="*/ 1695039 h 6380470"/>
              <a:gd name="connsiteX3900" fmla="*/ 1084251 w 11625583"/>
              <a:gd name="connsiteY3900" fmla="*/ 1630374 h 6380470"/>
              <a:gd name="connsiteX3901" fmla="*/ 1148916 w 11625583"/>
              <a:gd name="connsiteY3901" fmla="*/ 1565709 h 6380470"/>
              <a:gd name="connsiteX3902" fmla="*/ 10778052 w 11625583"/>
              <a:gd name="connsiteY3902" fmla="*/ 1565707 h 6380470"/>
              <a:gd name="connsiteX3903" fmla="*/ 10842718 w 11625583"/>
              <a:gd name="connsiteY3903" fmla="*/ 1630373 h 6380470"/>
              <a:gd name="connsiteX3904" fmla="*/ 10778052 w 11625583"/>
              <a:gd name="connsiteY3904" fmla="*/ 1695039 h 6380470"/>
              <a:gd name="connsiteX3905" fmla="*/ 10713386 w 11625583"/>
              <a:gd name="connsiteY3905" fmla="*/ 1630373 h 6380470"/>
              <a:gd name="connsiteX3906" fmla="*/ 10778052 w 11625583"/>
              <a:gd name="connsiteY3906" fmla="*/ 1565707 h 6380470"/>
              <a:gd name="connsiteX3907" fmla="*/ 10625394 w 11625583"/>
              <a:gd name="connsiteY3907" fmla="*/ 1565707 h 6380470"/>
              <a:gd name="connsiteX3908" fmla="*/ 10690060 w 11625583"/>
              <a:gd name="connsiteY3908" fmla="*/ 1630373 h 6380470"/>
              <a:gd name="connsiteX3909" fmla="*/ 10625394 w 11625583"/>
              <a:gd name="connsiteY3909" fmla="*/ 1695039 h 6380470"/>
              <a:gd name="connsiteX3910" fmla="*/ 10560728 w 11625583"/>
              <a:gd name="connsiteY3910" fmla="*/ 1630373 h 6380470"/>
              <a:gd name="connsiteX3911" fmla="*/ 10625394 w 11625583"/>
              <a:gd name="connsiteY3911" fmla="*/ 1565707 h 6380470"/>
              <a:gd name="connsiteX3912" fmla="*/ 9850356 w 11625583"/>
              <a:gd name="connsiteY3912" fmla="*/ 1565707 h 6380470"/>
              <a:gd name="connsiteX3913" fmla="*/ 9915022 w 11625583"/>
              <a:gd name="connsiteY3913" fmla="*/ 1630373 h 6380470"/>
              <a:gd name="connsiteX3914" fmla="*/ 9850356 w 11625583"/>
              <a:gd name="connsiteY3914" fmla="*/ 1695039 h 6380470"/>
              <a:gd name="connsiteX3915" fmla="*/ 9785690 w 11625583"/>
              <a:gd name="connsiteY3915" fmla="*/ 1630373 h 6380470"/>
              <a:gd name="connsiteX3916" fmla="*/ 9850356 w 11625583"/>
              <a:gd name="connsiteY3916" fmla="*/ 1565707 h 6380470"/>
              <a:gd name="connsiteX3917" fmla="*/ 9693782 w 11625583"/>
              <a:gd name="connsiteY3917" fmla="*/ 1565707 h 6380470"/>
              <a:gd name="connsiteX3918" fmla="*/ 9758448 w 11625583"/>
              <a:gd name="connsiteY3918" fmla="*/ 1630373 h 6380470"/>
              <a:gd name="connsiteX3919" fmla="*/ 9693782 w 11625583"/>
              <a:gd name="connsiteY3919" fmla="*/ 1695039 h 6380470"/>
              <a:gd name="connsiteX3920" fmla="*/ 9629116 w 11625583"/>
              <a:gd name="connsiteY3920" fmla="*/ 1630373 h 6380470"/>
              <a:gd name="connsiteX3921" fmla="*/ 9693782 w 11625583"/>
              <a:gd name="connsiteY3921" fmla="*/ 1565707 h 6380470"/>
              <a:gd name="connsiteX3922" fmla="*/ 9541123 w 11625583"/>
              <a:gd name="connsiteY3922" fmla="*/ 1565707 h 6380470"/>
              <a:gd name="connsiteX3923" fmla="*/ 9605789 w 11625583"/>
              <a:gd name="connsiteY3923" fmla="*/ 1630373 h 6380470"/>
              <a:gd name="connsiteX3924" fmla="*/ 9541123 w 11625583"/>
              <a:gd name="connsiteY3924" fmla="*/ 1695039 h 6380470"/>
              <a:gd name="connsiteX3925" fmla="*/ 9476457 w 11625583"/>
              <a:gd name="connsiteY3925" fmla="*/ 1630373 h 6380470"/>
              <a:gd name="connsiteX3926" fmla="*/ 9541123 w 11625583"/>
              <a:gd name="connsiteY3926" fmla="*/ 1565707 h 6380470"/>
              <a:gd name="connsiteX3927" fmla="*/ 9384550 w 11625583"/>
              <a:gd name="connsiteY3927" fmla="*/ 1565707 h 6380470"/>
              <a:gd name="connsiteX3928" fmla="*/ 9449216 w 11625583"/>
              <a:gd name="connsiteY3928" fmla="*/ 1630373 h 6380470"/>
              <a:gd name="connsiteX3929" fmla="*/ 9384550 w 11625583"/>
              <a:gd name="connsiteY3929" fmla="*/ 1695039 h 6380470"/>
              <a:gd name="connsiteX3930" fmla="*/ 9319884 w 11625583"/>
              <a:gd name="connsiteY3930" fmla="*/ 1630373 h 6380470"/>
              <a:gd name="connsiteX3931" fmla="*/ 9384550 w 11625583"/>
              <a:gd name="connsiteY3931" fmla="*/ 1565707 h 6380470"/>
              <a:gd name="connsiteX3932" fmla="*/ 9227977 w 11625583"/>
              <a:gd name="connsiteY3932" fmla="*/ 1565707 h 6380470"/>
              <a:gd name="connsiteX3933" fmla="*/ 9292643 w 11625583"/>
              <a:gd name="connsiteY3933" fmla="*/ 1630373 h 6380470"/>
              <a:gd name="connsiteX3934" fmla="*/ 9227977 w 11625583"/>
              <a:gd name="connsiteY3934" fmla="*/ 1695039 h 6380470"/>
              <a:gd name="connsiteX3935" fmla="*/ 9163311 w 11625583"/>
              <a:gd name="connsiteY3935" fmla="*/ 1630373 h 6380470"/>
              <a:gd name="connsiteX3936" fmla="*/ 9227977 w 11625583"/>
              <a:gd name="connsiteY3936" fmla="*/ 1565707 h 6380470"/>
              <a:gd name="connsiteX3937" fmla="*/ 9075317 w 11625583"/>
              <a:gd name="connsiteY3937" fmla="*/ 1565707 h 6380470"/>
              <a:gd name="connsiteX3938" fmla="*/ 9139983 w 11625583"/>
              <a:gd name="connsiteY3938" fmla="*/ 1630373 h 6380470"/>
              <a:gd name="connsiteX3939" fmla="*/ 9075317 w 11625583"/>
              <a:gd name="connsiteY3939" fmla="*/ 1695039 h 6380470"/>
              <a:gd name="connsiteX3940" fmla="*/ 9010651 w 11625583"/>
              <a:gd name="connsiteY3940" fmla="*/ 1630373 h 6380470"/>
              <a:gd name="connsiteX3941" fmla="*/ 9075317 w 11625583"/>
              <a:gd name="connsiteY3941" fmla="*/ 1565707 h 6380470"/>
              <a:gd name="connsiteX3942" fmla="*/ 217310 w 11625583"/>
              <a:gd name="connsiteY3942" fmla="*/ 1565707 h 6380470"/>
              <a:gd name="connsiteX3943" fmla="*/ 281975 w 11625583"/>
              <a:gd name="connsiteY3943" fmla="*/ 1630373 h 6380470"/>
              <a:gd name="connsiteX3944" fmla="*/ 217310 w 11625583"/>
              <a:gd name="connsiteY3944" fmla="*/ 1695039 h 6380470"/>
              <a:gd name="connsiteX3945" fmla="*/ 152644 w 11625583"/>
              <a:gd name="connsiteY3945" fmla="*/ 1630373 h 6380470"/>
              <a:gd name="connsiteX3946" fmla="*/ 217310 w 11625583"/>
              <a:gd name="connsiteY3946" fmla="*/ 1565707 h 6380470"/>
              <a:gd name="connsiteX3947" fmla="*/ 10778052 w 11625583"/>
              <a:gd name="connsiteY3947" fmla="*/ 1428710 h 6380470"/>
              <a:gd name="connsiteX3948" fmla="*/ 10842718 w 11625583"/>
              <a:gd name="connsiteY3948" fmla="*/ 1493374 h 6380470"/>
              <a:gd name="connsiteX3949" fmla="*/ 10778052 w 11625583"/>
              <a:gd name="connsiteY3949" fmla="*/ 1558040 h 6380470"/>
              <a:gd name="connsiteX3950" fmla="*/ 10713386 w 11625583"/>
              <a:gd name="connsiteY3950" fmla="*/ 1493374 h 6380470"/>
              <a:gd name="connsiteX3951" fmla="*/ 10778052 w 11625583"/>
              <a:gd name="connsiteY3951" fmla="*/ 1428710 h 6380470"/>
              <a:gd name="connsiteX3952" fmla="*/ 10625394 w 11625583"/>
              <a:gd name="connsiteY3952" fmla="*/ 1428710 h 6380470"/>
              <a:gd name="connsiteX3953" fmla="*/ 10690060 w 11625583"/>
              <a:gd name="connsiteY3953" fmla="*/ 1493374 h 6380470"/>
              <a:gd name="connsiteX3954" fmla="*/ 10625394 w 11625583"/>
              <a:gd name="connsiteY3954" fmla="*/ 1558040 h 6380470"/>
              <a:gd name="connsiteX3955" fmla="*/ 10560728 w 11625583"/>
              <a:gd name="connsiteY3955" fmla="*/ 1493374 h 6380470"/>
              <a:gd name="connsiteX3956" fmla="*/ 10625394 w 11625583"/>
              <a:gd name="connsiteY3956" fmla="*/ 1428710 h 6380470"/>
              <a:gd name="connsiteX3957" fmla="*/ 10003016 w 11625583"/>
              <a:gd name="connsiteY3957" fmla="*/ 1428710 h 6380470"/>
              <a:gd name="connsiteX3958" fmla="*/ 10067682 w 11625583"/>
              <a:gd name="connsiteY3958" fmla="*/ 1493374 h 6380470"/>
              <a:gd name="connsiteX3959" fmla="*/ 10003016 w 11625583"/>
              <a:gd name="connsiteY3959" fmla="*/ 1558040 h 6380470"/>
              <a:gd name="connsiteX3960" fmla="*/ 9938350 w 11625583"/>
              <a:gd name="connsiteY3960" fmla="*/ 1493374 h 6380470"/>
              <a:gd name="connsiteX3961" fmla="*/ 10003016 w 11625583"/>
              <a:gd name="connsiteY3961" fmla="*/ 1428710 h 6380470"/>
              <a:gd name="connsiteX3962" fmla="*/ 9850356 w 11625583"/>
              <a:gd name="connsiteY3962" fmla="*/ 1428710 h 6380470"/>
              <a:gd name="connsiteX3963" fmla="*/ 9915022 w 11625583"/>
              <a:gd name="connsiteY3963" fmla="*/ 1493374 h 6380470"/>
              <a:gd name="connsiteX3964" fmla="*/ 9850356 w 11625583"/>
              <a:gd name="connsiteY3964" fmla="*/ 1558040 h 6380470"/>
              <a:gd name="connsiteX3965" fmla="*/ 9785690 w 11625583"/>
              <a:gd name="connsiteY3965" fmla="*/ 1493374 h 6380470"/>
              <a:gd name="connsiteX3966" fmla="*/ 9850356 w 11625583"/>
              <a:gd name="connsiteY3966" fmla="*/ 1428710 h 6380470"/>
              <a:gd name="connsiteX3967" fmla="*/ 9693782 w 11625583"/>
              <a:gd name="connsiteY3967" fmla="*/ 1428710 h 6380470"/>
              <a:gd name="connsiteX3968" fmla="*/ 9758448 w 11625583"/>
              <a:gd name="connsiteY3968" fmla="*/ 1493374 h 6380470"/>
              <a:gd name="connsiteX3969" fmla="*/ 9693782 w 11625583"/>
              <a:gd name="connsiteY3969" fmla="*/ 1558040 h 6380470"/>
              <a:gd name="connsiteX3970" fmla="*/ 9629116 w 11625583"/>
              <a:gd name="connsiteY3970" fmla="*/ 1493374 h 6380470"/>
              <a:gd name="connsiteX3971" fmla="*/ 9693782 w 11625583"/>
              <a:gd name="connsiteY3971" fmla="*/ 1428710 h 6380470"/>
              <a:gd name="connsiteX3972" fmla="*/ 9541123 w 11625583"/>
              <a:gd name="connsiteY3972" fmla="*/ 1428710 h 6380470"/>
              <a:gd name="connsiteX3973" fmla="*/ 9605789 w 11625583"/>
              <a:gd name="connsiteY3973" fmla="*/ 1493374 h 6380470"/>
              <a:gd name="connsiteX3974" fmla="*/ 9541123 w 11625583"/>
              <a:gd name="connsiteY3974" fmla="*/ 1558040 h 6380470"/>
              <a:gd name="connsiteX3975" fmla="*/ 9476457 w 11625583"/>
              <a:gd name="connsiteY3975" fmla="*/ 1493374 h 6380470"/>
              <a:gd name="connsiteX3976" fmla="*/ 9541123 w 11625583"/>
              <a:gd name="connsiteY3976" fmla="*/ 1428710 h 6380470"/>
              <a:gd name="connsiteX3977" fmla="*/ 9384550 w 11625583"/>
              <a:gd name="connsiteY3977" fmla="*/ 1428710 h 6380470"/>
              <a:gd name="connsiteX3978" fmla="*/ 9449216 w 11625583"/>
              <a:gd name="connsiteY3978" fmla="*/ 1493374 h 6380470"/>
              <a:gd name="connsiteX3979" fmla="*/ 9384550 w 11625583"/>
              <a:gd name="connsiteY3979" fmla="*/ 1558040 h 6380470"/>
              <a:gd name="connsiteX3980" fmla="*/ 9319884 w 11625583"/>
              <a:gd name="connsiteY3980" fmla="*/ 1493374 h 6380470"/>
              <a:gd name="connsiteX3981" fmla="*/ 9384550 w 11625583"/>
              <a:gd name="connsiteY3981" fmla="*/ 1428710 h 6380470"/>
              <a:gd name="connsiteX3982" fmla="*/ 9227977 w 11625583"/>
              <a:gd name="connsiteY3982" fmla="*/ 1428710 h 6380470"/>
              <a:gd name="connsiteX3983" fmla="*/ 9292643 w 11625583"/>
              <a:gd name="connsiteY3983" fmla="*/ 1493374 h 6380470"/>
              <a:gd name="connsiteX3984" fmla="*/ 9227977 w 11625583"/>
              <a:gd name="connsiteY3984" fmla="*/ 1558040 h 6380470"/>
              <a:gd name="connsiteX3985" fmla="*/ 9163311 w 11625583"/>
              <a:gd name="connsiteY3985" fmla="*/ 1493374 h 6380470"/>
              <a:gd name="connsiteX3986" fmla="*/ 9227977 w 11625583"/>
              <a:gd name="connsiteY3986" fmla="*/ 1428710 h 6380470"/>
              <a:gd name="connsiteX3987" fmla="*/ 9075317 w 11625583"/>
              <a:gd name="connsiteY3987" fmla="*/ 1428710 h 6380470"/>
              <a:gd name="connsiteX3988" fmla="*/ 9139983 w 11625583"/>
              <a:gd name="connsiteY3988" fmla="*/ 1493374 h 6380470"/>
              <a:gd name="connsiteX3989" fmla="*/ 9075317 w 11625583"/>
              <a:gd name="connsiteY3989" fmla="*/ 1558040 h 6380470"/>
              <a:gd name="connsiteX3990" fmla="*/ 9010651 w 11625583"/>
              <a:gd name="connsiteY3990" fmla="*/ 1493374 h 6380470"/>
              <a:gd name="connsiteX3991" fmla="*/ 9075317 w 11625583"/>
              <a:gd name="connsiteY3991" fmla="*/ 1428710 h 6380470"/>
              <a:gd name="connsiteX3992" fmla="*/ 8914829 w 11625583"/>
              <a:gd name="connsiteY3992" fmla="*/ 1428710 h 6380470"/>
              <a:gd name="connsiteX3993" fmla="*/ 8979495 w 11625583"/>
              <a:gd name="connsiteY3993" fmla="*/ 1493374 h 6380470"/>
              <a:gd name="connsiteX3994" fmla="*/ 8914829 w 11625583"/>
              <a:gd name="connsiteY3994" fmla="*/ 1558040 h 6380470"/>
              <a:gd name="connsiteX3995" fmla="*/ 8850163 w 11625583"/>
              <a:gd name="connsiteY3995" fmla="*/ 1493374 h 6380470"/>
              <a:gd name="connsiteX3996" fmla="*/ 8914829 w 11625583"/>
              <a:gd name="connsiteY3996" fmla="*/ 1428710 h 6380470"/>
              <a:gd name="connsiteX3997" fmla="*/ 8766086 w 11625583"/>
              <a:gd name="connsiteY3997" fmla="*/ 1428710 h 6380470"/>
              <a:gd name="connsiteX3998" fmla="*/ 8830752 w 11625583"/>
              <a:gd name="connsiteY3998" fmla="*/ 1493374 h 6380470"/>
              <a:gd name="connsiteX3999" fmla="*/ 8766086 w 11625583"/>
              <a:gd name="connsiteY3999" fmla="*/ 1558040 h 6380470"/>
              <a:gd name="connsiteX4000" fmla="*/ 8701420 w 11625583"/>
              <a:gd name="connsiteY4000" fmla="*/ 1493374 h 6380470"/>
              <a:gd name="connsiteX4001" fmla="*/ 8766086 w 11625583"/>
              <a:gd name="connsiteY4001" fmla="*/ 1428710 h 6380470"/>
              <a:gd name="connsiteX4002" fmla="*/ 8601683 w 11625583"/>
              <a:gd name="connsiteY4002" fmla="*/ 1428710 h 6380470"/>
              <a:gd name="connsiteX4003" fmla="*/ 8666349 w 11625583"/>
              <a:gd name="connsiteY4003" fmla="*/ 1493374 h 6380470"/>
              <a:gd name="connsiteX4004" fmla="*/ 8601683 w 11625583"/>
              <a:gd name="connsiteY4004" fmla="*/ 1558040 h 6380470"/>
              <a:gd name="connsiteX4005" fmla="*/ 8537017 w 11625583"/>
              <a:gd name="connsiteY4005" fmla="*/ 1493374 h 6380470"/>
              <a:gd name="connsiteX4006" fmla="*/ 8601683 w 11625583"/>
              <a:gd name="connsiteY4006" fmla="*/ 1428710 h 6380470"/>
              <a:gd name="connsiteX4007" fmla="*/ 8449025 w 11625583"/>
              <a:gd name="connsiteY4007" fmla="*/ 1428710 h 6380470"/>
              <a:gd name="connsiteX4008" fmla="*/ 8513691 w 11625583"/>
              <a:gd name="connsiteY4008" fmla="*/ 1493374 h 6380470"/>
              <a:gd name="connsiteX4009" fmla="*/ 8449025 w 11625583"/>
              <a:gd name="connsiteY4009" fmla="*/ 1558040 h 6380470"/>
              <a:gd name="connsiteX4010" fmla="*/ 8384359 w 11625583"/>
              <a:gd name="connsiteY4010" fmla="*/ 1493374 h 6380470"/>
              <a:gd name="connsiteX4011" fmla="*/ 8449025 w 11625583"/>
              <a:gd name="connsiteY4011" fmla="*/ 1428710 h 6380470"/>
              <a:gd name="connsiteX4012" fmla="*/ 8296367 w 11625583"/>
              <a:gd name="connsiteY4012" fmla="*/ 1428710 h 6380470"/>
              <a:gd name="connsiteX4013" fmla="*/ 8361033 w 11625583"/>
              <a:gd name="connsiteY4013" fmla="*/ 1493374 h 6380470"/>
              <a:gd name="connsiteX4014" fmla="*/ 8296367 w 11625583"/>
              <a:gd name="connsiteY4014" fmla="*/ 1558040 h 6380470"/>
              <a:gd name="connsiteX4015" fmla="*/ 8231701 w 11625583"/>
              <a:gd name="connsiteY4015" fmla="*/ 1493374 h 6380470"/>
              <a:gd name="connsiteX4016" fmla="*/ 8296367 w 11625583"/>
              <a:gd name="connsiteY4016" fmla="*/ 1428710 h 6380470"/>
              <a:gd name="connsiteX4017" fmla="*/ 8139792 w 11625583"/>
              <a:gd name="connsiteY4017" fmla="*/ 1428710 h 6380470"/>
              <a:gd name="connsiteX4018" fmla="*/ 8204458 w 11625583"/>
              <a:gd name="connsiteY4018" fmla="*/ 1493374 h 6380470"/>
              <a:gd name="connsiteX4019" fmla="*/ 8139792 w 11625583"/>
              <a:gd name="connsiteY4019" fmla="*/ 1558040 h 6380470"/>
              <a:gd name="connsiteX4020" fmla="*/ 8075126 w 11625583"/>
              <a:gd name="connsiteY4020" fmla="*/ 1493374 h 6380470"/>
              <a:gd name="connsiteX4021" fmla="*/ 8139792 w 11625583"/>
              <a:gd name="connsiteY4021" fmla="*/ 1428710 h 6380470"/>
              <a:gd name="connsiteX4022" fmla="*/ 7987133 w 11625583"/>
              <a:gd name="connsiteY4022" fmla="*/ 1428710 h 6380470"/>
              <a:gd name="connsiteX4023" fmla="*/ 8051799 w 11625583"/>
              <a:gd name="connsiteY4023" fmla="*/ 1493374 h 6380470"/>
              <a:gd name="connsiteX4024" fmla="*/ 7987133 w 11625583"/>
              <a:gd name="connsiteY4024" fmla="*/ 1558040 h 6380470"/>
              <a:gd name="connsiteX4025" fmla="*/ 7922467 w 11625583"/>
              <a:gd name="connsiteY4025" fmla="*/ 1493374 h 6380470"/>
              <a:gd name="connsiteX4026" fmla="*/ 7987133 w 11625583"/>
              <a:gd name="connsiteY4026" fmla="*/ 1428710 h 6380470"/>
              <a:gd name="connsiteX4027" fmla="*/ 7830562 w 11625583"/>
              <a:gd name="connsiteY4027" fmla="*/ 1428710 h 6380470"/>
              <a:gd name="connsiteX4028" fmla="*/ 7895228 w 11625583"/>
              <a:gd name="connsiteY4028" fmla="*/ 1493374 h 6380470"/>
              <a:gd name="connsiteX4029" fmla="*/ 7830562 w 11625583"/>
              <a:gd name="connsiteY4029" fmla="*/ 1558040 h 6380470"/>
              <a:gd name="connsiteX4030" fmla="*/ 7765896 w 11625583"/>
              <a:gd name="connsiteY4030" fmla="*/ 1493374 h 6380470"/>
              <a:gd name="connsiteX4031" fmla="*/ 7830562 w 11625583"/>
              <a:gd name="connsiteY4031" fmla="*/ 1428710 h 6380470"/>
              <a:gd name="connsiteX4032" fmla="*/ 7677902 w 11625583"/>
              <a:gd name="connsiteY4032" fmla="*/ 1428710 h 6380470"/>
              <a:gd name="connsiteX4033" fmla="*/ 7742568 w 11625583"/>
              <a:gd name="connsiteY4033" fmla="*/ 1493374 h 6380470"/>
              <a:gd name="connsiteX4034" fmla="*/ 7677902 w 11625583"/>
              <a:gd name="connsiteY4034" fmla="*/ 1558040 h 6380470"/>
              <a:gd name="connsiteX4035" fmla="*/ 7613236 w 11625583"/>
              <a:gd name="connsiteY4035" fmla="*/ 1493374 h 6380470"/>
              <a:gd name="connsiteX4036" fmla="*/ 7677902 w 11625583"/>
              <a:gd name="connsiteY4036" fmla="*/ 1428710 h 6380470"/>
              <a:gd name="connsiteX4037" fmla="*/ 7521329 w 11625583"/>
              <a:gd name="connsiteY4037" fmla="*/ 1428710 h 6380470"/>
              <a:gd name="connsiteX4038" fmla="*/ 7585995 w 11625583"/>
              <a:gd name="connsiteY4038" fmla="*/ 1493374 h 6380470"/>
              <a:gd name="connsiteX4039" fmla="*/ 7521329 w 11625583"/>
              <a:gd name="connsiteY4039" fmla="*/ 1558040 h 6380470"/>
              <a:gd name="connsiteX4040" fmla="*/ 7456663 w 11625583"/>
              <a:gd name="connsiteY4040" fmla="*/ 1493374 h 6380470"/>
              <a:gd name="connsiteX4041" fmla="*/ 7521329 w 11625583"/>
              <a:gd name="connsiteY4041" fmla="*/ 1428710 h 6380470"/>
              <a:gd name="connsiteX4042" fmla="*/ 7368669 w 11625583"/>
              <a:gd name="connsiteY4042" fmla="*/ 1428710 h 6380470"/>
              <a:gd name="connsiteX4043" fmla="*/ 7433335 w 11625583"/>
              <a:gd name="connsiteY4043" fmla="*/ 1493374 h 6380470"/>
              <a:gd name="connsiteX4044" fmla="*/ 7368669 w 11625583"/>
              <a:gd name="connsiteY4044" fmla="*/ 1558040 h 6380470"/>
              <a:gd name="connsiteX4045" fmla="*/ 7304003 w 11625583"/>
              <a:gd name="connsiteY4045" fmla="*/ 1493374 h 6380470"/>
              <a:gd name="connsiteX4046" fmla="*/ 7368669 w 11625583"/>
              <a:gd name="connsiteY4046" fmla="*/ 1428710 h 6380470"/>
              <a:gd name="connsiteX4047" fmla="*/ 7212096 w 11625583"/>
              <a:gd name="connsiteY4047" fmla="*/ 1428710 h 6380470"/>
              <a:gd name="connsiteX4048" fmla="*/ 7276762 w 11625583"/>
              <a:gd name="connsiteY4048" fmla="*/ 1493374 h 6380470"/>
              <a:gd name="connsiteX4049" fmla="*/ 7212096 w 11625583"/>
              <a:gd name="connsiteY4049" fmla="*/ 1558040 h 6380470"/>
              <a:gd name="connsiteX4050" fmla="*/ 7147430 w 11625583"/>
              <a:gd name="connsiteY4050" fmla="*/ 1493374 h 6380470"/>
              <a:gd name="connsiteX4051" fmla="*/ 7212096 w 11625583"/>
              <a:gd name="connsiteY4051" fmla="*/ 1428710 h 6380470"/>
              <a:gd name="connsiteX4052" fmla="*/ 7055523 w 11625583"/>
              <a:gd name="connsiteY4052" fmla="*/ 1428710 h 6380470"/>
              <a:gd name="connsiteX4053" fmla="*/ 7120189 w 11625583"/>
              <a:gd name="connsiteY4053" fmla="*/ 1493374 h 6380470"/>
              <a:gd name="connsiteX4054" fmla="*/ 7055523 w 11625583"/>
              <a:gd name="connsiteY4054" fmla="*/ 1558040 h 6380470"/>
              <a:gd name="connsiteX4055" fmla="*/ 6990857 w 11625583"/>
              <a:gd name="connsiteY4055" fmla="*/ 1493374 h 6380470"/>
              <a:gd name="connsiteX4056" fmla="*/ 7055523 w 11625583"/>
              <a:gd name="connsiteY4056" fmla="*/ 1428710 h 6380470"/>
              <a:gd name="connsiteX4057" fmla="*/ 6895037 w 11625583"/>
              <a:gd name="connsiteY4057" fmla="*/ 1428710 h 6380470"/>
              <a:gd name="connsiteX4058" fmla="*/ 6959703 w 11625583"/>
              <a:gd name="connsiteY4058" fmla="*/ 1493374 h 6380470"/>
              <a:gd name="connsiteX4059" fmla="*/ 6895037 w 11625583"/>
              <a:gd name="connsiteY4059" fmla="*/ 1558040 h 6380470"/>
              <a:gd name="connsiteX4060" fmla="*/ 6830371 w 11625583"/>
              <a:gd name="connsiteY4060" fmla="*/ 1493374 h 6380470"/>
              <a:gd name="connsiteX4061" fmla="*/ 6895037 w 11625583"/>
              <a:gd name="connsiteY4061" fmla="*/ 1428710 h 6380470"/>
              <a:gd name="connsiteX4062" fmla="*/ 6742375 w 11625583"/>
              <a:gd name="connsiteY4062" fmla="*/ 1428710 h 6380470"/>
              <a:gd name="connsiteX4063" fmla="*/ 6807041 w 11625583"/>
              <a:gd name="connsiteY4063" fmla="*/ 1493374 h 6380470"/>
              <a:gd name="connsiteX4064" fmla="*/ 6742375 w 11625583"/>
              <a:gd name="connsiteY4064" fmla="*/ 1558040 h 6380470"/>
              <a:gd name="connsiteX4065" fmla="*/ 6677709 w 11625583"/>
              <a:gd name="connsiteY4065" fmla="*/ 1493374 h 6380470"/>
              <a:gd name="connsiteX4066" fmla="*/ 6742375 w 11625583"/>
              <a:gd name="connsiteY4066" fmla="*/ 1428710 h 6380470"/>
              <a:gd name="connsiteX4067" fmla="*/ 6585802 w 11625583"/>
              <a:gd name="connsiteY4067" fmla="*/ 1428710 h 6380470"/>
              <a:gd name="connsiteX4068" fmla="*/ 6650468 w 11625583"/>
              <a:gd name="connsiteY4068" fmla="*/ 1493374 h 6380470"/>
              <a:gd name="connsiteX4069" fmla="*/ 6585802 w 11625583"/>
              <a:gd name="connsiteY4069" fmla="*/ 1558040 h 6380470"/>
              <a:gd name="connsiteX4070" fmla="*/ 6521136 w 11625583"/>
              <a:gd name="connsiteY4070" fmla="*/ 1493374 h 6380470"/>
              <a:gd name="connsiteX4071" fmla="*/ 6585802 w 11625583"/>
              <a:gd name="connsiteY4071" fmla="*/ 1428710 h 6380470"/>
              <a:gd name="connsiteX4072" fmla="*/ 6429229 w 11625583"/>
              <a:gd name="connsiteY4072" fmla="*/ 1428710 h 6380470"/>
              <a:gd name="connsiteX4073" fmla="*/ 6493895 w 11625583"/>
              <a:gd name="connsiteY4073" fmla="*/ 1493374 h 6380470"/>
              <a:gd name="connsiteX4074" fmla="*/ 6429229 w 11625583"/>
              <a:gd name="connsiteY4074" fmla="*/ 1558040 h 6380470"/>
              <a:gd name="connsiteX4075" fmla="*/ 6364563 w 11625583"/>
              <a:gd name="connsiteY4075" fmla="*/ 1493374 h 6380470"/>
              <a:gd name="connsiteX4076" fmla="*/ 6429229 w 11625583"/>
              <a:gd name="connsiteY4076" fmla="*/ 1428710 h 6380470"/>
              <a:gd name="connsiteX4077" fmla="*/ 6276571 w 11625583"/>
              <a:gd name="connsiteY4077" fmla="*/ 1428710 h 6380470"/>
              <a:gd name="connsiteX4078" fmla="*/ 6341237 w 11625583"/>
              <a:gd name="connsiteY4078" fmla="*/ 1493374 h 6380470"/>
              <a:gd name="connsiteX4079" fmla="*/ 6276571 w 11625583"/>
              <a:gd name="connsiteY4079" fmla="*/ 1558040 h 6380470"/>
              <a:gd name="connsiteX4080" fmla="*/ 6211905 w 11625583"/>
              <a:gd name="connsiteY4080" fmla="*/ 1493374 h 6380470"/>
              <a:gd name="connsiteX4081" fmla="*/ 6276571 w 11625583"/>
              <a:gd name="connsiteY4081" fmla="*/ 1428710 h 6380470"/>
              <a:gd name="connsiteX4082" fmla="*/ 5967338 w 11625583"/>
              <a:gd name="connsiteY4082" fmla="*/ 1428710 h 6380470"/>
              <a:gd name="connsiteX4083" fmla="*/ 6032004 w 11625583"/>
              <a:gd name="connsiteY4083" fmla="*/ 1493374 h 6380470"/>
              <a:gd name="connsiteX4084" fmla="*/ 5967338 w 11625583"/>
              <a:gd name="connsiteY4084" fmla="*/ 1558040 h 6380470"/>
              <a:gd name="connsiteX4085" fmla="*/ 5902672 w 11625583"/>
              <a:gd name="connsiteY4085" fmla="*/ 1493374 h 6380470"/>
              <a:gd name="connsiteX4086" fmla="*/ 5967338 w 11625583"/>
              <a:gd name="connsiteY4086" fmla="*/ 1428710 h 6380470"/>
              <a:gd name="connsiteX4087" fmla="*/ 5810805 w 11625583"/>
              <a:gd name="connsiteY4087" fmla="*/ 1428710 h 6380470"/>
              <a:gd name="connsiteX4088" fmla="*/ 5875431 w 11625583"/>
              <a:gd name="connsiteY4088" fmla="*/ 1493374 h 6380470"/>
              <a:gd name="connsiteX4089" fmla="*/ 5810805 w 11625583"/>
              <a:gd name="connsiteY4089" fmla="*/ 1558040 h 6380470"/>
              <a:gd name="connsiteX4090" fmla="*/ 5746119 w 11625583"/>
              <a:gd name="connsiteY4090" fmla="*/ 1493374 h 6380470"/>
              <a:gd name="connsiteX4091" fmla="*/ 5810805 w 11625583"/>
              <a:gd name="connsiteY4091" fmla="*/ 1428710 h 6380470"/>
              <a:gd name="connsiteX4092" fmla="*/ 5658108 w 11625583"/>
              <a:gd name="connsiteY4092" fmla="*/ 1428710 h 6380470"/>
              <a:gd name="connsiteX4093" fmla="*/ 5722785 w 11625583"/>
              <a:gd name="connsiteY4093" fmla="*/ 1493374 h 6380470"/>
              <a:gd name="connsiteX4094" fmla="*/ 5658108 w 11625583"/>
              <a:gd name="connsiteY4094" fmla="*/ 1558040 h 6380470"/>
              <a:gd name="connsiteX4095" fmla="*/ 5593443 w 11625583"/>
              <a:gd name="connsiteY4095" fmla="*/ 1493374 h 6380470"/>
              <a:gd name="connsiteX4096" fmla="*/ 5658108 w 11625583"/>
              <a:gd name="connsiteY4096" fmla="*/ 1428710 h 6380470"/>
              <a:gd name="connsiteX4097" fmla="*/ 526542 w 11625583"/>
              <a:gd name="connsiteY4097" fmla="*/ 1428710 h 6380470"/>
              <a:gd name="connsiteX4098" fmla="*/ 591208 w 11625583"/>
              <a:gd name="connsiteY4098" fmla="*/ 1493374 h 6380470"/>
              <a:gd name="connsiteX4099" fmla="*/ 526542 w 11625583"/>
              <a:gd name="connsiteY4099" fmla="*/ 1558040 h 6380470"/>
              <a:gd name="connsiteX4100" fmla="*/ 461877 w 11625583"/>
              <a:gd name="connsiteY4100" fmla="*/ 1493374 h 6380470"/>
              <a:gd name="connsiteX4101" fmla="*/ 526542 w 11625583"/>
              <a:gd name="connsiteY4101" fmla="*/ 1428710 h 6380470"/>
              <a:gd name="connsiteX4102" fmla="*/ 373886 w 11625583"/>
              <a:gd name="connsiteY4102" fmla="*/ 1428710 h 6380470"/>
              <a:gd name="connsiteX4103" fmla="*/ 438551 w 11625583"/>
              <a:gd name="connsiteY4103" fmla="*/ 1493374 h 6380470"/>
              <a:gd name="connsiteX4104" fmla="*/ 373886 w 11625583"/>
              <a:gd name="connsiteY4104" fmla="*/ 1558040 h 6380470"/>
              <a:gd name="connsiteX4105" fmla="*/ 309221 w 11625583"/>
              <a:gd name="connsiteY4105" fmla="*/ 1493374 h 6380470"/>
              <a:gd name="connsiteX4106" fmla="*/ 373886 w 11625583"/>
              <a:gd name="connsiteY4106" fmla="*/ 1428710 h 6380470"/>
              <a:gd name="connsiteX4107" fmla="*/ 217317 w 11625583"/>
              <a:gd name="connsiteY4107" fmla="*/ 1428710 h 6380470"/>
              <a:gd name="connsiteX4108" fmla="*/ 281982 w 11625583"/>
              <a:gd name="connsiteY4108" fmla="*/ 1493374 h 6380470"/>
              <a:gd name="connsiteX4109" fmla="*/ 217317 w 11625583"/>
              <a:gd name="connsiteY4109" fmla="*/ 1558040 h 6380470"/>
              <a:gd name="connsiteX4110" fmla="*/ 152652 w 11625583"/>
              <a:gd name="connsiteY4110" fmla="*/ 1493374 h 6380470"/>
              <a:gd name="connsiteX4111" fmla="*/ 217317 w 11625583"/>
              <a:gd name="connsiteY4111" fmla="*/ 1428710 h 6380470"/>
              <a:gd name="connsiteX4112" fmla="*/ 5348888 w 11625583"/>
              <a:gd name="connsiteY4112" fmla="*/ 1428708 h 6380470"/>
              <a:gd name="connsiteX4113" fmla="*/ 5413557 w 11625583"/>
              <a:gd name="connsiteY4113" fmla="*/ 1493374 h 6380470"/>
              <a:gd name="connsiteX4114" fmla="*/ 5348888 w 11625583"/>
              <a:gd name="connsiteY4114" fmla="*/ 1558038 h 6380470"/>
              <a:gd name="connsiteX4115" fmla="*/ 5284237 w 11625583"/>
              <a:gd name="connsiteY4115" fmla="*/ 1493374 h 6380470"/>
              <a:gd name="connsiteX4116" fmla="*/ 5348888 w 11625583"/>
              <a:gd name="connsiteY4116" fmla="*/ 1428708 h 6380470"/>
              <a:gd name="connsiteX4117" fmla="*/ 3321398 w 11625583"/>
              <a:gd name="connsiteY4117" fmla="*/ 1428708 h 6380470"/>
              <a:gd name="connsiteX4118" fmla="*/ 3386040 w 11625583"/>
              <a:gd name="connsiteY4118" fmla="*/ 1493374 h 6380470"/>
              <a:gd name="connsiteX4119" fmla="*/ 3321398 w 11625583"/>
              <a:gd name="connsiteY4119" fmla="*/ 1558038 h 6380470"/>
              <a:gd name="connsiteX4120" fmla="*/ 3256733 w 11625583"/>
              <a:gd name="connsiteY4120" fmla="*/ 1493374 h 6380470"/>
              <a:gd name="connsiteX4121" fmla="*/ 3321398 w 11625583"/>
              <a:gd name="connsiteY4121" fmla="*/ 1428708 h 6380470"/>
              <a:gd name="connsiteX4122" fmla="*/ 3172644 w 11625583"/>
              <a:gd name="connsiteY4122" fmla="*/ 1428708 h 6380470"/>
              <a:gd name="connsiteX4123" fmla="*/ 3237318 w 11625583"/>
              <a:gd name="connsiteY4123" fmla="*/ 1493374 h 6380470"/>
              <a:gd name="connsiteX4124" fmla="*/ 3172644 w 11625583"/>
              <a:gd name="connsiteY4124" fmla="*/ 1558038 h 6380470"/>
              <a:gd name="connsiteX4125" fmla="*/ 3107959 w 11625583"/>
              <a:gd name="connsiteY4125" fmla="*/ 1493374 h 6380470"/>
              <a:gd name="connsiteX4126" fmla="*/ 3172644 w 11625583"/>
              <a:gd name="connsiteY4126" fmla="*/ 1428708 h 6380470"/>
              <a:gd name="connsiteX4127" fmla="*/ 3012125 w 11625583"/>
              <a:gd name="connsiteY4127" fmla="*/ 1428708 h 6380470"/>
              <a:gd name="connsiteX4128" fmla="*/ 3076794 w 11625583"/>
              <a:gd name="connsiteY4128" fmla="*/ 1493374 h 6380470"/>
              <a:gd name="connsiteX4129" fmla="*/ 3012125 w 11625583"/>
              <a:gd name="connsiteY4129" fmla="*/ 1558038 h 6380470"/>
              <a:gd name="connsiteX4130" fmla="*/ 2947469 w 11625583"/>
              <a:gd name="connsiteY4130" fmla="*/ 1493374 h 6380470"/>
              <a:gd name="connsiteX4131" fmla="*/ 3012125 w 11625583"/>
              <a:gd name="connsiteY4131" fmla="*/ 1428708 h 6380470"/>
              <a:gd name="connsiteX4132" fmla="*/ 2389803 w 11625583"/>
              <a:gd name="connsiteY4132" fmla="*/ 1428708 h 6380470"/>
              <a:gd name="connsiteX4133" fmla="*/ 2454493 w 11625583"/>
              <a:gd name="connsiteY4133" fmla="*/ 1493374 h 6380470"/>
              <a:gd name="connsiteX4134" fmla="*/ 2389803 w 11625583"/>
              <a:gd name="connsiteY4134" fmla="*/ 1558038 h 6380470"/>
              <a:gd name="connsiteX4135" fmla="*/ 2325157 w 11625583"/>
              <a:gd name="connsiteY4135" fmla="*/ 1493374 h 6380470"/>
              <a:gd name="connsiteX4136" fmla="*/ 2389803 w 11625583"/>
              <a:gd name="connsiteY4136" fmla="*/ 1428708 h 6380470"/>
              <a:gd name="connsiteX4137" fmla="*/ 2237136 w 11625583"/>
              <a:gd name="connsiteY4137" fmla="*/ 1428708 h 6380470"/>
              <a:gd name="connsiteX4138" fmla="*/ 2301822 w 11625583"/>
              <a:gd name="connsiteY4138" fmla="*/ 1493374 h 6380470"/>
              <a:gd name="connsiteX4139" fmla="*/ 2237136 w 11625583"/>
              <a:gd name="connsiteY4139" fmla="*/ 1558038 h 6380470"/>
              <a:gd name="connsiteX4140" fmla="*/ 2172451 w 11625583"/>
              <a:gd name="connsiteY4140" fmla="*/ 1493374 h 6380470"/>
              <a:gd name="connsiteX4141" fmla="*/ 2237136 w 11625583"/>
              <a:gd name="connsiteY4141" fmla="*/ 1428708 h 6380470"/>
              <a:gd name="connsiteX4142" fmla="*/ 2084457 w 11625583"/>
              <a:gd name="connsiteY4142" fmla="*/ 1428708 h 6380470"/>
              <a:gd name="connsiteX4143" fmla="*/ 2149118 w 11625583"/>
              <a:gd name="connsiteY4143" fmla="*/ 1493374 h 6380470"/>
              <a:gd name="connsiteX4144" fmla="*/ 2084457 w 11625583"/>
              <a:gd name="connsiteY4144" fmla="*/ 1558038 h 6380470"/>
              <a:gd name="connsiteX4145" fmla="*/ 2019816 w 11625583"/>
              <a:gd name="connsiteY4145" fmla="*/ 1493374 h 6380470"/>
              <a:gd name="connsiteX4146" fmla="*/ 2084457 w 11625583"/>
              <a:gd name="connsiteY4146" fmla="*/ 1428708 h 6380470"/>
              <a:gd name="connsiteX4147" fmla="*/ 1927872 w 11625583"/>
              <a:gd name="connsiteY4147" fmla="*/ 1428708 h 6380470"/>
              <a:gd name="connsiteX4148" fmla="*/ 1992557 w 11625583"/>
              <a:gd name="connsiteY4148" fmla="*/ 1493374 h 6380470"/>
              <a:gd name="connsiteX4149" fmla="*/ 1927872 w 11625583"/>
              <a:gd name="connsiteY4149" fmla="*/ 1558038 h 6380470"/>
              <a:gd name="connsiteX4150" fmla="*/ 1863233 w 11625583"/>
              <a:gd name="connsiteY4150" fmla="*/ 1493374 h 6380470"/>
              <a:gd name="connsiteX4151" fmla="*/ 1927872 w 11625583"/>
              <a:gd name="connsiteY4151" fmla="*/ 1428708 h 6380470"/>
              <a:gd name="connsiteX4152" fmla="*/ 1775219 w 11625583"/>
              <a:gd name="connsiteY4152" fmla="*/ 1428708 h 6380470"/>
              <a:gd name="connsiteX4153" fmla="*/ 1839905 w 11625583"/>
              <a:gd name="connsiteY4153" fmla="*/ 1493374 h 6380470"/>
              <a:gd name="connsiteX4154" fmla="*/ 1775219 w 11625583"/>
              <a:gd name="connsiteY4154" fmla="*/ 1558038 h 6380470"/>
              <a:gd name="connsiteX4155" fmla="*/ 1710549 w 11625583"/>
              <a:gd name="connsiteY4155" fmla="*/ 1493374 h 6380470"/>
              <a:gd name="connsiteX4156" fmla="*/ 1775219 w 11625583"/>
              <a:gd name="connsiteY4156" fmla="*/ 1428708 h 6380470"/>
              <a:gd name="connsiteX4157" fmla="*/ 1618636 w 11625583"/>
              <a:gd name="connsiteY4157" fmla="*/ 1428708 h 6380470"/>
              <a:gd name="connsiteX4158" fmla="*/ 1683307 w 11625583"/>
              <a:gd name="connsiteY4158" fmla="*/ 1493374 h 6380470"/>
              <a:gd name="connsiteX4159" fmla="*/ 1618636 w 11625583"/>
              <a:gd name="connsiteY4159" fmla="*/ 1558038 h 6380470"/>
              <a:gd name="connsiteX4160" fmla="*/ 1553973 w 11625583"/>
              <a:gd name="connsiteY4160" fmla="*/ 1493374 h 6380470"/>
              <a:gd name="connsiteX4161" fmla="*/ 1618636 w 11625583"/>
              <a:gd name="connsiteY4161" fmla="*/ 1428708 h 6380470"/>
              <a:gd name="connsiteX4162" fmla="*/ 1465980 w 11625583"/>
              <a:gd name="connsiteY4162" fmla="*/ 1428708 h 6380470"/>
              <a:gd name="connsiteX4163" fmla="*/ 1530647 w 11625583"/>
              <a:gd name="connsiteY4163" fmla="*/ 1493374 h 6380470"/>
              <a:gd name="connsiteX4164" fmla="*/ 1465980 w 11625583"/>
              <a:gd name="connsiteY4164" fmla="*/ 1558038 h 6380470"/>
              <a:gd name="connsiteX4165" fmla="*/ 1401318 w 11625583"/>
              <a:gd name="connsiteY4165" fmla="*/ 1493374 h 6380470"/>
              <a:gd name="connsiteX4166" fmla="*/ 1465980 w 11625583"/>
              <a:gd name="connsiteY4166" fmla="*/ 1428708 h 6380470"/>
              <a:gd name="connsiteX4167" fmla="*/ 1309407 w 11625583"/>
              <a:gd name="connsiteY4167" fmla="*/ 1428708 h 6380470"/>
              <a:gd name="connsiteX4168" fmla="*/ 1374073 w 11625583"/>
              <a:gd name="connsiteY4168" fmla="*/ 1493374 h 6380470"/>
              <a:gd name="connsiteX4169" fmla="*/ 1309407 w 11625583"/>
              <a:gd name="connsiteY4169" fmla="*/ 1558038 h 6380470"/>
              <a:gd name="connsiteX4170" fmla="*/ 1244742 w 11625583"/>
              <a:gd name="connsiteY4170" fmla="*/ 1493374 h 6380470"/>
              <a:gd name="connsiteX4171" fmla="*/ 1309407 w 11625583"/>
              <a:gd name="connsiteY4171" fmla="*/ 1428708 h 6380470"/>
              <a:gd name="connsiteX4172" fmla="*/ 1148923 w 11625583"/>
              <a:gd name="connsiteY4172" fmla="*/ 1428708 h 6380470"/>
              <a:gd name="connsiteX4173" fmla="*/ 1213588 w 11625583"/>
              <a:gd name="connsiteY4173" fmla="*/ 1493374 h 6380470"/>
              <a:gd name="connsiteX4174" fmla="*/ 1148923 w 11625583"/>
              <a:gd name="connsiteY4174" fmla="*/ 1558038 h 6380470"/>
              <a:gd name="connsiteX4175" fmla="*/ 1084258 w 11625583"/>
              <a:gd name="connsiteY4175" fmla="*/ 1493374 h 6380470"/>
              <a:gd name="connsiteX4176" fmla="*/ 1148923 w 11625583"/>
              <a:gd name="connsiteY4176" fmla="*/ 1428708 h 6380470"/>
              <a:gd name="connsiteX4177" fmla="*/ 11095111 w 11625583"/>
              <a:gd name="connsiteY4177" fmla="*/ 1287791 h 6380470"/>
              <a:gd name="connsiteX4178" fmla="*/ 11159777 w 11625583"/>
              <a:gd name="connsiteY4178" fmla="*/ 1352456 h 6380470"/>
              <a:gd name="connsiteX4179" fmla="*/ 11095111 w 11625583"/>
              <a:gd name="connsiteY4179" fmla="*/ 1417123 h 6380470"/>
              <a:gd name="connsiteX4180" fmla="*/ 11030445 w 11625583"/>
              <a:gd name="connsiteY4180" fmla="*/ 1352456 h 6380470"/>
              <a:gd name="connsiteX4181" fmla="*/ 11095111 w 11625583"/>
              <a:gd name="connsiteY4181" fmla="*/ 1287791 h 6380470"/>
              <a:gd name="connsiteX4182" fmla="*/ 10938538 w 11625583"/>
              <a:gd name="connsiteY4182" fmla="*/ 1287791 h 6380470"/>
              <a:gd name="connsiteX4183" fmla="*/ 11003204 w 11625583"/>
              <a:gd name="connsiteY4183" fmla="*/ 1352456 h 6380470"/>
              <a:gd name="connsiteX4184" fmla="*/ 10938538 w 11625583"/>
              <a:gd name="connsiteY4184" fmla="*/ 1417123 h 6380470"/>
              <a:gd name="connsiteX4185" fmla="*/ 10873872 w 11625583"/>
              <a:gd name="connsiteY4185" fmla="*/ 1352456 h 6380470"/>
              <a:gd name="connsiteX4186" fmla="*/ 10938538 w 11625583"/>
              <a:gd name="connsiteY4186" fmla="*/ 1287791 h 6380470"/>
              <a:gd name="connsiteX4187" fmla="*/ 10778051 w 11625583"/>
              <a:gd name="connsiteY4187" fmla="*/ 1287791 h 6380470"/>
              <a:gd name="connsiteX4188" fmla="*/ 10842717 w 11625583"/>
              <a:gd name="connsiteY4188" fmla="*/ 1352456 h 6380470"/>
              <a:gd name="connsiteX4189" fmla="*/ 10778051 w 11625583"/>
              <a:gd name="connsiteY4189" fmla="*/ 1417123 h 6380470"/>
              <a:gd name="connsiteX4190" fmla="*/ 10713385 w 11625583"/>
              <a:gd name="connsiteY4190" fmla="*/ 1352456 h 6380470"/>
              <a:gd name="connsiteX4191" fmla="*/ 10778051 w 11625583"/>
              <a:gd name="connsiteY4191" fmla="*/ 1287791 h 6380470"/>
              <a:gd name="connsiteX4192" fmla="*/ 10625391 w 11625583"/>
              <a:gd name="connsiteY4192" fmla="*/ 1287791 h 6380470"/>
              <a:gd name="connsiteX4193" fmla="*/ 10690057 w 11625583"/>
              <a:gd name="connsiteY4193" fmla="*/ 1352456 h 6380470"/>
              <a:gd name="connsiteX4194" fmla="*/ 10625391 w 11625583"/>
              <a:gd name="connsiteY4194" fmla="*/ 1417123 h 6380470"/>
              <a:gd name="connsiteX4195" fmla="*/ 10560725 w 11625583"/>
              <a:gd name="connsiteY4195" fmla="*/ 1352456 h 6380470"/>
              <a:gd name="connsiteX4196" fmla="*/ 10625391 w 11625583"/>
              <a:gd name="connsiteY4196" fmla="*/ 1287791 h 6380470"/>
              <a:gd name="connsiteX4197" fmla="*/ 10468818 w 11625583"/>
              <a:gd name="connsiteY4197" fmla="*/ 1287791 h 6380470"/>
              <a:gd name="connsiteX4198" fmla="*/ 10533484 w 11625583"/>
              <a:gd name="connsiteY4198" fmla="*/ 1352456 h 6380470"/>
              <a:gd name="connsiteX4199" fmla="*/ 10468818 w 11625583"/>
              <a:gd name="connsiteY4199" fmla="*/ 1417123 h 6380470"/>
              <a:gd name="connsiteX4200" fmla="*/ 10404152 w 11625583"/>
              <a:gd name="connsiteY4200" fmla="*/ 1352456 h 6380470"/>
              <a:gd name="connsiteX4201" fmla="*/ 10468818 w 11625583"/>
              <a:gd name="connsiteY4201" fmla="*/ 1287791 h 6380470"/>
              <a:gd name="connsiteX4202" fmla="*/ 10312244 w 11625583"/>
              <a:gd name="connsiteY4202" fmla="*/ 1287791 h 6380470"/>
              <a:gd name="connsiteX4203" fmla="*/ 10376910 w 11625583"/>
              <a:gd name="connsiteY4203" fmla="*/ 1352456 h 6380470"/>
              <a:gd name="connsiteX4204" fmla="*/ 10312244 w 11625583"/>
              <a:gd name="connsiteY4204" fmla="*/ 1417123 h 6380470"/>
              <a:gd name="connsiteX4205" fmla="*/ 10247578 w 11625583"/>
              <a:gd name="connsiteY4205" fmla="*/ 1352456 h 6380470"/>
              <a:gd name="connsiteX4206" fmla="*/ 10312244 w 11625583"/>
              <a:gd name="connsiteY4206" fmla="*/ 1287791 h 6380470"/>
              <a:gd name="connsiteX4207" fmla="*/ 10159586 w 11625583"/>
              <a:gd name="connsiteY4207" fmla="*/ 1287791 h 6380470"/>
              <a:gd name="connsiteX4208" fmla="*/ 10224252 w 11625583"/>
              <a:gd name="connsiteY4208" fmla="*/ 1352456 h 6380470"/>
              <a:gd name="connsiteX4209" fmla="*/ 10159586 w 11625583"/>
              <a:gd name="connsiteY4209" fmla="*/ 1417123 h 6380470"/>
              <a:gd name="connsiteX4210" fmla="*/ 10094920 w 11625583"/>
              <a:gd name="connsiteY4210" fmla="*/ 1352456 h 6380470"/>
              <a:gd name="connsiteX4211" fmla="*/ 10159586 w 11625583"/>
              <a:gd name="connsiteY4211" fmla="*/ 1287791 h 6380470"/>
              <a:gd name="connsiteX4212" fmla="*/ 10003015 w 11625583"/>
              <a:gd name="connsiteY4212" fmla="*/ 1287791 h 6380470"/>
              <a:gd name="connsiteX4213" fmla="*/ 10067681 w 11625583"/>
              <a:gd name="connsiteY4213" fmla="*/ 1352456 h 6380470"/>
              <a:gd name="connsiteX4214" fmla="*/ 10003015 w 11625583"/>
              <a:gd name="connsiteY4214" fmla="*/ 1417123 h 6380470"/>
              <a:gd name="connsiteX4215" fmla="*/ 9938349 w 11625583"/>
              <a:gd name="connsiteY4215" fmla="*/ 1352456 h 6380470"/>
              <a:gd name="connsiteX4216" fmla="*/ 10003015 w 11625583"/>
              <a:gd name="connsiteY4216" fmla="*/ 1287791 h 6380470"/>
              <a:gd name="connsiteX4217" fmla="*/ 9850355 w 11625583"/>
              <a:gd name="connsiteY4217" fmla="*/ 1287791 h 6380470"/>
              <a:gd name="connsiteX4218" fmla="*/ 9915021 w 11625583"/>
              <a:gd name="connsiteY4218" fmla="*/ 1352456 h 6380470"/>
              <a:gd name="connsiteX4219" fmla="*/ 9850355 w 11625583"/>
              <a:gd name="connsiteY4219" fmla="*/ 1417123 h 6380470"/>
              <a:gd name="connsiteX4220" fmla="*/ 9785689 w 11625583"/>
              <a:gd name="connsiteY4220" fmla="*/ 1352456 h 6380470"/>
              <a:gd name="connsiteX4221" fmla="*/ 9850355 w 11625583"/>
              <a:gd name="connsiteY4221" fmla="*/ 1287791 h 6380470"/>
              <a:gd name="connsiteX4222" fmla="*/ 9693780 w 11625583"/>
              <a:gd name="connsiteY4222" fmla="*/ 1287791 h 6380470"/>
              <a:gd name="connsiteX4223" fmla="*/ 9758446 w 11625583"/>
              <a:gd name="connsiteY4223" fmla="*/ 1352456 h 6380470"/>
              <a:gd name="connsiteX4224" fmla="*/ 9693780 w 11625583"/>
              <a:gd name="connsiteY4224" fmla="*/ 1417123 h 6380470"/>
              <a:gd name="connsiteX4225" fmla="*/ 9629114 w 11625583"/>
              <a:gd name="connsiteY4225" fmla="*/ 1352456 h 6380470"/>
              <a:gd name="connsiteX4226" fmla="*/ 9693780 w 11625583"/>
              <a:gd name="connsiteY4226" fmla="*/ 1287791 h 6380470"/>
              <a:gd name="connsiteX4227" fmla="*/ 9541122 w 11625583"/>
              <a:gd name="connsiteY4227" fmla="*/ 1287791 h 6380470"/>
              <a:gd name="connsiteX4228" fmla="*/ 9605788 w 11625583"/>
              <a:gd name="connsiteY4228" fmla="*/ 1352456 h 6380470"/>
              <a:gd name="connsiteX4229" fmla="*/ 9541122 w 11625583"/>
              <a:gd name="connsiteY4229" fmla="*/ 1417123 h 6380470"/>
              <a:gd name="connsiteX4230" fmla="*/ 9476456 w 11625583"/>
              <a:gd name="connsiteY4230" fmla="*/ 1352456 h 6380470"/>
              <a:gd name="connsiteX4231" fmla="*/ 9541122 w 11625583"/>
              <a:gd name="connsiteY4231" fmla="*/ 1287791 h 6380470"/>
              <a:gd name="connsiteX4232" fmla="*/ 9384549 w 11625583"/>
              <a:gd name="connsiteY4232" fmla="*/ 1287791 h 6380470"/>
              <a:gd name="connsiteX4233" fmla="*/ 9449215 w 11625583"/>
              <a:gd name="connsiteY4233" fmla="*/ 1352456 h 6380470"/>
              <a:gd name="connsiteX4234" fmla="*/ 9384549 w 11625583"/>
              <a:gd name="connsiteY4234" fmla="*/ 1417123 h 6380470"/>
              <a:gd name="connsiteX4235" fmla="*/ 9319883 w 11625583"/>
              <a:gd name="connsiteY4235" fmla="*/ 1352456 h 6380470"/>
              <a:gd name="connsiteX4236" fmla="*/ 9384549 w 11625583"/>
              <a:gd name="connsiteY4236" fmla="*/ 1287791 h 6380470"/>
              <a:gd name="connsiteX4237" fmla="*/ 9227976 w 11625583"/>
              <a:gd name="connsiteY4237" fmla="*/ 1287791 h 6380470"/>
              <a:gd name="connsiteX4238" fmla="*/ 9292642 w 11625583"/>
              <a:gd name="connsiteY4238" fmla="*/ 1352456 h 6380470"/>
              <a:gd name="connsiteX4239" fmla="*/ 9227976 w 11625583"/>
              <a:gd name="connsiteY4239" fmla="*/ 1417123 h 6380470"/>
              <a:gd name="connsiteX4240" fmla="*/ 9163310 w 11625583"/>
              <a:gd name="connsiteY4240" fmla="*/ 1352456 h 6380470"/>
              <a:gd name="connsiteX4241" fmla="*/ 9227976 w 11625583"/>
              <a:gd name="connsiteY4241" fmla="*/ 1287791 h 6380470"/>
              <a:gd name="connsiteX4242" fmla="*/ 9075316 w 11625583"/>
              <a:gd name="connsiteY4242" fmla="*/ 1287791 h 6380470"/>
              <a:gd name="connsiteX4243" fmla="*/ 9139982 w 11625583"/>
              <a:gd name="connsiteY4243" fmla="*/ 1352456 h 6380470"/>
              <a:gd name="connsiteX4244" fmla="*/ 9075316 w 11625583"/>
              <a:gd name="connsiteY4244" fmla="*/ 1417123 h 6380470"/>
              <a:gd name="connsiteX4245" fmla="*/ 9010650 w 11625583"/>
              <a:gd name="connsiteY4245" fmla="*/ 1352456 h 6380470"/>
              <a:gd name="connsiteX4246" fmla="*/ 9075316 w 11625583"/>
              <a:gd name="connsiteY4246" fmla="*/ 1287791 h 6380470"/>
              <a:gd name="connsiteX4247" fmla="*/ 8914828 w 11625583"/>
              <a:gd name="connsiteY4247" fmla="*/ 1287791 h 6380470"/>
              <a:gd name="connsiteX4248" fmla="*/ 8979494 w 11625583"/>
              <a:gd name="connsiteY4248" fmla="*/ 1352456 h 6380470"/>
              <a:gd name="connsiteX4249" fmla="*/ 8914828 w 11625583"/>
              <a:gd name="connsiteY4249" fmla="*/ 1417123 h 6380470"/>
              <a:gd name="connsiteX4250" fmla="*/ 8850162 w 11625583"/>
              <a:gd name="connsiteY4250" fmla="*/ 1352456 h 6380470"/>
              <a:gd name="connsiteX4251" fmla="*/ 8914828 w 11625583"/>
              <a:gd name="connsiteY4251" fmla="*/ 1287791 h 6380470"/>
              <a:gd name="connsiteX4252" fmla="*/ 8766084 w 11625583"/>
              <a:gd name="connsiteY4252" fmla="*/ 1287791 h 6380470"/>
              <a:gd name="connsiteX4253" fmla="*/ 8830750 w 11625583"/>
              <a:gd name="connsiteY4253" fmla="*/ 1352456 h 6380470"/>
              <a:gd name="connsiteX4254" fmla="*/ 8766084 w 11625583"/>
              <a:gd name="connsiteY4254" fmla="*/ 1417123 h 6380470"/>
              <a:gd name="connsiteX4255" fmla="*/ 8701418 w 11625583"/>
              <a:gd name="connsiteY4255" fmla="*/ 1352456 h 6380470"/>
              <a:gd name="connsiteX4256" fmla="*/ 8766084 w 11625583"/>
              <a:gd name="connsiteY4256" fmla="*/ 1287791 h 6380470"/>
              <a:gd name="connsiteX4257" fmla="*/ 8601682 w 11625583"/>
              <a:gd name="connsiteY4257" fmla="*/ 1287791 h 6380470"/>
              <a:gd name="connsiteX4258" fmla="*/ 8666348 w 11625583"/>
              <a:gd name="connsiteY4258" fmla="*/ 1352456 h 6380470"/>
              <a:gd name="connsiteX4259" fmla="*/ 8601682 w 11625583"/>
              <a:gd name="connsiteY4259" fmla="*/ 1417123 h 6380470"/>
              <a:gd name="connsiteX4260" fmla="*/ 8537016 w 11625583"/>
              <a:gd name="connsiteY4260" fmla="*/ 1352456 h 6380470"/>
              <a:gd name="connsiteX4261" fmla="*/ 8601682 w 11625583"/>
              <a:gd name="connsiteY4261" fmla="*/ 1287791 h 6380470"/>
              <a:gd name="connsiteX4262" fmla="*/ 8449023 w 11625583"/>
              <a:gd name="connsiteY4262" fmla="*/ 1287791 h 6380470"/>
              <a:gd name="connsiteX4263" fmla="*/ 8513689 w 11625583"/>
              <a:gd name="connsiteY4263" fmla="*/ 1352456 h 6380470"/>
              <a:gd name="connsiteX4264" fmla="*/ 8449023 w 11625583"/>
              <a:gd name="connsiteY4264" fmla="*/ 1417123 h 6380470"/>
              <a:gd name="connsiteX4265" fmla="*/ 8384357 w 11625583"/>
              <a:gd name="connsiteY4265" fmla="*/ 1352456 h 6380470"/>
              <a:gd name="connsiteX4266" fmla="*/ 8449023 w 11625583"/>
              <a:gd name="connsiteY4266" fmla="*/ 1287791 h 6380470"/>
              <a:gd name="connsiteX4267" fmla="*/ 8296365 w 11625583"/>
              <a:gd name="connsiteY4267" fmla="*/ 1287791 h 6380470"/>
              <a:gd name="connsiteX4268" fmla="*/ 8361031 w 11625583"/>
              <a:gd name="connsiteY4268" fmla="*/ 1352456 h 6380470"/>
              <a:gd name="connsiteX4269" fmla="*/ 8296365 w 11625583"/>
              <a:gd name="connsiteY4269" fmla="*/ 1417123 h 6380470"/>
              <a:gd name="connsiteX4270" fmla="*/ 8231699 w 11625583"/>
              <a:gd name="connsiteY4270" fmla="*/ 1352456 h 6380470"/>
              <a:gd name="connsiteX4271" fmla="*/ 8296365 w 11625583"/>
              <a:gd name="connsiteY4271" fmla="*/ 1287791 h 6380470"/>
              <a:gd name="connsiteX4272" fmla="*/ 8139790 w 11625583"/>
              <a:gd name="connsiteY4272" fmla="*/ 1287791 h 6380470"/>
              <a:gd name="connsiteX4273" fmla="*/ 8204456 w 11625583"/>
              <a:gd name="connsiteY4273" fmla="*/ 1352456 h 6380470"/>
              <a:gd name="connsiteX4274" fmla="*/ 8139790 w 11625583"/>
              <a:gd name="connsiteY4274" fmla="*/ 1417123 h 6380470"/>
              <a:gd name="connsiteX4275" fmla="*/ 8075124 w 11625583"/>
              <a:gd name="connsiteY4275" fmla="*/ 1352456 h 6380470"/>
              <a:gd name="connsiteX4276" fmla="*/ 8139790 w 11625583"/>
              <a:gd name="connsiteY4276" fmla="*/ 1287791 h 6380470"/>
              <a:gd name="connsiteX4277" fmla="*/ 7987132 w 11625583"/>
              <a:gd name="connsiteY4277" fmla="*/ 1287791 h 6380470"/>
              <a:gd name="connsiteX4278" fmla="*/ 8051798 w 11625583"/>
              <a:gd name="connsiteY4278" fmla="*/ 1352456 h 6380470"/>
              <a:gd name="connsiteX4279" fmla="*/ 7987132 w 11625583"/>
              <a:gd name="connsiteY4279" fmla="*/ 1417123 h 6380470"/>
              <a:gd name="connsiteX4280" fmla="*/ 7922466 w 11625583"/>
              <a:gd name="connsiteY4280" fmla="*/ 1352456 h 6380470"/>
              <a:gd name="connsiteX4281" fmla="*/ 7987132 w 11625583"/>
              <a:gd name="connsiteY4281" fmla="*/ 1287791 h 6380470"/>
              <a:gd name="connsiteX4282" fmla="*/ 7830560 w 11625583"/>
              <a:gd name="connsiteY4282" fmla="*/ 1287791 h 6380470"/>
              <a:gd name="connsiteX4283" fmla="*/ 7895226 w 11625583"/>
              <a:gd name="connsiteY4283" fmla="*/ 1352456 h 6380470"/>
              <a:gd name="connsiteX4284" fmla="*/ 7830560 w 11625583"/>
              <a:gd name="connsiteY4284" fmla="*/ 1417123 h 6380470"/>
              <a:gd name="connsiteX4285" fmla="*/ 7765894 w 11625583"/>
              <a:gd name="connsiteY4285" fmla="*/ 1352456 h 6380470"/>
              <a:gd name="connsiteX4286" fmla="*/ 7830560 w 11625583"/>
              <a:gd name="connsiteY4286" fmla="*/ 1287791 h 6380470"/>
              <a:gd name="connsiteX4287" fmla="*/ 7677900 w 11625583"/>
              <a:gd name="connsiteY4287" fmla="*/ 1287791 h 6380470"/>
              <a:gd name="connsiteX4288" fmla="*/ 7742566 w 11625583"/>
              <a:gd name="connsiteY4288" fmla="*/ 1352456 h 6380470"/>
              <a:gd name="connsiteX4289" fmla="*/ 7677900 w 11625583"/>
              <a:gd name="connsiteY4289" fmla="*/ 1417123 h 6380470"/>
              <a:gd name="connsiteX4290" fmla="*/ 7613234 w 11625583"/>
              <a:gd name="connsiteY4290" fmla="*/ 1352456 h 6380470"/>
              <a:gd name="connsiteX4291" fmla="*/ 7677900 w 11625583"/>
              <a:gd name="connsiteY4291" fmla="*/ 1287791 h 6380470"/>
              <a:gd name="connsiteX4292" fmla="*/ 7521327 w 11625583"/>
              <a:gd name="connsiteY4292" fmla="*/ 1287791 h 6380470"/>
              <a:gd name="connsiteX4293" fmla="*/ 7585993 w 11625583"/>
              <a:gd name="connsiteY4293" fmla="*/ 1352456 h 6380470"/>
              <a:gd name="connsiteX4294" fmla="*/ 7521327 w 11625583"/>
              <a:gd name="connsiteY4294" fmla="*/ 1417123 h 6380470"/>
              <a:gd name="connsiteX4295" fmla="*/ 7456661 w 11625583"/>
              <a:gd name="connsiteY4295" fmla="*/ 1352456 h 6380470"/>
              <a:gd name="connsiteX4296" fmla="*/ 7521327 w 11625583"/>
              <a:gd name="connsiteY4296" fmla="*/ 1287791 h 6380470"/>
              <a:gd name="connsiteX4297" fmla="*/ 7368667 w 11625583"/>
              <a:gd name="connsiteY4297" fmla="*/ 1287791 h 6380470"/>
              <a:gd name="connsiteX4298" fmla="*/ 7433333 w 11625583"/>
              <a:gd name="connsiteY4298" fmla="*/ 1352456 h 6380470"/>
              <a:gd name="connsiteX4299" fmla="*/ 7368667 w 11625583"/>
              <a:gd name="connsiteY4299" fmla="*/ 1417123 h 6380470"/>
              <a:gd name="connsiteX4300" fmla="*/ 7304001 w 11625583"/>
              <a:gd name="connsiteY4300" fmla="*/ 1352456 h 6380470"/>
              <a:gd name="connsiteX4301" fmla="*/ 7368667 w 11625583"/>
              <a:gd name="connsiteY4301" fmla="*/ 1287791 h 6380470"/>
              <a:gd name="connsiteX4302" fmla="*/ 7212094 w 11625583"/>
              <a:gd name="connsiteY4302" fmla="*/ 1287791 h 6380470"/>
              <a:gd name="connsiteX4303" fmla="*/ 7276760 w 11625583"/>
              <a:gd name="connsiteY4303" fmla="*/ 1352456 h 6380470"/>
              <a:gd name="connsiteX4304" fmla="*/ 7212094 w 11625583"/>
              <a:gd name="connsiteY4304" fmla="*/ 1417123 h 6380470"/>
              <a:gd name="connsiteX4305" fmla="*/ 7147428 w 11625583"/>
              <a:gd name="connsiteY4305" fmla="*/ 1352456 h 6380470"/>
              <a:gd name="connsiteX4306" fmla="*/ 7212094 w 11625583"/>
              <a:gd name="connsiteY4306" fmla="*/ 1287791 h 6380470"/>
              <a:gd name="connsiteX4307" fmla="*/ 7055521 w 11625583"/>
              <a:gd name="connsiteY4307" fmla="*/ 1287791 h 6380470"/>
              <a:gd name="connsiteX4308" fmla="*/ 7120187 w 11625583"/>
              <a:gd name="connsiteY4308" fmla="*/ 1352456 h 6380470"/>
              <a:gd name="connsiteX4309" fmla="*/ 7055521 w 11625583"/>
              <a:gd name="connsiteY4309" fmla="*/ 1417123 h 6380470"/>
              <a:gd name="connsiteX4310" fmla="*/ 6990855 w 11625583"/>
              <a:gd name="connsiteY4310" fmla="*/ 1352456 h 6380470"/>
              <a:gd name="connsiteX4311" fmla="*/ 7055521 w 11625583"/>
              <a:gd name="connsiteY4311" fmla="*/ 1287791 h 6380470"/>
              <a:gd name="connsiteX4312" fmla="*/ 6895035 w 11625583"/>
              <a:gd name="connsiteY4312" fmla="*/ 1287791 h 6380470"/>
              <a:gd name="connsiteX4313" fmla="*/ 6959701 w 11625583"/>
              <a:gd name="connsiteY4313" fmla="*/ 1352456 h 6380470"/>
              <a:gd name="connsiteX4314" fmla="*/ 6895035 w 11625583"/>
              <a:gd name="connsiteY4314" fmla="*/ 1417123 h 6380470"/>
              <a:gd name="connsiteX4315" fmla="*/ 6830369 w 11625583"/>
              <a:gd name="connsiteY4315" fmla="*/ 1352456 h 6380470"/>
              <a:gd name="connsiteX4316" fmla="*/ 6895035 w 11625583"/>
              <a:gd name="connsiteY4316" fmla="*/ 1287791 h 6380470"/>
              <a:gd name="connsiteX4317" fmla="*/ 6742375 w 11625583"/>
              <a:gd name="connsiteY4317" fmla="*/ 1287791 h 6380470"/>
              <a:gd name="connsiteX4318" fmla="*/ 6807041 w 11625583"/>
              <a:gd name="connsiteY4318" fmla="*/ 1352456 h 6380470"/>
              <a:gd name="connsiteX4319" fmla="*/ 6742375 w 11625583"/>
              <a:gd name="connsiteY4319" fmla="*/ 1417123 h 6380470"/>
              <a:gd name="connsiteX4320" fmla="*/ 6677709 w 11625583"/>
              <a:gd name="connsiteY4320" fmla="*/ 1352456 h 6380470"/>
              <a:gd name="connsiteX4321" fmla="*/ 6742375 w 11625583"/>
              <a:gd name="connsiteY4321" fmla="*/ 1287791 h 6380470"/>
              <a:gd name="connsiteX4322" fmla="*/ 6585801 w 11625583"/>
              <a:gd name="connsiteY4322" fmla="*/ 1287791 h 6380470"/>
              <a:gd name="connsiteX4323" fmla="*/ 6650467 w 11625583"/>
              <a:gd name="connsiteY4323" fmla="*/ 1352456 h 6380470"/>
              <a:gd name="connsiteX4324" fmla="*/ 6585801 w 11625583"/>
              <a:gd name="connsiteY4324" fmla="*/ 1417123 h 6380470"/>
              <a:gd name="connsiteX4325" fmla="*/ 6521135 w 11625583"/>
              <a:gd name="connsiteY4325" fmla="*/ 1352456 h 6380470"/>
              <a:gd name="connsiteX4326" fmla="*/ 6585801 w 11625583"/>
              <a:gd name="connsiteY4326" fmla="*/ 1287791 h 6380470"/>
              <a:gd name="connsiteX4327" fmla="*/ 6429228 w 11625583"/>
              <a:gd name="connsiteY4327" fmla="*/ 1287791 h 6380470"/>
              <a:gd name="connsiteX4328" fmla="*/ 6493894 w 11625583"/>
              <a:gd name="connsiteY4328" fmla="*/ 1352456 h 6380470"/>
              <a:gd name="connsiteX4329" fmla="*/ 6429228 w 11625583"/>
              <a:gd name="connsiteY4329" fmla="*/ 1417123 h 6380470"/>
              <a:gd name="connsiteX4330" fmla="*/ 6364562 w 11625583"/>
              <a:gd name="connsiteY4330" fmla="*/ 1352456 h 6380470"/>
              <a:gd name="connsiteX4331" fmla="*/ 6429228 w 11625583"/>
              <a:gd name="connsiteY4331" fmla="*/ 1287791 h 6380470"/>
              <a:gd name="connsiteX4332" fmla="*/ 6276569 w 11625583"/>
              <a:gd name="connsiteY4332" fmla="*/ 1287791 h 6380470"/>
              <a:gd name="connsiteX4333" fmla="*/ 6341235 w 11625583"/>
              <a:gd name="connsiteY4333" fmla="*/ 1352456 h 6380470"/>
              <a:gd name="connsiteX4334" fmla="*/ 6276569 w 11625583"/>
              <a:gd name="connsiteY4334" fmla="*/ 1417123 h 6380470"/>
              <a:gd name="connsiteX4335" fmla="*/ 6211903 w 11625583"/>
              <a:gd name="connsiteY4335" fmla="*/ 1352456 h 6380470"/>
              <a:gd name="connsiteX4336" fmla="*/ 6276569 w 11625583"/>
              <a:gd name="connsiteY4336" fmla="*/ 1287791 h 6380470"/>
              <a:gd name="connsiteX4337" fmla="*/ 5967336 w 11625583"/>
              <a:gd name="connsiteY4337" fmla="*/ 1287791 h 6380470"/>
              <a:gd name="connsiteX4338" fmla="*/ 6032002 w 11625583"/>
              <a:gd name="connsiteY4338" fmla="*/ 1352456 h 6380470"/>
              <a:gd name="connsiteX4339" fmla="*/ 5967336 w 11625583"/>
              <a:gd name="connsiteY4339" fmla="*/ 1417123 h 6380470"/>
              <a:gd name="connsiteX4340" fmla="*/ 5902670 w 11625583"/>
              <a:gd name="connsiteY4340" fmla="*/ 1352456 h 6380470"/>
              <a:gd name="connsiteX4341" fmla="*/ 5967336 w 11625583"/>
              <a:gd name="connsiteY4341" fmla="*/ 1287791 h 6380470"/>
              <a:gd name="connsiteX4342" fmla="*/ 5810805 w 11625583"/>
              <a:gd name="connsiteY4342" fmla="*/ 1287791 h 6380470"/>
              <a:gd name="connsiteX4343" fmla="*/ 5875429 w 11625583"/>
              <a:gd name="connsiteY4343" fmla="*/ 1352456 h 6380470"/>
              <a:gd name="connsiteX4344" fmla="*/ 5810805 w 11625583"/>
              <a:gd name="connsiteY4344" fmla="*/ 1417123 h 6380470"/>
              <a:gd name="connsiteX4345" fmla="*/ 5746117 w 11625583"/>
              <a:gd name="connsiteY4345" fmla="*/ 1352456 h 6380470"/>
              <a:gd name="connsiteX4346" fmla="*/ 5810805 w 11625583"/>
              <a:gd name="connsiteY4346" fmla="*/ 1287791 h 6380470"/>
              <a:gd name="connsiteX4347" fmla="*/ 5658107 w 11625583"/>
              <a:gd name="connsiteY4347" fmla="*/ 1287791 h 6380470"/>
              <a:gd name="connsiteX4348" fmla="*/ 5722783 w 11625583"/>
              <a:gd name="connsiteY4348" fmla="*/ 1352456 h 6380470"/>
              <a:gd name="connsiteX4349" fmla="*/ 5658107 w 11625583"/>
              <a:gd name="connsiteY4349" fmla="*/ 1417123 h 6380470"/>
              <a:gd name="connsiteX4350" fmla="*/ 5593441 w 11625583"/>
              <a:gd name="connsiteY4350" fmla="*/ 1352456 h 6380470"/>
              <a:gd name="connsiteX4351" fmla="*/ 5658107 w 11625583"/>
              <a:gd name="connsiteY4351" fmla="*/ 1287791 h 6380470"/>
              <a:gd name="connsiteX4352" fmla="*/ 4100247 w 11625583"/>
              <a:gd name="connsiteY4352" fmla="*/ 1287791 h 6380470"/>
              <a:gd name="connsiteX4353" fmla="*/ 4164920 w 11625583"/>
              <a:gd name="connsiteY4353" fmla="*/ 1352456 h 6380470"/>
              <a:gd name="connsiteX4354" fmla="*/ 4100247 w 11625583"/>
              <a:gd name="connsiteY4354" fmla="*/ 1417123 h 6380470"/>
              <a:gd name="connsiteX4355" fmla="*/ 4035590 w 11625583"/>
              <a:gd name="connsiteY4355" fmla="*/ 1352456 h 6380470"/>
              <a:gd name="connsiteX4356" fmla="*/ 4100247 w 11625583"/>
              <a:gd name="connsiteY4356" fmla="*/ 1287791 h 6380470"/>
              <a:gd name="connsiteX4357" fmla="*/ 3012132 w 11625583"/>
              <a:gd name="connsiteY4357" fmla="*/ 1287791 h 6380470"/>
              <a:gd name="connsiteX4358" fmla="*/ 3076802 w 11625583"/>
              <a:gd name="connsiteY4358" fmla="*/ 1352456 h 6380470"/>
              <a:gd name="connsiteX4359" fmla="*/ 3012132 w 11625583"/>
              <a:gd name="connsiteY4359" fmla="*/ 1417123 h 6380470"/>
              <a:gd name="connsiteX4360" fmla="*/ 2947475 w 11625583"/>
              <a:gd name="connsiteY4360" fmla="*/ 1352456 h 6380470"/>
              <a:gd name="connsiteX4361" fmla="*/ 3012132 w 11625583"/>
              <a:gd name="connsiteY4361" fmla="*/ 1287791 h 6380470"/>
              <a:gd name="connsiteX4362" fmla="*/ 2389823 w 11625583"/>
              <a:gd name="connsiteY4362" fmla="*/ 1287791 h 6380470"/>
              <a:gd name="connsiteX4363" fmla="*/ 2454505 w 11625583"/>
              <a:gd name="connsiteY4363" fmla="*/ 1352456 h 6380470"/>
              <a:gd name="connsiteX4364" fmla="*/ 2389823 w 11625583"/>
              <a:gd name="connsiteY4364" fmla="*/ 1417123 h 6380470"/>
              <a:gd name="connsiteX4365" fmla="*/ 2325168 w 11625583"/>
              <a:gd name="connsiteY4365" fmla="*/ 1352456 h 6380470"/>
              <a:gd name="connsiteX4366" fmla="*/ 2389823 w 11625583"/>
              <a:gd name="connsiteY4366" fmla="*/ 1287791 h 6380470"/>
              <a:gd name="connsiteX4367" fmla="*/ 2237146 w 11625583"/>
              <a:gd name="connsiteY4367" fmla="*/ 1287791 h 6380470"/>
              <a:gd name="connsiteX4368" fmla="*/ 2301833 w 11625583"/>
              <a:gd name="connsiteY4368" fmla="*/ 1352456 h 6380470"/>
              <a:gd name="connsiteX4369" fmla="*/ 2237146 w 11625583"/>
              <a:gd name="connsiteY4369" fmla="*/ 1417123 h 6380470"/>
              <a:gd name="connsiteX4370" fmla="*/ 2172460 w 11625583"/>
              <a:gd name="connsiteY4370" fmla="*/ 1352456 h 6380470"/>
              <a:gd name="connsiteX4371" fmla="*/ 2237146 w 11625583"/>
              <a:gd name="connsiteY4371" fmla="*/ 1287791 h 6380470"/>
              <a:gd name="connsiteX4372" fmla="*/ 2084466 w 11625583"/>
              <a:gd name="connsiteY4372" fmla="*/ 1287791 h 6380470"/>
              <a:gd name="connsiteX4373" fmla="*/ 2149126 w 11625583"/>
              <a:gd name="connsiteY4373" fmla="*/ 1352456 h 6380470"/>
              <a:gd name="connsiteX4374" fmla="*/ 2084466 w 11625583"/>
              <a:gd name="connsiteY4374" fmla="*/ 1417123 h 6380470"/>
              <a:gd name="connsiteX4375" fmla="*/ 2019823 w 11625583"/>
              <a:gd name="connsiteY4375" fmla="*/ 1352456 h 6380470"/>
              <a:gd name="connsiteX4376" fmla="*/ 2084466 w 11625583"/>
              <a:gd name="connsiteY4376" fmla="*/ 1287791 h 6380470"/>
              <a:gd name="connsiteX4377" fmla="*/ 1927872 w 11625583"/>
              <a:gd name="connsiteY4377" fmla="*/ 1287791 h 6380470"/>
              <a:gd name="connsiteX4378" fmla="*/ 1992567 w 11625583"/>
              <a:gd name="connsiteY4378" fmla="*/ 1352456 h 6380470"/>
              <a:gd name="connsiteX4379" fmla="*/ 1927872 w 11625583"/>
              <a:gd name="connsiteY4379" fmla="*/ 1417123 h 6380470"/>
              <a:gd name="connsiteX4380" fmla="*/ 1863242 w 11625583"/>
              <a:gd name="connsiteY4380" fmla="*/ 1352456 h 6380470"/>
              <a:gd name="connsiteX4381" fmla="*/ 1927872 w 11625583"/>
              <a:gd name="connsiteY4381" fmla="*/ 1287791 h 6380470"/>
              <a:gd name="connsiteX4382" fmla="*/ 1775228 w 11625583"/>
              <a:gd name="connsiteY4382" fmla="*/ 1287791 h 6380470"/>
              <a:gd name="connsiteX4383" fmla="*/ 1839912 w 11625583"/>
              <a:gd name="connsiteY4383" fmla="*/ 1352456 h 6380470"/>
              <a:gd name="connsiteX4384" fmla="*/ 1775228 w 11625583"/>
              <a:gd name="connsiteY4384" fmla="*/ 1417123 h 6380470"/>
              <a:gd name="connsiteX4385" fmla="*/ 1710556 w 11625583"/>
              <a:gd name="connsiteY4385" fmla="*/ 1352456 h 6380470"/>
              <a:gd name="connsiteX4386" fmla="*/ 1775228 w 11625583"/>
              <a:gd name="connsiteY4386" fmla="*/ 1287791 h 6380470"/>
              <a:gd name="connsiteX4387" fmla="*/ 1618644 w 11625583"/>
              <a:gd name="connsiteY4387" fmla="*/ 1287791 h 6380470"/>
              <a:gd name="connsiteX4388" fmla="*/ 1683314 w 11625583"/>
              <a:gd name="connsiteY4388" fmla="*/ 1352456 h 6380470"/>
              <a:gd name="connsiteX4389" fmla="*/ 1618644 w 11625583"/>
              <a:gd name="connsiteY4389" fmla="*/ 1417123 h 6380470"/>
              <a:gd name="connsiteX4390" fmla="*/ 1553981 w 11625583"/>
              <a:gd name="connsiteY4390" fmla="*/ 1352456 h 6380470"/>
              <a:gd name="connsiteX4391" fmla="*/ 1618644 w 11625583"/>
              <a:gd name="connsiteY4391" fmla="*/ 1287791 h 6380470"/>
              <a:gd name="connsiteX4392" fmla="*/ 1465988 w 11625583"/>
              <a:gd name="connsiteY4392" fmla="*/ 1287791 h 6380470"/>
              <a:gd name="connsiteX4393" fmla="*/ 1530654 w 11625583"/>
              <a:gd name="connsiteY4393" fmla="*/ 1352456 h 6380470"/>
              <a:gd name="connsiteX4394" fmla="*/ 1465988 w 11625583"/>
              <a:gd name="connsiteY4394" fmla="*/ 1417123 h 6380470"/>
              <a:gd name="connsiteX4395" fmla="*/ 1401325 w 11625583"/>
              <a:gd name="connsiteY4395" fmla="*/ 1352456 h 6380470"/>
              <a:gd name="connsiteX4396" fmla="*/ 1465988 w 11625583"/>
              <a:gd name="connsiteY4396" fmla="*/ 1287791 h 6380470"/>
              <a:gd name="connsiteX4397" fmla="*/ 1309415 w 11625583"/>
              <a:gd name="connsiteY4397" fmla="*/ 1287791 h 6380470"/>
              <a:gd name="connsiteX4398" fmla="*/ 1374081 w 11625583"/>
              <a:gd name="connsiteY4398" fmla="*/ 1352456 h 6380470"/>
              <a:gd name="connsiteX4399" fmla="*/ 1309415 w 11625583"/>
              <a:gd name="connsiteY4399" fmla="*/ 1417123 h 6380470"/>
              <a:gd name="connsiteX4400" fmla="*/ 1244749 w 11625583"/>
              <a:gd name="connsiteY4400" fmla="*/ 1352456 h 6380470"/>
              <a:gd name="connsiteX4401" fmla="*/ 1309415 w 11625583"/>
              <a:gd name="connsiteY4401" fmla="*/ 1287791 h 6380470"/>
              <a:gd name="connsiteX4402" fmla="*/ 1148931 w 11625583"/>
              <a:gd name="connsiteY4402" fmla="*/ 1287791 h 6380470"/>
              <a:gd name="connsiteX4403" fmla="*/ 1213596 w 11625583"/>
              <a:gd name="connsiteY4403" fmla="*/ 1352456 h 6380470"/>
              <a:gd name="connsiteX4404" fmla="*/ 1148931 w 11625583"/>
              <a:gd name="connsiteY4404" fmla="*/ 1417123 h 6380470"/>
              <a:gd name="connsiteX4405" fmla="*/ 1084266 w 11625583"/>
              <a:gd name="connsiteY4405" fmla="*/ 1352456 h 6380470"/>
              <a:gd name="connsiteX4406" fmla="*/ 1148931 w 11625583"/>
              <a:gd name="connsiteY4406" fmla="*/ 1287791 h 6380470"/>
              <a:gd name="connsiteX4407" fmla="*/ 992358 w 11625583"/>
              <a:gd name="connsiteY4407" fmla="*/ 1287791 h 6380470"/>
              <a:gd name="connsiteX4408" fmla="*/ 1057023 w 11625583"/>
              <a:gd name="connsiteY4408" fmla="*/ 1352456 h 6380470"/>
              <a:gd name="connsiteX4409" fmla="*/ 992358 w 11625583"/>
              <a:gd name="connsiteY4409" fmla="*/ 1417123 h 6380470"/>
              <a:gd name="connsiteX4410" fmla="*/ 927693 w 11625583"/>
              <a:gd name="connsiteY4410" fmla="*/ 1352456 h 6380470"/>
              <a:gd name="connsiteX4411" fmla="*/ 992358 w 11625583"/>
              <a:gd name="connsiteY4411" fmla="*/ 1287791 h 6380470"/>
              <a:gd name="connsiteX4412" fmla="*/ 839701 w 11625583"/>
              <a:gd name="connsiteY4412" fmla="*/ 1287791 h 6380470"/>
              <a:gd name="connsiteX4413" fmla="*/ 904366 w 11625583"/>
              <a:gd name="connsiteY4413" fmla="*/ 1352456 h 6380470"/>
              <a:gd name="connsiteX4414" fmla="*/ 839701 w 11625583"/>
              <a:gd name="connsiteY4414" fmla="*/ 1417123 h 6380470"/>
              <a:gd name="connsiteX4415" fmla="*/ 775036 w 11625583"/>
              <a:gd name="connsiteY4415" fmla="*/ 1352456 h 6380470"/>
              <a:gd name="connsiteX4416" fmla="*/ 839701 w 11625583"/>
              <a:gd name="connsiteY4416" fmla="*/ 1287791 h 6380470"/>
              <a:gd name="connsiteX4417" fmla="*/ 683129 w 11625583"/>
              <a:gd name="connsiteY4417" fmla="*/ 1287791 h 6380470"/>
              <a:gd name="connsiteX4418" fmla="*/ 747795 w 11625583"/>
              <a:gd name="connsiteY4418" fmla="*/ 1352456 h 6380470"/>
              <a:gd name="connsiteX4419" fmla="*/ 683129 w 11625583"/>
              <a:gd name="connsiteY4419" fmla="*/ 1417123 h 6380470"/>
              <a:gd name="connsiteX4420" fmla="*/ 618464 w 11625583"/>
              <a:gd name="connsiteY4420" fmla="*/ 1352456 h 6380470"/>
              <a:gd name="connsiteX4421" fmla="*/ 683129 w 11625583"/>
              <a:gd name="connsiteY4421" fmla="*/ 1287791 h 6380470"/>
              <a:gd name="connsiteX4422" fmla="*/ 526550 w 11625583"/>
              <a:gd name="connsiteY4422" fmla="*/ 1287791 h 6380470"/>
              <a:gd name="connsiteX4423" fmla="*/ 591215 w 11625583"/>
              <a:gd name="connsiteY4423" fmla="*/ 1352456 h 6380470"/>
              <a:gd name="connsiteX4424" fmla="*/ 526550 w 11625583"/>
              <a:gd name="connsiteY4424" fmla="*/ 1417123 h 6380470"/>
              <a:gd name="connsiteX4425" fmla="*/ 461884 w 11625583"/>
              <a:gd name="connsiteY4425" fmla="*/ 1352456 h 6380470"/>
              <a:gd name="connsiteX4426" fmla="*/ 526550 w 11625583"/>
              <a:gd name="connsiteY4426" fmla="*/ 1287791 h 6380470"/>
              <a:gd name="connsiteX4427" fmla="*/ 373894 w 11625583"/>
              <a:gd name="connsiteY4427" fmla="*/ 1287791 h 6380470"/>
              <a:gd name="connsiteX4428" fmla="*/ 438559 w 11625583"/>
              <a:gd name="connsiteY4428" fmla="*/ 1352456 h 6380470"/>
              <a:gd name="connsiteX4429" fmla="*/ 373894 w 11625583"/>
              <a:gd name="connsiteY4429" fmla="*/ 1417123 h 6380470"/>
              <a:gd name="connsiteX4430" fmla="*/ 309228 w 11625583"/>
              <a:gd name="connsiteY4430" fmla="*/ 1352456 h 6380470"/>
              <a:gd name="connsiteX4431" fmla="*/ 373894 w 11625583"/>
              <a:gd name="connsiteY4431" fmla="*/ 1287791 h 6380470"/>
              <a:gd name="connsiteX4432" fmla="*/ 217323 w 11625583"/>
              <a:gd name="connsiteY4432" fmla="*/ 1287791 h 6380470"/>
              <a:gd name="connsiteX4433" fmla="*/ 281988 w 11625583"/>
              <a:gd name="connsiteY4433" fmla="*/ 1352456 h 6380470"/>
              <a:gd name="connsiteX4434" fmla="*/ 217323 w 11625583"/>
              <a:gd name="connsiteY4434" fmla="*/ 1417123 h 6380470"/>
              <a:gd name="connsiteX4435" fmla="*/ 152658 w 11625583"/>
              <a:gd name="connsiteY4435" fmla="*/ 1352456 h 6380470"/>
              <a:gd name="connsiteX4436" fmla="*/ 217323 w 11625583"/>
              <a:gd name="connsiteY4436" fmla="*/ 1287791 h 6380470"/>
              <a:gd name="connsiteX4437" fmla="*/ 64665 w 11625583"/>
              <a:gd name="connsiteY4437" fmla="*/ 1287791 h 6380470"/>
              <a:gd name="connsiteX4438" fmla="*/ 129330 w 11625583"/>
              <a:gd name="connsiteY4438" fmla="*/ 1352456 h 6380470"/>
              <a:gd name="connsiteX4439" fmla="*/ 64665 w 11625583"/>
              <a:gd name="connsiteY4439" fmla="*/ 1417123 h 6380470"/>
              <a:gd name="connsiteX4440" fmla="*/ 0 w 11625583"/>
              <a:gd name="connsiteY4440" fmla="*/ 1352456 h 6380470"/>
              <a:gd name="connsiteX4441" fmla="*/ 64665 w 11625583"/>
              <a:gd name="connsiteY4441" fmla="*/ 1287791 h 6380470"/>
              <a:gd name="connsiteX4442" fmla="*/ 11251683 w 11625583"/>
              <a:gd name="connsiteY4442" fmla="*/ 1142959 h 6380470"/>
              <a:gd name="connsiteX4443" fmla="*/ 11316349 w 11625583"/>
              <a:gd name="connsiteY4443" fmla="*/ 1207625 h 6380470"/>
              <a:gd name="connsiteX4444" fmla="*/ 11251683 w 11625583"/>
              <a:gd name="connsiteY4444" fmla="*/ 1272290 h 6380470"/>
              <a:gd name="connsiteX4445" fmla="*/ 11187017 w 11625583"/>
              <a:gd name="connsiteY4445" fmla="*/ 1207625 h 6380470"/>
              <a:gd name="connsiteX4446" fmla="*/ 11251683 w 11625583"/>
              <a:gd name="connsiteY4446" fmla="*/ 1142959 h 6380470"/>
              <a:gd name="connsiteX4447" fmla="*/ 11095110 w 11625583"/>
              <a:gd name="connsiteY4447" fmla="*/ 1142959 h 6380470"/>
              <a:gd name="connsiteX4448" fmla="*/ 11159776 w 11625583"/>
              <a:gd name="connsiteY4448" fmla="*/ 1207625 h 6380470"/>
              <a:gd name="connsiteX4449" fmla="*/ 11095110 w 11625583"/>
              <a:gd name="connsiteY4449" fmla="*/ 1272290 h 6380470"/>
              <a:gd name="connsiteX4450" fmla="*/ 11030444 w 11625583"/>
              <a:gd name="connsiteY4450" fmla="*/ 1207625 h 6380470"/>
              <a:gd name="connsiteX4451" fmla="*/ 11095110 w 11625583"/>
              <a:gd name="connsiteY4451" fmla="*/ 1142959 h 6380470"/>
              <a:gd name="connsiteX4452" fmla="*/ 10938537 w 11625583"/>
              <a:gd name="connsiteY4452" fmla="*/ 1142959 h 6380470"/>
              <a:gd name="connsiteX4453" fmla="*/ 11003203 w 11625583"/>
              <a:gd name="connsiteY4453" fmla="*/ 1207623 h 6380470"/>
              <a:gd name="connsiteX4454" fmla="*/ 10938537 w 11625583"/>
              <a:gd name="connsiteY4454" fmla="*/ 1272290 h 6380470"/>
              <a:gd name="connsiteX4455" fmla="*/ 10873871 w 11625583"/>
              <a:gd name="connsiteY4455" fmla="*/ 1207623 h 6380470"/>
              <a:gd name="connsiteX4456" fmla="*/ 10938537 w 11625583"/>
              <a:gd name="connsiteY4456" fmla="*/ 1142959 h 6380470"/>
              <a:gd name="connsiteX4457" fmla="*/ 10778049 w 11625583"/>
              <a:gd name="connsiteY4457" fmla="*/ 1142959 h 6380470"/>
              <a:gd name="connsiteX4458" fmla="*/ 10842715 w 11625583"/>
              <a:gd name="connsiteY4458" fmla="*/ 1207623 h 6380470"/>
              <a:gd name="connsiteX4459" fmla="*/ 10778049 w 11625583"/>
              <a:gd name="connsiteY4459" fmla="*/ 1272290 h 6380470"/>
              <a:gd name="connsiteX4460" fmla="*/ 10713383 w 11625583"/>
              <a:gd name="connsiteY4460" fmla="*/ 1207623 h 6380470"/>
              <a:gd name="connsiteX4461" fmla="*/ 10778049 w 11625583"/>
              <a:gd name="connsiteY4461" fmla="*/ 1142959 h 6380470"/>
              <a:gd name="connsiteX4462" fmla="*/ 10625391 w 11625583"/>
              <a:gd name="connsiteY4462" fmla="*/ 1142959 h 6380470"/>
              <a:gd name="connsiteX4463" fmla="*/ 10690057 w 11625583"/>
              <a:gd name="connsiteY4463" fmla="*/ 1207623 h 6380470"/>
              <a:gd name="connsiteX4464" fmla="*/ 10625391 w 11625583"/>
              <a:gd name="connsiteY4464" fmla="*/ 1272290 h 6380470"/>
              <a:gd name="connsiteX4465" fmla="*/ 10560725 w 11625583"/>
              <a:gd name="connsiteY4465" fmla="*/ 1207623 h 6380470"/>
              <a:gd name="connsiteX4466" fmla="*/ 10625391 w 11625583"/>
              <a:gd name="connsiteY4466" fmla="*/ 1142959 h 6380470"/>
              <a:gd name="connsiteX4467" fmla="*/ 10468818 w 11625583"/>
              <a:gd name="connsiteY4467" fmla="*/ 1142959 h 6380470"/>
              <a:gd name="connsiteX4468" fmla="*/ 10533484 w 11625583"/>
              <a:gd name="connsiteY4468" fmla="*/ 1207625 h 6380470"/>
              <a:gd name="connsiteX4469" fmla="*/ 10468818 w 11625583"/>
              <a:gd name="connsiteY4469" fmla="*/ 1272290 h 6380470"/>
              <a:gd name="connsiteX4470" fmla="*/ 10404152 w 11625583"/>
              <a:gd name="connsiteY4470" fmla="*/ 1207625 h 6380470"/>
              <a:gd name="connsiteX4471" fmla="*/ 10468818 w 11625583"/>
              <a:gd name="connsiteY4471" fmla="*/ 1142959 h 6380470"/>
              <a:gd name="connsiteX4472" fmla="*/ 10312244 w 11625583"/>
              <a:gd name="connsiteY4472" fmla="*/ 1142959 h 6380470"/>
              <a:gd name="connsiteX4473" fmla="*/ 10376910 w 11625583"/>
              <a:gd name="connsiteY4473" fmla="*/ 1207623 h 6380470"/>
              <a:gd name="connsiteX4474" fmla="*/ 10312244 w 11625583"/>
              <a:gd name="connsiteY4474" fmla="*/ 1272290 h 6380470"/>
              <a:gd name="connsiteX4475" fmla="*/ 10247578 w 11625583"/>
              <a:gd name="connsiteY4475" fmla="*/ 1207623 h 6380470"/>
              <a:gd name="connsiteX4476" fmla="*/ 10312244 w 11625583"/>
              <a:gd name="connsiteY4476" fmla="*/ 1142959 h 6380470"/>
              <a:gd name="connsiteX4477" fmla="*/ 10159585 w 11625583"/>
              <a:gd name="connsiteY4477" fmla="*/ 1142959 h 6380470"/>
              <a:gd name="connsiteX4478" fmla="*/ 10224251 w 11625583"/>
              <a:gd name="connsiteY4478" fmla="*/ 1207623 h 6380470"/>
              <a:gd name="connsiteX4479" fmla="*/ 10159585 w 11625583"/>
              <a:gd name="connsiteY4479" fmla="*/ 1272290 h 6380470"/>
              <a:gd name="connsiteX4480" fmla="*/ 10094919 w 11625583"/>
              <a:gd name="connsiteY4480" fmla="*/ 1207623 h 6380470"/>
              <a:gd name="connsiteX4481" fmla="*/ 10159585 w 11625583"/>
              <a:gd name="connsiteY4481" fmla="*/ 1142959 h 6380470"/>
              <a:gd name="connsiteX4482" fmla="*/ 10003013 w 11625583"/>
              <a:gd name="connsiteY4482" fmla="*/ 1142959 h 6380470"/>
              <a:gd name="connsiteX4483" fmla="*/ 10067679 w 11625583"/>
              <a:gd name="connsiteY4483" fmla="*/ 1207623 h 6380470"/>
              <a:gd name="connsiteX4484" fmla="*/ 10003013 w 11625583"/>
              <a:gd name="connsiteY4484" fmla="*/ 1272290 h 6380470"/>
              <a:gd name="connsiteX4485" fmla="*/ 9938347 w 11625583"/>
              <a:gd name="connsiteY4485" fmla="*/ 1207623 h 6380470"/>
              <a:gd name="connsiteX4486" fmla="*/ 10003013 w 11625583"/>
              <a:gd name="connsiteY4486" fmla="*/ 1142959 h 6380470"/>
              <a:gd name="connsiteX4487" fmla="*/ 9850355 w 11625583"/>
              <a:gd name="connsiteY4487" fmla="*/ 1142959 h 6380470"/>
              <a:gd name="connsiteX4488" fmla="*/ 9915021 w 11625583"/>
              <a:gd name="connsiteY4488" fmla="*/ 1207625 h 6380470"/>
              <a:gd name="connsiteX4489" fmla="*/ 9850355 w 11625583"/>
              <a:gd name="connsiteY4489" fmla="*/ 1272290 h 6380470"/>
              <a:gd name="connsiteX4490" fmla="*/ 9785689 w 11625583"/>
              <a:gd name="connsiteY4490" fmla="*/ 1207625 h 6380470"/>
              <a:gd name="connsiteX4491" fmla="*/ 9850355 w 11625583"/>
              <a:gd name="connsiteY4491" fmla="*/ 1142959 h 6380470"/>
              <a:gd name="connsiteX4492" fmla="*/ 9693780 w 11625583"/>
              <a:gd name="connsiteY4492" fmla="*/ 1142959 h 6380470"/>
              <a:gd name="connsiteX4493" fmla="*/ 9758446 w 11625583"/>
              <a:gd name="connsiteY4493" fmla="*/ 1207623 h 6380470"/>
              <a:gd name="connsiteX4494" fmla="*/ 9693780 w 11625583"/>
              <a:gd name="connsiteY4494" fmla="*/ 1272290 h 6380470"/>
              <a:gd name="connsiteX4495" fmla="*/ 9629114 w 11625583"/>
              <a:gd name="connsiteY4495" fmla="*/ 1207623 h 6380470"/>
              <a:gd name="connsiteX4496" fmla="*/ 9693780 w 11625583"/>
              <a:gd name="connsiteY4496" fmla="*/ 1142959 h 6380470"/>
              <a:gd name="connsiteX4497" fmla="*/ 9541120 w 11625583"/>
              <a:gd name="connsiteY4497" fmla="*/ 1142959 h 6380470"/>
              <a:gd name="connsiteX4498" fmla="*/ 9605786 w 11625583"/>
              <a:gd name="connsiteY4498" fmla="*/ 1207623 h 6380470"/>
              <a:gd name="connsiteX4499" fmla="*/ 9541120 w 11625583"/>
              <a:gd name="connsiteY4499" fmla="*/ 1272290 h 6380470"/>
              <a:gd name="connsiteX4500" fmla="*/ 9476454 w 11625583"/>
              <a:gd name="connsiteY4500" fmla="*/ 1207623 h 6380470"/>
              <a:gd name="connsiteX4501" fmla="*/ 9541120 w 11625583"/>
              <a:gd name="connsiteY4501" fmla="*/ 1142959 h 6380470"/>
              <a:gd name="connsiteX4502" fmla="*/ 9384547 w 11625583"/>
              <a:gd name="connsiteY4502" fmla="*/ 1142959 h 6380470"/>
              <a:gd name="connsiteX4503" fmla="*/ 9449213 w 11625583"/>
              <a:gd name="connsiteY4503" fmla="*/ 1207623 h 6380470"/>
              <a:gd name="connsiteX4504" fmla="*/ 9384547 w 11625583"/>
              <a:gd name="connsiteY4504" fmla="*/ 1272290 h 6380470"/>
              <a:gd name="connsiteX4505" fmla="*/ 9319881 w 11625583"/>
              <a:gd name="connsiteY4505" fmla="*/ 1207623 h 6380470"/>
              <a:gd name="connsiteX4506" fmla="*/ 9384547 w 11625583"/>
              <a:gd name="connsiteY4506" fmla="*/ 1142959 h 6380470"/>
              <a:gd name="connsiteX4507" fmla="*/ 9227974 w 11625583"/>
              <a:gd name="connsiteY4507" fmla="*/ 1142959 h 6380470"/>
              <a:gd name="connsiteX4508" fmla="*/ 9292640 w 11625583"/>
              <a:gd name="connsiteY4508" fmla="*/ 1207625 h 6380470"/>
              <a:gd name="connsiteX4509" fmla="*/ 9227974 w 11625583"/>
              <a:gd name="connsiteY4509" fmla="*/ 1272290 h 6380470"/>
              <a:gd name="connsiteX4510" fmla="*/ 9163308 w 11625583"/>
              <a:gd name="connsiteY4510" fmla="*/ 1207625 h 6380470"/>
              <a:gd name="connsiteX4511" fmla="*/ 9227974 w 11625583"/>
              <a:gd name="connsiteY4511" fmla="*/ 1142959 h 6380470"/>
              <a:gd name="connsiteX4512" fmla="*/ 9075316 w 11625583"/>
              <a:gd name="connsiteY4512" fmla="*/ 1142959 h 6380470"/>
              <a:gd name="connsiteX4513" fmla="*/ 9139982 w 11625583"/>
              <a:gd name="connsiteY4513" fmla="*/ 1207625 h 6380470"/>
              <a:gd name="connsiteX4514" fmla="*/ 9075316 w 11625583"/>
              <a:gd name="connsiteY4514" fmla="*/ 1272290 h 6380470"/>
              <a:gd name="connsiteX4515" fmla="*/ 9010650 w 11625583"/>
              <a:gd name="connsiteY4515" fmla="*/ 1207625 h 6380470"/>
              <a:gd name="connsiteX4516" fmla="*/ 9075316 w 11625583"/>
              <a:gd name="connsiteY4516" fmla="*/ 1142959 h 6380470"/>
              <a:gd name="connsiteX4517" fmla="*/ 8914828 w 11625583"/>
              <a:gd name="connsiteY4517" fmla="*/ 1142959 h 6380470"/>
              <a:gd name="connsiteX4518" fmla="*/ 8979494 w 11625583"/>
              <a:gd name="connsiteY4518" fmla="*/ 1207623 h 6380470"/>
              <a:gd name="connsiteX4519" fmla="*/ 8914828 w 11625583"/>
              <a:gd name="connsiteY4519" fmla="*/ 1272290 h 6380470"/>
              <a:gd name="connsiteX4520" fmla="*/ 8850162 w 11625583"/>
              <a:gd name="connsiteY4520" fmla="*/ 1207623 h 6380470"/>
              <a:gd name="connsiteX4521" fmla="*/ 8914828 w 11625583"/>
              <a:gd name="connsiteY4521" fmla="*/ 1142959 h 6380470"/>
              <a:gd name="connsiteX4522" fmla="*/ 8766083 w 11625583"/>
              <a:gd name="connsiteY4522" fmla="*/ 1142959 h 6380470"/>
              <a:gd name="connsiteX4523" fmla="*/ 8830749 w 11625583"/>
              <a:gd name="connsiteY4523" fmla="*/ 1207625 h 6380470"/>
              <a:gd name="connsiteX4524" fmla="*/ 8766083 w 11625583"/>
              <a:gd name="connsiteY4524" fmla="*/ 1272290 h 6380470"/>
              <a:gd name="connsiteX4525" fmla="*/ 8701417 w 11625583"/>
              <a:gd name="connsiteY4525" fmla="*/ 1207625 h 6380470"/>
              <a:gd name="connsiteX4526" fmla="*/ 8766083 w 11625583"/>
              <a:gd name="connsiteY4526" fmla="*/ 1142959 h 6380470"/>
              <a:gd name="connsiteX4527" fmla="*/ 8601682 w 11625583"/>
              <a:gd name="connsiteY4527" fmla="*/ 1142959 h 6380470"/>
              <a:gd name="connsiteX4528" fmla="*/ 8666348 w 11625583"/>
              <a:gd name="connsiteY4528" fmla="*/ 1207625 h 6380470"/>
              <a:gd name="connsiteX4529" fmla="*/ 8601682 w 11625583"/>
              <a:gd name="connsiteY4529" fmla="*/ 1272290 h 6380470"/>
              <a:gd name="connsiteX4530" fmla="*/ 8537016 w 11625583"/>
              <a:gd name="connsiteY4530" fmla="*/ 1207625 h 6380470"/>
              <a:gd name="connsiteX4531" fmla="*/ 8601682 w 11625583"/>
              <a:gd name="connsiteY4531" fmla="*/ 1142959 h 6380470"/>
              <a:gd name="connsiteX4532" fmla="*/ 8449022 w 11625583"/>
              <a:gd name="connsiteY4532" fmla="*/ 1142959 h 6380470"/>
              <a:gd name="connsiteX4533" fmla="*/ 8513688 w 11625583"/>
              <a:gd name="connsiteY4533" fmla="*/ 1207625 h 6380470"/>
              <a:gd name="connsiteX4534" fmla="*/ 8449022 w 11625583"/>
              <a:gd name="connsiteY4534" fmla="*/ 1272290 h 6380470"/>
              <a:gd name="connsiteX4535" fmla="*/ 8384356 w 11625583"/>
              <a:gd name="connsiteY4535" fmla="*/ 1207625 h 6380470"/>
              <a:gd name="connsiteX4536" fmla="*/ 8449022 w 11625583"/>
              <a:gd name="connsiteY4536" fmla="*/ 1142959 h 6380470"/>
              <a:gd name="connsiteX4537" fmla="*/ 8296365 w 11625583"/>
              <a:gd name="connsiteY4537" fmla="*/ 1142959 h 6380470"/>
              <a:gd name="connsiteX4538" fmla="*/ 8361031 w 11625583"/>
              <a:gd name="connsiteY4538" fmla="*/ 1207623 h 6380470"/>
              <a:gd name="connsiteX4539" fmla="*/ 8296365 w 11625583"/>
              <a:gd name="connsiteY4539" fmla="*/ 1272290 h 6380470"/>
              <a:gd name="connsiteX4540" fmla="*/ 8231699 w 11625583"/>
              <a:gd name="connsiteY4540" fmla="*/ 1207623 h 6380470"/>
              <a:gd name="connsiteX4541" fmla="*/ 8296365 w 11625583"/>
              <a:gd name="connsiteY4541" fmla="*/ 1142959 h 6380470"/>
              <a:gd name="connsiteX4542" fmla="*/ 8139790 w 11625583"/>
              <a:gd name="connsiteY4542" fmla="*/ 1142959 h 6380470"/>
              <a:gd name="connsiteX4543" fmla="*/ 8204456 w 11625583"/>
              <a:gd name="connsiteY4543" fmla="*/ 1207625 h 6380470"/>
              <a:gd name="connsiteX4544" fmla="*/ 8139790 w 11625583"/>
              <a:gd name="connsiteY4544" fmla="*/ 1272290 h 6380470"/>
              <a:gd name="connsiteX4545" fmla="*/ 8075124 w 11625583"/>
              <a:gd name="connsiteY4545" fmla="*/ 1207625 h 6380470"/>
              <a:gd name="connsiteX4546" fmla="*/ 8139790 w 11625583"/>
              <a:gd name="connsiteY4546" fmla="*/ 1142959 h 6380470"/>
              <a:gd name="connsiteX4547" fmla="*/ 7987132 w 11625583"/>
              <a:gd name="connsiteY4547" fmla="*/ 1142959 h 6380470"/>
              <a:gd name="connsiteX4548" fmla="*/ 8051798 w 11625583"/>
              <a:gd name="connsiteY4548" fmla="*/ 1207625 h 6380470"/>
              <a:gd name="connsiteX4549" fmla="*/ 7987132 w 11625583"/>
              <a:gd name="connsiteY4549" fmla="*/ 1272290 h 6380470"/>
              <a:gd name="connsiteX4550" fmla="*/ 7922466 w 11625583"/>
              <a:gd name="connsiteY4550" fmla="*/ 1207625 h 6380470"/>
              <a:gd name="connsiteX4551" fmla="*/ 7987132 w 11625583"/>
              <a:gd name="connsiteY4551" fmla="*/ 1142959 h 6380470"/>
              <a:gd name="connsiteX4552" fmla="*/ 7830560 w 11625583"/>
              <a:gd name="connsiteY4552" fmla="*/ 1142959 h 6380470"/>
              <a:gd name="connsiteX4553" fmla="*/ 7895226 w 11625583"/>
              <a:gd name="connsiteY4553" fmla="*/ 1207625 h 6380470"/>
              <a:gd name="connsiteX4554" fmla="*/ 7830560 w 11625583"/>
              <a:gd name="connsiteY4554" fmla="*/ 1272290 h 6380470"/>
              <a:gd name="connsiteX4555" fmla="*/ 7765894 w 11625583"/>
              <a:gd name="connsiteY4555" fmla="*/ 1207625 h 6380470"/>
              <a:gd name="connsiteX4556" fmla="*/ 7830560 w 11625583"/>
              <a:gd name="connsiteY4556" fmla="*/ 1142959 h 6380470"/>
              <a:gd name="connsiteX4557" fmla="*/ 7677900 w 11625583"/>
              <a:gd name="connsiteY4557" fmla="*/ 1142959 h 6380470"/>
              <a:gd name="connsiteX4558" fmla="*/ 7742566 w 11625583"/>
              <a:gd name="connsiteY4558" fmla="*/ 1207623 h 6380470"/>
              <a:gd name="connsiteX4559" fmla="*/ 7677900 w 11625583"/>
              <a:gd name="connsiteY4559" fmla="*/ 1272290 h 6380470"/>
              <a:gd name="connsiteX4560" fmla="*/ 7613234 w 11625583"/>
              <a:gd name="connsiteY4560" fmla="*/ 1207623 h 6380470"/>
              <a:gd name="connsiteX4561" fmla="*/ 7677900 w 11625583"/>
              <a:gd name="connsiteY4561" fmla="*/ 1142959 h 6380470"/>
              <a:gd name="connsiteX4562" fmla="*/ 7521327 w 11625583"/>
              <a:gd name="connsiteY4562" fmla="*/ 1142959 h 6380470"/>
              <a:gd name="connsiteX4563" fmla="*/ 7585993 w 11625583"/>
              <a:gd name="connsiteY4563" fmla="*/ 1207623 h 6380470"/>
              <a:gd name="connsiteX4564" fmla="*/ 7521327 w 11625583"/>
              <a:gd name="connsiteY4564" fmla="*/ 1272290 h 6380470"/>
              <a:gd name="connsiteX4565" fmla="*/ 7456661 w 11625583"/>
              <a:gd name="connsiteY4565" fmla="*/ 1207623 h 6380470"/>
              <a:gd name="connsiteX4566" fmla="*/ 7521327 w 11625583"/>
              <a:gd name="connsiteY4566" fmla="*/ 1142959 h 6380470"/>
              <a:gd name="connsiteX4567" fmla="*/ 7368667 w 11625583"/>
              <a:gd name="connsiteY4567" fmla="*/ 1142959 h 6380470"/>
              <a:gd name="connsiteX4568" fmla="*/ 7433333 w 11625583"/>
              <a:gd name="connsiteY4568" fmla="*/ 1207625 h 6380470"/>
              <a:gd name="connsiteX4569" fmla="*/ 7368667 w 11625583"/>
              <a:gd name="connsiteY4569" fmla="*/ 1272290 h 6380470"/>
              <a:gd name="connsiteX4570" fmla="*/ 7304001 w 11625583"/>
              <a:gd name="connsiteY4570" fmla="*/ 1207625 h 6380470"/>
              <a:gd name="connsiteX4571" fmla="*/ 7368667 w 11625583"/>
              <a:gd name="connsiteY4571" fmla="*/ 1142959 h 6380470"/>
              <a:gd name="connsiteX4572" fmla="*/ 7212094 w 11625583"/>
              <a:gd name="connsiteY4572" fmla="*/ 1142959 h 6380470"/>
              <a:gd name="connsiteX4573" fmla="*/ 7276760 w 11625583"/>
              <a:gd name="connsiteY4573" fmla="*/ 1207623 h 6380470"/>
              <a:gd name="connsiteX4574" fmla="*/ 7212094 w 11625583"/>
              <a:gd name="connsiteY4574" fmla="*/ 1272290 h 6380470"/>
              <a:gd name="connsiteX4575" fmla="*/ 7147428 w 11625583"/>
              <a:gd name="connsiteY4575" fmla="*/ 1207623 h 6380470"/>
              <a:gd name="connsiteX4576" fmla="*/ 7212094 w 11625583"/>
              <a:gd name="connsiteY4576" fmla="*/ 1142959 h 6380470"/>
              <a:gd name="connsiteX4577" fmla="*/ 7055520 w 11625583"/>
              <a:gd name="connsiteY4577" fmla="*/ 1142959 h 6380470"/>
              <a:gd name="connsiteX4578" fmla="*/ 7120186 w 11625583"/>
              <a:gd name="connsiteY4578" fmla="*/ 1207623 h 6380470"/>
              <a:gd name="connsiteX4579" fmla="*/ 7055520 w 11625583"/>
              <a:gd name="connsiteY4579" fmla="*/ 1272290 h 6380470"/>
              <a:gd name="connsiteX4580" fmla="*/ 6990854 w 11625583"/>
              <a:gd name="connsiteY4580" fmla="*/ 1207623 h 6380470"/>
              <a:gd name="connsiteX4581" fmla="*/ 7055520 w 11625583"/>
              <a:gd name="connsiteY4581" fmla="*/ 1142959 h 6380470"/>
              <a:gd name="connsiteX4582" fmla="*/ 6895035 w 11625583"/>
              <a:gd name="connsiteY4582" fmla="*/ 1142959 h 6380470"/>
              <a:gd name="connsiteX4583" fmla="*/ 6959701 w 11625583"/>
              <a:gd name="connsiteY4583" fmla="*/ 1207623 h 6380470"/>
              <a:gd name="connsiteX4584" fmla="*/ 6895035 w 11625583"/>
              <a:gd name="connsiteY4584" fmla="*/ 1272290 h 6380470"/>
              <a:gd name="connsiteX4585" fmla="*/ 6830369 w 11625583"/>
              <a:gd name="connsiteY4585" fmla="*/ 1207623 h 6380470"/>
              <a:gd name="connsiteX4586" fmla="*/ 6895035 w 11625583"/>
              <a:gd name="connsiteY4586" fmla="*/ 1142959 h 6380470"/>
              <a:gd name="connsiteX4587" fmla="*/ 6742374 w 11625583"/>
              <a:gd name="connsiteY4587" fmla="*/ 1142959 h 6380470"/>
              <a:gd name="connsiteX4588" fmla="*/ 6807040 w 11625583"/>
              <a:gd name="connsiteY4588" fmla="*/ 1207625 h 6380470"/>
              <a:gd name="connsiteX4589" fmla="*/ 6742374 w 11625583"/>
              <a:gd name="connsiteY4589" fmla="*/ 1272290 h 6380470"/>
              <a:gd name="connsiteX4590" fmla="*/ 6677708 w 11625583"/>
              <a:gd name="connsiteY4590" fmla="*/ 1207625 h 6380470"/>
              <a:gd name="connsiteX4591" fmla="*/ 6742374 w 11625583"/>
              <a:gd name="connsiteY4591" fmla="*/ 1142959 h 6380470"/>
              <a:gd name="connsiteX4592" fmla="*/ 6585801 w 11625583"/>
              <a:gd name="connsiteY4592" fmla="*/ 1142959 h 6380470"/>
              <a:gd name="connsiteX4593" fmla="*/ 6650467 w 11625583"/>
              <a:gd name="connsiteY4593" fmla="*/ 1207623 h 6380470"/>
              <a:gd name="connsiteX4594" fmla="*/ 6585801 w 11625583"/>
              <a:gd name="connsiteY4594" fmla="*/ 1272290 h 6380470"/>
              <a:gd name="connsiteX4595" fmla="*/ 6521135 w 11625583"/>
              <a:gd name="connsiteY4595" fmla="*/ 1207623 h 6380470"/>
              <a:gd name="connsiteX4596" fmla="*/ 6585801 w 11625583"/>
              <a:gd name="connsiteY4596" fmla="*/ 1142959 h 6380470"/>
              <a:gd name="connsiteX4597" fmla="*/ 6429228 w 11625583"/>
              <a:gd name="connsiteY4597" fmla="*/ 1142959 h 6380470"/>
              <a:gd name="connsiteX4598" fmla="*/ 6493894 w 11625583"/>
              <a:gd name="connsiteY4598" fmla="*/ 1207625 h 6380470"/>
              <a:gd name="connsiteX4599" fmla="*/ 6429228 w 11625583"/>
              <a:gd name="connsiteY4599" fmla="*/ 1272290 h 6380470"/>
              <a:gd name="connsiteX4600" fmla="*/ 6364562 w 11625583"/>
              <a:gd name="connsiteY4600" fmla="*/ 1207625 h 6380470"/>
              <a:gd name="connsiteX4601" fmla="*/ 6429228 w 11625583"/>
              <a:gd name="connsiteY4601" fmla="*/ 1142959 h 6380470"/>
              <a:gd name="connsiteX4602" fmla="*/ 6276569 w 11625583"/>
              <a:gd name="connsiteY4602" fmla="*/ 1142959 h 6380470"/>
              <a:gd name="connsiteX4603" fmla="*/ 6341235 w 11625583"/>
              <a:gd name="connsiteY4603" fmla="*/ 1207625 h 6380470"/>
              <a:gd name="connsiteX4604" fmla="*/ 6276569 w 11625583"/>
              <a:gd name="connsiteY4604" fmla="*/ 1272290 h 6380470"/>
              <a:gd name="connsiteX4605" fmla="*/ 6211903 w 11625583"/>
              <a:gd name="connsiteY4605" fmla="*/ 1207625 h 6380470"/>
              <a:gd name="connsiteX4606" fmla="*/ 6276569 w 11625583"/>
              <a:gd name="connsiteY4606" fmla="*/ 1142959 h 6380470"/>
              <a:gd name="connsiteX4607" fmla="*/ 6119998 w 11625583"/>
              <a:gd name="connsiteY4607" fmla="*/ 1142959 h 6380470"/>
              <a:gd name="connsiteX4608" fmla="*/ 6184664 w 11625583"/>
              <a:gd name="connsiteY4608" fmla="*/ 1207623 h 6380470"/>
              <a:gd name="connsiteX4609" fmla="*/ 6119998 w 11625583"/>
              <a:gd name="connsiteY4609" fmla="*/ 1272290 h 6380470"/>
              <a:gd name="connsiteX4610" fmla="*/ 6055332 w 11625583"/>
              <a:gd name="connsiteY4610" fmla="*/ 1207623 h 6380470"/>
              <a:gd name="connsiteX4611" fmla="*/ 6119998 w 11625583"/>
              <a:gd name="connsiteY4611" fmla="*/ 1142959 h 6380470"/>
              <a:gd name="connsiteX4612" fmla="*/ 5967336 w 11625583"/>
              <a:gd name="connsiteY4612" fmla="*/ 1142959 h 6380470"/>
              <a:gd name="connsiteX4613" fmla="*/ 6032002 w 11625583"/>
              <a:gd name="connsiteY4613" fmla="*/ 1207625 h 6380470"/>
              <a:gd name="connsiteX4614" fmla="*/ 5967336 w 11625583"/>
              <a:gd name="connsiteY4614" fmla="*/ 1272290 h 6380470"/>
              <a:gd name="connsiteX4615" fmla="*/ 5902670 w 11625583"/>
              <a:gd name="connsiteY4615" fmla="*/ 1207625 h 6380470"/>
              <a:gd name="connsiteX4616" fmla="*/ 5967336 w 11625583"/>
              <a:gd name="connsiteY4616" fmla="*/ 1142959 h 6380470"/>
              <a:gd name="connsiteX4617" fmla="*/ 5810807 w 11625583"/>
              <a:gd name="connsiteY4617" fmla="*/ 1142959 h 6380470"/>
              <a:gd name="connsiteX4618" fmla="*/ 5875431 w 11625583"/>
              <a:gd name="connsiteY4618" fmla="*/ 1207625 h 6380470"/>
              <a:gd name="connsiteX4619" fmla="*/ 5810807 w 11625583"/>
              <a:gd name="connsiteY4619" fmla="*/ 1272290 h 6380470"/>
              <a:gd name="connsiteX4620" fmla="*/ 5746117 w 11625583"/>
              <a:gd name="connsiteY4620" fmla="*/ 1207625 h 6380470"/>
              <a:gd name="connsiteX4621" fmla="*/ 5810807 w 11625583"/>
              <a:gd name="connsiteY4621" fmla="*/ 1142959 h 6380470"/>
              <a:gd name="connsiteX4622" fmla="*/ 5031849 w 11625583"/>
              <a:gd name="connsiteY4622" fmla="*/ 1142959 h 6380470"/>
              <a:gd name="connsiteX4623" fmla="*/ 5096509 w 11625583"/>
              <a:gd name="connsiteY4623" fmla="*/ 1207623 h 6380470"/>
              <a:gd name="connsiteX4624" fmla="*/ 5031849 w 11625583"/>
              <a:gd name="connsiteY4624" fmla="*/ 1272290 h 6380470"/>
              <a:gd name="connsiteX4625" fmla="*/ 4967172 w 11625583"/>
              <a:gd name="connsiteY4625" fmla="*/ 1207623 h 6380470"/>
              <a:gd name="connsiteX4626" fmla="*/ 5031849 w 11625583"/>
              <a:gd name="connsiteY4626" fmla="*/ 1142959 h 6380470"/>
              <a:gd name="connsiteX4627" fmla="*/ 4875262 w 11625583"/>
              <a:gd name="connsiteY4627" fmla="*/ 1142959 h 6380470"/>
              <a:gd name="connsiteX4628" fmla="*/ 4939938 w 11625583"/>
              <a:gd name="connsiteY4628" fmla="*/ 1207625 h 6380470"/>
              <a:gd name="connsiteX4629" fmla="*/ 4875262 w 11625583"/>
              <a:gd name="connsiteY4629" fmla="*/ 1272290 h 6380470"/>
              <a:gd name="connsiteX4630" fmla="*/ 4810599 w 11625583"/>
              <a:gd name="connsiteY4630" fmla="*/ 1207625 h 6380470"/>
              <a:gd name="connsiteX4631" fmla="*/ 4875262 w 11625583"/>
              <a:gd name="connsiteY4631" fmla="*/ 1142959 h 6380470"/>
              <a:gd name="connsiteX4632" fmla="*/ 4722604 w 11625583"/>
              <a:gd name="connsiteY4632" fmla="*/ 1142959 h 6380470"/>
              <a:gd name="connsiteX4633" fmla="*/ 4787268 w 11625583"/>
              <a:gd name="connsiteY4633" fmla="*/ 1207625 h 6380470"/>
              <a:gd name="connsiteX4634" fmla="*/ 4722604 w 11625583"/>
              <a:gd name="connsiteY4634" fmla="*/ 1272290 h 6380470"/>
              <a:gd name="connsiteX4635" fmla="*/ 4657945 w 11625583"/>
              <a:gd name="connsiteY4635" fmla="*/ 1207625 h 6380470"/>
              <a:gd name="connsiteX4636" fmla="*/ 4722604 w 11625583"/>
              <a:gd name="connsiteY4636" fmla="*/ 1142959 h 6380470"/>
              <a:gd name="connsiteX4637" fmla="*/ 4100249 w 11625583"/>
              <a:gd name="connsiteY4637" fmla="*/ 1142959 h 6380470"/>
              <a:gd name="connsiteX4638" fmla="*/ 4164920 w 11625583"/>
              <a:gd name="connsiteY4638" fmla="*/ 1207623 h 6380470"/>
              <a:gd name="connsiteX4639" fmla="*/ 4100249 w 11625583"/>
              <a:gd name="connsiteY4639" fmla="*/ 1272290 h 6380470"/>
              <a:gd name="connsiteX4640" fmla="*/ 4035594 w 11625583"/>
              <a:gd name="connsiteY4640" fmla="*/ 1207623 h 6380470"/>
              <a:gd name="connsiteX4641" fmla="*/ 4100249 w 11625583"/>
              <a:gd name="connsiteY4641" fmla="*/ 1142959 h 6380470"/>
              <a:gd name="connsiteX4642" fmla="*/ 3947573 w 11625583"/>
              <a:gd name="connsiteY4642" fmla="*/ 1142959 h 6380470"/>
              <a:gd name="connsiteX4643" fmla="*/ 4012257 w 11625583"/>
              <a:gd name="connsiteY4643" fmla="*/ 1207625 h 6380470"/>
              <a:gd name="connsiteX4644" fmla="*/ 3947573 w 11625583"/>
              <a:gd name="connsiteY4644" fmla="*/ 1272290 h 6380470"/>
              <a:gd name="connsiteX4645" fmla="*/ 3883028 w 11625583"/>
              <a:gd name="connsiteY4645" fmla="*/ 1207625 h 6380470"/>
              <a:gd name="connsiteX4646" fmla="*/ 3947573 w 11625583"/>
              <a:gd name="connsiteY4646" fmla="*/ 1142959 h 6380470"/>
              <a:gd name="connsiteX4647" fmla="*/ 3321416 w 11625583"/>
              <a:gd name="connsiteY4647" fmla="*/ 1142959 h 6380470"/>
              <a:gd name="connsiteX4648" fmla="*/ 3386056 w 11625583"/>
              <a:gd name="connsiteY4648" fmla="*/ 1207623 h 6380470"/>
              <a:gd name="connsiteX4649" fmla="*/ 3321416 w 11625583"/>
              <a:gd name="connsiteY4649" fmla="*/ 1272290 h 6380470"/>
              <a:gd name="connsiteX4650" fmla="*/ 3256751 w 11625583"/>
              <a:gd name="connsiteY4650" fmla="*/ 1207623 h 6380470"/>
              <a:gd name="connsiteX4651" fmla="*/ 3321416 w 11625583"/>
              <a:gd name="connsiteY4651" fmla="*/ 1142959 h 6380470"/>
              <a:gd name="connsiteX4652" fmla="*/ 3172663 w 11625583"/>
              <a:gd name="connsiteY4652" fmla="*/ 1142959 h 6380470"/>
              <a:gd name="connsiteX4653" fmla="*/ 3237336 w 11625583"/>
              <a:gd name="connsiteY4653" fmla="*/ 1207625 h 6380470"/>
              <a:gd name="connsiteX4654" fmla="*/ 3172663 w 11625583"/>
              <a:gd name="connsiteY4654" fmla="*/ 1272290 h 6380470"/>
              <a:gd name="connsiteX4655" fmla="*/ 3107975 w 11625583"/>
              <a:gd name="connsiteY4655" fmla="*/ 1207625 h 6380470"/>
              <a:gd name="connsiteX4656" fmla="*/ 3172663 w 11625583"/>
              <a:gd name="connsiteY4656" fmla="*/ 1142959 h 6380470"/>
              <a:gd name="connsiteX4657" fmla="*/ 2699047 w 11625583"/>
              <a:gd name="connsiteY4657" fmla="*/ 1142959 h 6380470"/>
              <a:gd name="connsiteX4658" fmla="*/ 2763701 w 11625583"/>
              <a:gd name="connsiteY4658" fmla="*/ 1207623 h 6380470"/>
              <a:gd name="connsiteX4659" fmla="*/ 2699047 w 11625583"/>
              <a:gd name="connsiteY4659" fmla="*/ 1272290 h 6380470"/>
              <a:gd name="connsiteX4660" fmla="*/ 2634393 w 11625583"/>
              <a:gd name="connsiteY4660" fmla="*/ 1207623 h 6380470"/>
              <a:gd name="connsiteX4661" fmla="*/ 2699047 w 11625583"/>
              <a:gd name="connsiteY4661" fmla="*/ 1142959 h 6380470"/>
              <a:gd name="connsiteX4662" fmla="*/ 2546410 w 11625583"/>
              <a:gd name="connsiteY4662" fmla="*/ 1142959 h 6380470"/>
              <a:gd name="connsiteX4663" fmla="*/ 2611069 w 11625583"/>
              <a:gd name="connsiteY4663" fmla="*/ 1207625 h 6380470"/>
              <a:gd name="connsiteX4664" fmla="*/ 2546410 w 11625583"/>
              <a:gd name="connsiteY4664" fmla="*/ 1272290 h 6380470"/>
              <a:gd name="connsiteX4665" fmla="*/ 2481752 w 11625583"/>
              <a:gd name="connsiteY4665" fmla="*/ 1207625 h 6380470"/>
              <a:gd name="connsiteX4666" fmla="*/ 2546410 w 11625583"/>
              <a:gd name="connsiteY4666" fmla="*/ 1142959 h 6380470"/>
              <a:gd name="connsiteX4667" fmla="*/ 2389823 w 11625583"/>
              <a:gd name="connsiteY4667" fmla="*/ 1142959 h 6380470"/>
              <a:gd name="connsiteX4668" fmla="*/ 2454516 w 11625583"/>
              <a:gd name="connsiteY4668" fmla="*/ 1207623 h 6380470"/>
              <a:gd name="connsiteX4669" fmla="*/ 2389823 w 11625583"/>
              <a:gd name="connsiteY4669" fmla="*/ 1272290 h 6380470"/>
              <a:gd name="connsiteX4670" fmla="*/ 2325179 w 11625583"/>
              <a:gd name="connsiteY4670" fmla="*/ 1207623 h 6380470"/>
              <a:gd name="connsiteX4671" fmla="*/ 2389823 w 11625583"/>
              <a:gd name="connsiteY4671" fmla="*/ 1142959 h 6380470"/>
              <a:gd name="connsiteX4672" fmla="*/ 2237158 w 11625583"/>
              <a:gd name="connsiteY4672" fmla="*/ 1142959 h 6380470"/>
              <a:gd name="connsiteX4673" fmla="*/ 2301845 w 11625583"/>
              <a:gd name="connsiteY4673" fmla="*/ 1207623 h 6380470"/>
              <a:gd name="connsiteX4674" fmla="*/ 2237158 w 11625583"/>
              <a:gd name="connsiteY4674" fmla="*/ 1272290 h 6380470"/>
              <a:gd name="connsiteX4675" fmla="*/ 2172473 w 11625583"/>
              <a:gd name="connsiteY4675" fmla="*/ 1207623 h 6380470"/>
              <a:gd name="connsiteX4676" fmla="*/ 2237158 w 11625583"/>
              <a:gd name="connsiteY4676" fmla="*/ 1142959 h 6380470"/>
              <a:gd name="connsiteX4677" fmla="*/ 2084472 w 11625583"/>
              <a:gd name="connsiteY4677" fmla="*/ 1142959 h 6380470"/>
              <a:gd name="connsiteX4678" fmla="*/ 2149139 w 11625583"/>
              <a:gd name="connsiteY4678" fmla="*/ 1207623 h 6380470"/>
              <a:gd name="connsiteX4679" fmla="*/ 2084472 w 11625583"/>
              <a:gd name="connsiteY4679" fmla="*/ 1272290 h 6380470"/>
              <a:gd name="connsiteX4680" fmla="*/ 2019837 w 11625583"/>
              <a:gd name="connsiteY4680" fmla="*/ 1207623 h 6380470"/>
              <a:gd name="connsiteX4681" fmla="*/ 2084472 w 11625583"/>
              <a:gd name="connsiteY4681" fmla="*/ 1142959 h 6380470"/>
              <a:gd name="connsiteX4682" fmla="*/ 1927885 w 11625583"/>
              <a:gd name="connsiteY4682" fmla="*/ 1142959 h 6380470"/>
              <a:gd name="connsiteX4683" fmla="*/ 1992577 w 11625583"/>
              <a:gd name="connsiteY4683" fmla="*/ 1207623 h 6380470"/>
              <a:gd name="connsiteX4684" fmla="*/ 1927885 w 11625583"/>
              <a:gd name="connsiteY4684" fmla="*/ 1272290 h 6380470"/>
              <a:gd name="connsiteX4685" fmla="*/ 1863252 w 11625583"/>
              <a:gd name="connsiteY4685" fmla="*/ 1207623 h 6380470"/>
              <a:gd name="connsiteX4686" fmla="*/ 1927885 w 11625583"/>
              <a:gd name="connsiteY4686" fmla="*/ 1142959 h 6380470"/>
              <a:gd name="connsiteX4687" fmla="*/ 1775237 w 11625583"/>
              <a:gd name="connsiteY4687" fmla="*/ 1142959 h 6380470"/>
              <a:gd name="connsiteX4688" fmla="*/ 1839926 w 11625583"/>
              <a:gd name="connsiteY4688" fmla="*/ 1207623 h 6380470"/>
              <a:gd name="connsiteX4689" fmla="*/ 1775237 w 11625583"/>
              <a:gd name="connsiteY4689" fmla="*/ 1272290 h 6380470"/>
              <a:gd name="connsiteX4690" fmla="*/ 1710566 w 11625583"/>
              <a:gd name="connsiteY4690" fmla="*/ 1207623 h 6380470"/>
              <a:gd name="connsiteX4691" fmla="*/ 1775237 w 11625583"/>
              <a:gd name="connsiteY4691" fmla="*/ 1142959 h 6380470"/>
              <a:gd name="connsiteX4692" fmla="*/ 1618652 w 11625583"/>
              <a:gd name="connsiteY4692" fmla="*/ 1142959 h 6380470"/>
              <a:gd name="connsiteX4693" fmla="*/ 1683323 w 11625583"/>
              <a:gd name="connsiteY4693" fmla="*/ 1207623 h 6380470"/>
              <a:gd name="connsiteX4694" fmla="*/ 1618652 w 11625583"/>
              <a:gd name="connsiteY4694" fmla="*/ 1272290 h 6380470"/>
              <a:gd name="connsiteX4695" fmla="*/ 1553991 w 11625583"/>
              <a:gd name="connsiteY4695" fmla="*/ 1207623 h 6380470"/>
              <a:gd name="connsiteX4696" fmla="*/ 1618652 w 11625583"/>
              <a:gd name="connsiteY4696" fmla="*/ 1142959 h 6380470"/>
              <a:gd name="connsiteX4697" fmla="*/ 1465997 w 11625583"/>
              <a:gd name="connsiteY4697" fmla="*/ 1142959 h 6380470"/>
              <a:gd name="connsiteX4698" fmla="*/ 1530664 w 11625583"/>
              <a:gd name="connsiteY4698" fmla="*/ 1207625 h 6380470"/>
              <a:gd name="connsiteX4699" fmla="*/ 1465997 w 11625583"/>
              <a:gd name="connsiteY4699" fmla="*/ 1272290 h 6380470"/>
              <a:gd name="connsiteX4700" fmla="*/ 1401335 w 11625583"/>
              <a:gd name="connsiteY4700" fmla="*/ 1207625 h 6380470"/>
              <a:gd name="connsiteX4701" fmla="*/ 1465997 w 11625583"/>
              <a:gd name="connsiteY4701" fmla="*/ 1142959 h 6380470"/>
              <a:gd name="connsiteX4702" fmla="*/ 1309424 w 11625583"/>
              <a:gd name="connsiteY4702" fmla="*/ 1142959 h 6380470"/>
              <a:gd name="connsiteX4703" fmla="*/ 1374089 w 11625583"/>
              <a:gd name="connsiteY4703" fmla="*/ 1207623 h 6380470"/>
              <a:gd name="connsiteX4704" fmla="*/ 1309424 w 11625583"/>
              <a:gd name="connsiteY4704" fmla="*/ 1272290 h 6380470"/>
              <a:gd name="connsiteX4705" fmla="*/ 1244757 w 11625583"/>
              <a:gd name="connsiteY4705" fmla="*/ 1207623 h 6380470"/>
              <a:gd name="connsiteX4706" fmla="*/ 1309424 w 11625583"/>
              <a:gd name="connsiteY4706" fmla="*/ 1142959 h 6380470"/>
              <a:gd name="connsiteX4707" fmla="*/ 1148940 w 11625583"/>
              <a:gd name="connsiteY4707" fmla="*/ 1142959 h 6380470"/>
              <a:gd name="connsiteX4708" fmla="*/ 1213605 w 11625583"/>
              <a:gd name="connsiteY4708" fmla="*/ 1207623 h 6380470"/>
              <a:gd name="connsiteX4709" fmla="*/ 1148940 w 11625583"/>
              <a:gd name="connsiteY4709" fmla="*/ 1272290 h 6380470"/>
              <a:gd name="connsiteX4710" fmla="*/ 1084275 w 11625583"/>
              <a:gd name="connsiteY4710" fmla="*/ 1207623 h 6380470"/>
              <a:gd name="connsiteX4711" fmla="*/ 1148940 w 11625583"/>
              <a:gd name="connsiteY4711" fmla="*/ 1142959 h 6380470"/>
              <a:gd name="connsiteX4712" fmla="*/ 992366 w 11625583"/>
              <a:gd name="connsiteY4712" fmla="*/ 1142959 h 6380470"/>
              <a:gd name="connsiteX4713" fmla="*/ 1057031 w 11625583"/>
              <a:gd name="connsiteY4713" fmla="*/ 1207625 h 6380470"/>
              <a:gd name="connsiteX4714" fmla="*/ 992366 w 11625583"/>
              <a:gd name="connsiteY4714" fmla="*/ 1272290 h 6380470"/>
              <a:gd name="connsiteX4715" fmla="*/ 927701 w 11625583"/>
              <a:gd name="connsiteY4715" fmla="*/ 1207625 h 6380470"/>
              <a:gd name="connsiteX4716" fmla="*/ 992366 w 11625583"/>
              <a:gd name="connsiteY4716" fmla="*/ 1142959 h 6380470"/>
              <a:gd name="connsiteX4717" fmla="*/ 839710 w 11625583"/>
              <a:gd name="connsiteY4717" fmla="*/ 1142959 h 6380470"/>
              <a:gd name="connsiteX4718" fmla="*/ 904376 w 11625583"/>
              <a:gd name="connsiteY4718" fmla="*/ 1207623 h 6380470"/>
              <a:gd name="connsiteX4719" fmla="*/ 839710 w 11625583"/>
              <a:gd name="connsiteY4719" fmla="*/ 1272290 h 6380470"/>
              <a:gd name="connsiteX4720" fmla="*/ 775045 w 11625583"/>
              <a:gd name="connsiteY4720" fmla="*/ 1207623 h 6380470"/>
              <a:gd name="connsiteX4721" fmla="*/ 839710 w 11625583"/>
              <a:gd name="connsiteY4721" fmla="*/ 1142959 h 6380470"/>
              <a:gd name="connsiteX4722" fmla="*/ 683139 w 11625583"/>
              <a:gd name="connsiteY4722" fmla="*/ 1142959 h 6380470"/>
              <a:gd name="connsiteX4723" fmla="*/ 747804 w 11625583"/>
              <a:gd name="connsiteY4723" fmla="*/ 1207623 h 6380470"/>
              <a:gd name="connsiteX4724" fmla="*/ 683139 w 11625583"/>
              <a:gd name="connsiteY4724" fmla="*/ 1272290 h 6380470"/>
              <a:gd name="connsiteX4725" fmla="*/ 618474 w 11625583"/>
              <a:gd name="connsiteY4725" fmla="*/ 1207623 h 6380470"/>
              <a:gd name="connsiteX4726" fmla="*/ 683139 w 11625583"/>
              <a:gd name="connsiteY4726" fmla="*/ 1142959 h 6380470"/>
              <a:gd name="connsiteX4727" fmla="*/ 526558 w 11625583"/>
              <a:gd name="connsiteY4727" fmla="*/ 1142959 h 6380470"/>
              <a:gd name="connsiteX4728" fmla="*/ 591224 w 11625583"/>
              <a:gd name="connsiteY4728" fmla="*/ 1207623 h 6380470"/>
              <a:gd name="connsiteX4729" fmla="*/ 526558 w 11625583"/>
              <a:gd name="connsiteY4729" fmla="*/ 1272290 h 6380470"/>
              <a:gd name="connsiteX4730" fmla="*/ 461893 w 11625583"/>
              <a:gd name="connsiteY4730" fmla="*/ 1207623 h 6380470"/>
              <a:gd name="connsiteX4731" fmla="*/ 526558 w 11625583"/>
              <a:gd name="connsiteY4731" fmla="*/ 1142959 h 6380470"/>
              <a:gd name="connsiteX4732" fmla="*/ 373903 w 11625583"/>
              <a:gd name="connsiteY4732" fmla="*/ 1142959 h 6380470"/>
              <a:gd name="connsiteX4733" fmla="*/ 438568 w 11625583"/>
              <a:gd name="connsiteY4733" fmla="*/ 1207623 h 6380470"/>
              <a:gd name="connsiteX4734" fmla="*/ 373903 w 11625583"/>
              <a:gd name="connsiteY4734" fmla="*/ 1272290 h 6380470"/>
              <a:gd name="connsiteX4735" fmla="*/ 309237 w 11625583"/>
              <a:gd name="connsiteY4735" fmla="*/ 1207623 h 6380470"/>
              <a:gd name="connsiteX4736" fmla="*/ 373903 w 11625583"/>
              <a:gd name="connsiteY4736" fmla="*/ 1142959 h 6380470"/>
              <a:gd name="connsiteX4737" fmla="*/ 217332 w 11625583"/>
              <a:gd name="connsiteY4737" fmla="*/ 1142959 h 6380470"/>
              <a:gd name="connsiteX4738" fmla="*/ 281997 w 11625583"/>
              <a:gd name="connsiteY4738" fmla="*/ 1207623 h 6380470"/>
              <a:gd name="connsiteX4739" fmla="*/ 217332 w 11625583"/>
              <a:gd name="connsiteY4739" fmla="*/ 1272290 h 6380470"/>
              <a:gd name="connsiteX4740" fmla="*/ 152667 w 11625583"/>
              <a:gd name="connsiteY4740" fmla="*/ 1207623 h 6380470"/>
              <a:gd name="connsiteX4741" fmla="*/ 217332 w 11625583"/>
              <a:gd name="connsiteY4741" fmla="*/ 1142959 h 6380470"/>
              <a:gd name="connsiteX4742" fmla="*/ 64674 w 11625583"/>
              <a:gd name="connsiteY4742" fmla="*/ 1142959 h 6380470"/>
              <a:gd name="connsiteX4743" fmla="*/ 129339 w 11625583"/>
              <a:gd name="connsiteY4743" fmla="*/ 1207623 h 6380470"/>
              <a:gd name="connsiteX4744" fmla="*/ 64674 w 11625583"/>
              <a:gd name="connsiteY4744" fmla="*/ 1272290 h 6380470"/>
              <a:gd name="connsiteX4745" fmla="*/ 9 w 11625583"/>
              <a:gd name="connsiteY4745" fmla="*/ 1207623 h 6380470"/>
              <a:gd name="connsiteX4746" fmla="*/ 64674 w 11625583"/>
              <a:gd name="connsiteY4746" fmla="*/ 1142959 h 6380470"/>
              <a:gd name="connsiteX4747" fmla="*/ 11095111 w 11625583"/>
              <a:gd name="connsiteY4747" fmla="*/ 1002044 h 6380470"/>
              <a:gd name="connsiteX4748" fmla="*/ 11159777 w 11625583"/>
              <a:gd name="connsiteY4748" fmla="*/ 1066709 h 6380470"/>
              <a:gd name="connsiteX4749" fmla="*/ 11095111 w 11625583"/>
              <a:gd name="connsiteY4749" fmla="*/ 1131375 h 6380470"/>
              <a:gd name="connsiteX4750" fmla="*/ 11030445 w 11625583"/>
              <a:gd name="connsiteY4750" fmla="*/ 1066709 h 6380470"/>
              <a:gd name="connsiteX4751" fmla="*/ 11095111 w 11625583"/>
              <a:gd name="connsiteY4751" fmla="*/ 1002044 h 6380470"/>
              <a:gd name="connsiteX4752" fmla="*/ 10938538 w 11625583"/>
              <a:gd name="connsiteY4752" fmla="*/ 1002044 h 6380470"/>
              <a:gd name="connsiteX4753" fmla="*/ 11003204 w 11625583"/>
              <a:gd name="connsiteY4753" fmla="*/ 1066709 h 6380470"/>
              <a:gd name="connsiteX4754" fmla="*/ 10938538 w 11625583"/>
              <a:gd name="connsiteY4754" fmla="*/ 1131375 h 6380470"/>
              <a:gd name="connsiteX4755" fmla="*/ 10873872 w 11625583"/>
              <a:gd name="connsiteY4755" fmla="*/ 1066709 h 6380470"/>
              <a:gd name="connsiteX4756" fmla="*/ 10938538 w 11625583"/>
              <a:gd name="connsiteY4756" fmla="*/ 1002044 h 6380470"/>
              <a:gd name="connsiteX4757" fmla="*/ 10778051 w 11625583"/>
              <a:gd name="connsiteY4757" fmla="*/ 1002044 h 6380470"/>
              <a:gd name="connsiteX4758" fmla="*/ 10842717 w 11625583"/>
              <a:gd name="connsiteY4758" fmla="*/ 1066709 h 6380470"/>
              <a:gd name="connsiteX4759" fmla="*/ 10778051 w 11625583"/>
              <a:gd name="connsiteY4759" fmla="*/ 1131375 h 6380470"/>
              <a:gd name="connsiteX4760" fmla="*/ 10713385 w 11625583"/>
              <a:gd name="connsiteY4760" fmla="*/ 1066709 h 6380470"/>
              <a:gd name="connsiteX4761" fmla="*/ 10778051 w 11625583"/>
              <a:gd name="connsiteY4761" fmla="*/ 1002044 h 6380470"/>
              <a:gd name="connsiteX4762" fmla="*/ 10625392 w 11625583"/>
              <a:gd name="connsiteY4762" fmla="*/ 1002044 h 6380470"/>
              <a:gd name="connsiteX4763" fmla="*/ 10690058 w 11625583"/>
              <a:gd name="connsiteY4763" fmla="*/ 1066709 h 6380470"/>
              <a:gd name="connsiteX4764" fmla="*/ 10625392 w 11625583"/>
              <a:gd name="connsiteY4764" fmla="*/ 1131375 h 6380470"/>
              <a:gd name="connsiteX4765" fmla="*/ 10560726 w 11625583"/>
              <a:gd name="connsiteY4765" fmla="*/ 1066709 h 6380470"/>
              <a:gd name="connsiteX4766" fmla="*/ 10625392 w 11625583"/>
              <a:gd name="connsiteY4766" fmla="*/ 1002044 h 6380470"/>
              <a:gd name="connsiteX4767" fmla="*/ 10468818 w 11625583"/>
              <a:gd name="connsiteY4767" fmla="*/ 1002044 h 6380470"/>
              <a:gd name="connsiteX4768" fmla="*/ 10533484 w 11625583"/>
              <a:gd name="connsiteY4768" fmla="*/ 1066709 h 6380470"/>
              <a:gd name="connsiteX4769" fmla="*/ 10468818 w 11625583"/>
              <a:gd name="connsiteY4769" fmla="*/ 1131375 h 6380470"/>
              <a:gd name="connsiteX4770" fmla="*/ 10404152 w 11625583"/>
              <a:gd name="connsiteY4770" fmla="*/ 1066709 h 6380470"/>
              <a:gd name="connsiteX4771" fmla="*/ 10468818 w 11625583"/>
              <a:gd name="connsiteY4771" fmla="*/ 1002044 h 6380470"/>
              <a:gd name="connsiteX4772" fmla="*/ 10312244 w 11625583"/>
              <a:gd name="connsiteY4772" fmla="*/ 1002044 h 6380470"/>
              <a:gd name="connsiteX4773" fmla="*/ 10376910 w 11625583"/>
              <a:gd name="connsiteY4773" fmla="*/ 1066709 h 6380470"/>
              <a:gd name="connsiteX4774" fmla="*/ 10312244 w 11625583"/>
              <a:gd name="connsiteY4774" fmla="*/ 1131375 h 6380470"/>
              <a:gd name="connsiteX4775" fmla="*/ 10247578 w 11625583"/>
              <a:gd name="connsiteY4775" fmla="*/ 1066709 h 6380470"/>
              <a:gd name="connsiteX4776" fmla="*/ 10312244 w 11625583"/>
              <a:gd name="connsiteY4776" fmla="*/ 1002044 h 6380470"/>
              <a:gd name="connsiteX4777" fmla="*/ 10159586 w 11625583"/>
              <a:gd name="connsiteY4777" fmla="*/ 1002044 h 6380470"/>
              <a:gd name="connsiteX4778" fmla="*/ 10224252 w 11625583"/>
              <a:gd name="connsiteY4778" fmla="*/ 1066709 h 6380470"/>
              <a:gd name="connsiteX4779" fmla="*/ 10159586 w 11625583"/>
              <a:gd name="connsiteY4779" fmla="*/ 1131375 h 6380470"/>
              <a:gd name="connsiteX4780" fmla="*/ 10094920 w 11625583"/>
              <a:gd name="connsiteY4780" fmla="*/ 1066709 h 6380470"/>
              <a:gd name="connsiteX4781" fmla="*/ 10159586 w 11625583"/>
              <a:gd name="connsiteY4781" fmla="*/ 1002044 h 6380470"/>
              <a:gd name="connsiteX4782" fmla="*/ 10003015 w 11625583"/>
              <a:gd name="connsiteY4782" fmla="*/ 1002044 h 6380470"/>
              <a:gd name="connsiteX4783" fmla="*/ 10067681 w 11625583"/>
              <a:gd name="connsiteY4783" fmla="*/ 1066709 h 6380470"/>
              <a:gd name="connsiteX4784" fmla="*/ 10003015 w 11625583"/>
              <a:gd name="connsiteY4784" fmla="*/ 1131375 h 6380470"/>
              <a:gd name="connsiteX4785" fmla="*/ 9938349 w 11625583"/>
              <a:gd name="connsiteY4785" fmla="*/ 1066709 h 6380470"/>
              <a:gd name="connsiteX4786" fmla="*/ 10003015 w 11625583"/>
              <a:gd name="connsiteY4786" fmla="*/ 1002044 h 6380470"/>
              <a:gd name="connsiteX4787" fmla="*/ 9850355 w 11625583"/>
              <a:gd name="connsiteY4787" fmla="*/ 1002044 h 6380470"/>
              <a:gd name="connsiteX4788" fmla="*/ 9915021 w 11625583"/>
              <a:gd name="connsiteY4788" fmla="*/ 1066709 h 6380470"/>
              <a:gd name="connsiteX4789" fmla="*/ 9850355 w 11625583"/>
              <a:gd name="connsiteY4789" fmla="*/ 1131375 h 6380470"/>
              <a:gd name="connsiteX4790" fmla="*/ 9785689 w 11625583"/>
              <a:gd name="connsiteY4790" fmla="*/ 1066709 h 6380470"/>
              <a:gd name="connsiteX4791" fmla="*/ 9850355 w 11625583"/>
              <a:gd name="connsiteY4791" fmla="*/ 1002044 h 6380470"/>
              <a:gd name="connsiteX4792" fmla="*/ 9693780 w 11625583"/>
              <a:gd name="connsiteY4792" fmla="*/ 1002044 h 6380470"/>
              <a:gd name="connsiteX4793" fmla="*/ 9758446 w 11625583"/>
              <a:gd name="connsiteY4793" fmla="*/ 1066709 h 6380470"/>
              <a:gd name="connsiteX4794" fmla="*/ 9693780 w 11625583"/>
              <a:gd name="connsiteY4794" fmla="*/ 1131375 h 6380470"/>
              <a:gd name="connsiteX4795" fmla="*/ 9629114 w 11625583"/>
              <a:gd name="connsiteY4795" fmla="*/ 1066709 h 6380470"/>
              <a:gd name="connsiteX4796" fmla="*/ 9693780 w 11625583"/>
              <a:gd name="connsiteY4796" fmla="*/ 1002044 h 6380470"/>
              <a:gd name="connsiteX4797" fmla="*/ 9541122 w 11625583"/>
              <a:gd name="connsiteY4797" fmla="*/ 1002044 h 6380470"/>
              <a:gd name="connsiteX4798" fmla="*/ 9605788 w 11625583"/>
              <a:gd name="connsiteY4798" fmla="*/ 1066709 h 6380470"/>
              <a:gd name="connsiteX4799" fmla="*/ 9541122 w 11625583"/>
              <a:gd name="connsiteY4799" fmla="*/ 1131375 h 6380470"/>
              <a:gd name="connsiteX4800" fmla="*/ 9476456 w 11625583"/>
              <a:gd name="connsiteY4800" fmla="*/ 1066709 h 6380470"/>
              <a:gd name="connsiteX4801" fmla="*/ 9541122 w 11625583"/>
              <a:gd name="connsiteY4801" fmla="*/ 1002044 h 6380470"/>
              <a:gd name="connsiteX4802" fmla="*/ 9384549 w 11625583"/>
              <a:gd name="connsiteY4802" fmla="*/ 1002044 h 6380470"/>
              <a:gd name="connsiteX4803" fmla="*/ 9449215 w 11625583"/>
              <a:gd name="connsiteY4803" fmla="*/ 1066709 h 6380470"/>
              <a:gd name="connsiteX4804" fmla="*/ 9384549 w 11625583"/>
              <a:gd name="connsiteY4804" fmla="*/ 1131375 h 6380470"/>
              <a:gd name="connsiteX4805" fmla="*/ 9319883 w 11625583"/>
              <a:gd name="connsiteY4805" fmla="*/ 1066709 h 6380470"/>
              <a:gd name="connsiteX4806" fmla="*/ 9384549 w 11625583"/>
              <a:gd name="connsiteY4806" fmla="*/ 1002044 h 6380470"/>
              <a:gd name="connsiteX4807" fmla="*/ 9227976 w 11625583"/>
              <a:gd name="connsiteY4807" fmla="*/ 1002044 h 6380470"/>
              <a:gd name="connsiteX4808" fmla="*/ 9292642 w 11625583"/>
              <a:gd name="connsiteY4808" fmla="*/ 1066709 h 6380470"/>
              <a:gd name="connsiteX4809" fmla="*/ 9227976 w 11625583"/>
              <a:gd name="connsiteY4809" fmla="*/ 1131375 h 6380470"/>
              <a:gd name="connsiteX4810" fmla="*/ 9163310 w 11625583"/>
              <a:gd name="connsiteY4810" fmla="*/ 1066709 h 6380470"/>
              <a:gd name="connsiteX4811" fmla="*/ 9227976 w 11625583"/>
              <a:gd name="connsiteY4811" fmla="*/ 1002044 h 6380470"/>
              <a:gd name="connsiteX4812" fmla="*/ 9075316 w 11625583"/>
              <a:gd name="connsiteY4812" fmla="*/ 1002044 h 6380470"/>
              <a:gd name="connsiteX4813" fmla="*/ 9139982 w 11625583"/>
              <a:gd name="connsiteY4813" fmla="*/ 1066709 h 6380470"/>
              <a:gd name="connsiteX4814" fmla="*/ 9075316 w 11625583"/>
              <a:gd name="connsiteY4814" fmla="*/ 1131375 h 6380470"/>
              <a:gd name="connsiteX4815" fmla="*/ 9010650 w 11625583"/>
              <a:gd name="connsiteY4815" fmla="*/ 1066709 h 6380470"/>
              <a:gd name="connsiteX4816" fmla="*/ 9075316 w 11625583"/>
              <a:gd name="connsiteY4816" fmla="*/ 1002044 h 6380470"/>
              <a:gd name="connsiteX4817" fmla="*/ 8914829 w 11625583"/>
              <a:gd name="connsiteY4817" fmla="*/ 1002044 h 6380470"/>
              <a:gd name="connsiteX4818" fmla="*/ 8979495 w 11625583"/>
              <a:gd name="connsiteY4818" fmla="*/ 1066709 h 6380470"/>
              <a:gd name="connsiteX4819" fmla="*/ 8914829 w 11625583"/>
              <a:gd name="connsiteY4819" fmla="*/ 1131375 h 6380470"/>
              <a:gd name="connsiteX4820" fmla="*/ 8850163 w 11625583"/>
              <a:gd name="connsiteY4820" fmla="*/ 1066709 h 6380470"/>
              <a:gd name="connsiteX4821" fmla="*/ 8914829 w 11625583"/>
              <a:gd name="connsiteY4821" fmla="*/ 1002044 h 6380470"/>
              <a:gd name="connsiteX4822" fmla="*/ 8766084 w 11625583"/>
              <a:gd name="connsiteY4822" fmla="*/ 1002044 h 6380470"/>
              <a:gd name="connsiteX4823" fmla="*/ 8830750 w 11625583"/>
              <a:gd name="connsiteY4823" fmla="*/ 1066709 h 6380470"/>
              <a:gd name="connsiteX4824" fmla="*/ 8766084 w 11625583"/>
              <a:gd name="connsiteY4824" fmla="*/ 1131375 h 6380470"/>
              <a:gd name="connsiteX4825" fmla="*/ 8701418 w 11625583"/>
              <a:gd name="connsiteY4825" fmla="*/ 1066709 h 6380470"/>
              <a:gd name="connsiteX4826" fmla="*/ 8766084 w 11625583"/>
              <a:gd name="connsiteY4826" fmla="*/ 1002044 h 6380470"/>
              <a:gd name="connsiteX4827" fmla="*/ 8601682 w 11625583"/>
              <a:gd name="connsiteY4827" fmla="*/ 1002044 h 6380470"/>
              <a:gd name="connsiteX4828" fmla="*/ 8666348 w 11625583"/>
              <a:gd name="connsiteY4828" fmla="*/ 1066709 h 6380470"/>
              <a:gd name="connsiteX4829" fmla="*/ 8601682 w 11625583"/>
              <a:gd name="connsiteY4829" fmla="*/ 1131375 h 6380470"/>
              <a:gd name="connsiteX4830" fmla="*/ 8537016 w 11625583"/>
              <a:gd name="connsiteY4830" fmla="*/ 1066709 h 6380470"/>
              <a:gd name="connsiteX4831" fmla="*/ 8601682 w 11625583"/>
              <a:gd name="connsiteY4831" fmla="*/ 1002044 h 6380470"/>
              <a:gd name="connsiteX4832" fmla="*/ 8449023 w 11625583"/>
              <a:gd name="connsiteY4832" fmla="*/ 1002044 h 6380470"/>
              <a:gd name="connsiteX4833" fmla="*/ 8513689 w 11625583"/>
              <a:gd name="connsiteY4833" fmla="*/ 1066709 h 6380470"/>
              <a:gd name="connsiteX4834" fmla="*/ 8449023 w 11625583"/>
              <a:gd name="connsiteY4834" fmla="*/ 1131375 h 6380470"/>
              <a:gd name="connsiteX4835" fmla="*/ 8384357 w 11625583"/>
              <a:gd name="connsiteY4835" fmla="*/ 1066709 h 6380470"/>
              <a:gd name="connsiteX4836" fmla="*/ 8449023 w 11625583"/>
              <a:gd name="connsiteY4836" fmla="*/ 1002044 h 6380470"/>
              <a:gd name="connsiteX4837" fmla="*/ 8296367 w 11625583"/>
              <a:gd name="connsiteY4837" fmla="*/ 1002044 h 6380470"/>
              <a:gd name="connsiteX4838" fmla="*/ 8361033 w 11625583"/>
              <a:gd name="connsiteY4838" fmla="*/ 1066709 h 6380470"/>
              <a:gd name="connsiteX4839" fmla="*/ 8296367 w 11625583"/>
              <a:gd name="connsiteY4839" fmla="*/ 1131375 h 6380470"/>
              <a:gd name="connsiteX4840" fmla="*/ 8231701 w 11625583"/>
              <a:gd name="connsiteY4840" fmla="*/ 1066709 h 6380470"/>
              <a:gd name="connsiteX4841" fmla="*/ 8296367 w 11625583"/>
              <a:gd name="connsiteY4841" fmla="*/ 1002044 h 6380470"/>
              <a:gd name="connsiteX4842" fmla="*/ 8139792 w 11625583"/>
              <a:gd name="connsiteY4842" fmla="*/ 1002044 h 6380470"/>
              <a:gd name="connsiteX4843" fmla="*/ 8204458 w 11625583"/>
              <a:gd name="connsiteY4843" fmla="*/ 1066709 h 6380470"/>
              <a:gd name="connsiteX4844" fmla="*/ 8139792 w 11625583"/>
              <a:gd name="connsiteY4844" fmla="*/ 1131375 h 6380470"/>
              <a:gd name="connsiteX4845" fmla="*/ 8075126 w 11625583"/>
              <a:gd name="connsiteY4845" fmla="*/ 1066709 h 6380470"/>
              <a:gd name="connsiteX4846" fmla="*/ 8139792 w 11625583"/>
              <a:gd name="connsiteY4846" fmla="*/ 1002044 h 6380470"/>
              <a:gd name="connsiteX4847" fmla="*/ 7987132 w 11625583"/>
              <a:gd name="connsiteY4847" fmla="*/ 1002044 h 6380470"/>
              <a:gd name="connsiteX4848" fmla="*/ 8051798 w 11625583"/>
              <a:gd name="connsiteY4848" fmla="*/ 1066709 h 6380470"/>
              <a:gd name="connsiteX4849" fmla="*/ 7987132 w 11625583"/>
              <a:gd name="connsiteY4849" fmla="*/ 1131375 h 6380470"/>
              <a:gd name="connsiteX4850" fmla="*/ 7922466 w 11625583"/>
              <a:gd name="connsiteY4850" fmla="*/ 1066709 h 6380470"/>
              <a:gd name="connsiteX4851" fmla="*/ 7987132 w 11625583"/>
              <a:gd name="connsiteY4851" fmla="*/ 1002044 h 6380470"/>
              <a:gd name="connsiteX4852" fmla="*/ 7830560 w 11625583"/>
              <a:gd name="connsiteY4852" fmla="*/ 1002044 h 6380470"/>
              <a:gd name="connsiteX4853" fmla="*/ 7895226 w 11625583"/>
              <a:gd name="connsiteY4853" fmla="*/ 1066709 h 6380470"/>
              <a:gd name="connsiteX4854" fmla="*/ 7830560 w 11625583"/>
              <a:gd name="connsiteY4854" fmla="*/ 1131375 h 6380470"/>
              <a:gd name="connsiteX4855" fmla="*/ 7765894 w 11625583"/>
              <a:gd name="connsiteY4855" fmla="*/ 1066709 h 6380470"/>
              <a:gd name="connsiteX4856" fmla="*/ 7830560 w 11625583"/>
              <a:gd name="connsiteY4856" fmla="*/ 1002044 h 6380470"/>
              <a:gd name="connsiteX4857" fmla="*/ 7677902 w 11625583"/>
              <a:gd name="connsiteY4857" fmla="*/ 1002044 h 6380470"/>
              <a:gd name="connsiteX4858" fmla="*/ 7742568 w 11625583"/>
              <a:gd name="connsiteY4858" fmla="*/ 1066709 h 6380470"/>
              <a:gd name="connsiteX4859" fmla="*/ 7677902 w 11625583"/>
              <a:gd name="connsiteY4859" fmla="*/ 1131375 h 6380470"/>
              <a:gd name="connsiteX4860" fmla="*/ 7613236 w 11625583"/>
              <a:gd name="connsiteY4860" fmla="*/ 1066709 h 6380470"/>
              <a:gd name="connsiteX4861" fmla="*/ 7677902 w 11625583"/>
              <a:gd name="connsiteY4861" fmla="*/ 1002044 h 6380470"/>
              <a:gd name="connsiteX4862" fmla="*/ 7521329 w 11625583"/>
              <a:gd name="connsiteY4862" fmla="*/ 1002044 h 6380470"/>
              <a:gd name="connsiteX4863" fmla="*/ 7585995 w 11625583"/>
              <a:gd name="connsiteY4863" fmla="*/ 1066709 h 6380470"/>
              <a:gd name="connsiteX4864" fmla="*/ 7521329 w 11625583"/>
              <a:gd name="connsiteY4864" fmla="*/ 1131375 h 6380470"/>
              <a:gd name="connsiteX4865" fmla="*/ 7456663 w 11625583"/>
              <a:gd name="connsiteY4865" fmla="*/ 1066709 h 6380470"/>
              <a:gd name="connsiteX4866" fmla="*/ 7521329 w 11625583"/>
              <a:gd name="connsiteY4866" fmla="*/ 1002044 h 6380470"/>
              <a:gd name="connsiteX4867" fmla="*/ 7368667 w 11625583"/>
              <a:gd name="connsiteY4867" fmla="*/ 1002044 h 6380470"/>
              <a:gd name="connsiteX4868" fmla="*/ 7433333 w 11625583"/>
              <a:gd name="connsiteY4868" fmla="*/ 1066709 h 6380470"/>
              <a:gd name="connsiteX4869" fmla="*/ 7368667 w 11625583"/>
              <a:gd name="connsiteY4869" fmla="*/ 1131375 h 6380470"/>
              <a:gd name="connsiteX4870" fmla="*/ 7304001 w 11625583"/>
              <a:gd name="connsiteY4870" fmla="*/ 1066709 h 6380470"/>
              <a:gd name="connsiteX4871" fmla="*/ 7368667 w 11625583"/>
              <a:gd name="connsiteY4871" fmla="*/ 1002044 h 6380470"/>
              <a:gd name="connsiteX4872" fmla="*/ 7212094 w 11625583"/>
              <a:gd name="connsiteY4872" fmla="*/ 1002044 h 6380470"/>
              <a:gd name="connsiteX4873" fmla="*/ 7276760 w 11625583"/>
              <a:gd name="connsiteY4873" fmla="*/ 1066709 h 6380470"/>
              <a:gd name="connsiteX4874" fmla="*/ 7212094 w 11625583"/>
              <a:gd name="connsiteY4874" fmla="*/ 1131375 h 6380470"/>
              <a:gd name="connsiteX4875" fmla="*/ 7147428 w 11625583"/>
              <a:gd name="connsiteY4875" fmla="*/ 1066709 h 6380470"/>
              <a:gd name="connsiteX4876" fmla="*/ 7212094 w 11625583"/>
              <a:gd name="connsiteY4876" fmla="*/ 1002044 h 6380470"/>
              <a:gd name="connsiteX4877" fmla="*/ 7055521 w 11625583"/>
              <a:gd name="connsiteY4877" fmla="*/ 1002044 h 6380470"/>
              <a:gd name="connsiteX4878" fmla="*/ 7120187 w 11625583"/>
              <a:gd name="connsiteY4878" fmla="*/ 1066709 h 6380470"/>
              <a:gd name="connsiteX4879" fmla="*/ 7055521 w 11625583"/>
              <a:gd name="connsiteY4879" fmla="*/ 1131375 h 6380470"/>
              <a:gd name="connsiteX4880" fmla="*/ 6990855 w 11625583"/>
              <a:gd name="connsiteY4880" fmla="*/ 1066709 h 6380470"/>
              <a:gd name="connsiteX4881" fmla="*/ 7055521 w 11625583"/>
              <a:gd name="connsiteY4881" fmla="*/ 1002044 h 6380470"/>
              <a:gd name="connsiteX4882" fmla="*/ 6895035 w 11625583"/>
              <a:gd name="connsiteY4882" fmla="*/ 1002044 h 6380470"/>
              <a:gd name="connsiteX4883" fmla="*/ 6959701 w 11625583"/>
              <a:gd name="connsiteY4883" fmla="*/ 1066709 h 6380470"/>
              <a:gd name="connsiteX4884" fmla="*/ 6895035 w 11625583"/>
              <a:gd name="connsiteY4884" fmla="*/ 1131375 h 6380470"/>
              <a:gd name="connsiteX4885" fmla="*/ 6830369 w 11625583"/>
              <a:gd name="connsiteY4885" fmla="*/ 1066709 h 6380470"/>
              <a:gd name="connsiteX4886" fmla="*/ 6895035 w 11625583"/>
              <a:gd name="connsiteY4886" fmla="*/ 1002044 h 6380470"/>
              <a:gd name="connsiteX4887" fmla="*/ 6742375 w 11625583"/>
              <a:gd name="connsiteY4887" fmla="*/ 1002044 h 6380470"/>
              <a:gd name="connsiteX4888" fmla="*/ 6807041 w 11625583"/>
              <a:gd name="connsiteY4888" fmla="*/ 1066709 h 6380470"/>
              <a:gd name="connsiteX4889" fmla="*/ 6742375 w 11625583"/>
              <a:gd name="connsiteY4889" fmla="*/ 1131375 h 6380470"/>
              <a:gd name="connsiteX4890" fmla="*/ 6677709 w 11625583"/>
              <a:gd name="connsiteY4890" fmla="*/ 1066709 h 6380470"/>
              <a:gd name="connsiteX4891" fmla="*/ 6742375 w 11625583"/>
              <a:gd name="connsiteY4891" fmla="*/ 1002044 h 6380470"/>
              <a:gd name="connsiteX4892" fmla="*/ 6585802 w 11625583"/>
              <a:gd name="connsiteY4892" fmla="*/ 1002044 h 6380470"/>
              <a:gd name="connsiteX4893" fmla="*/ 6650468 w 11625583"/>
              <a:gd name="connsiteY4893" fmla="*/ 1066709 h 6380470"/>
              <a:gd name="connsiteX4894" fmla="*/ 6585802 w 11625583"/>
              <a:gd name="connsiteY4894" fmla="*/ 1131375 h 6380470"/>
              <a:gd name="connsiteX4895" fmla="*/ 6521136 w 11625583"/>
              <a:gd name="connsiteY4895" fmla="*/ 1066709 h 6380470"/>
              <a:gd name="connsiteX4896" fmla="*/ 6585802 w 11625583"/>
              <a:gd name="connsiteY4896" fmla="*/ 1002044 h 6380470"/>
              <a:gd name="connsiteX4897" fmla="*/ 6429229 w 11625583"/>
              <a:gd name="connsiteY4897" fmla="*/ 1002044 h 6380470"/>
              <a:gd name="connsiteX4898" fmla="*/ 6493895 w 11625583"/>
              <a:gd name="connsiteY4898" fmla="*/ 1066709 h 6380470"/>
              <a:gd name="connsiteX4899" fmla="*/ 6429229 w 11625583"/>
              <a:gd name="connsiteY4899" fmla="*/ 1131375 h 6380470"/>
              <a:gd name="connsiteX4900" fmla="*/ 6364563 w 11625583"/>
              <a:gd name="connsiteY4900" fmla="*/ 1066709 h 6380470"/>
              <a:gd name="connsiteX4901" fmla="*/ 6429229 w 11625583"/>
              <a:gd name="connsiteY4901" fmla="*/ 1002044 h 6380470"/>
              <a:gd name="connsiteX4902" fmla="*/ 6276569 w 11625583"/>
              <a:gd name="connsiteY4902" fmla="*/ 1002044 h 6380470"/>
              <a:gd name="connsiteX4903" fmla="*/ 6341235 w 11625583"/>
              <a:gd name="connsiteY4903" fmla="*/ 1066709 h 6380470"/>
              <a:gd name="connsiteX4904" fmla="*/ 6276569 w 11625583"/>
              <a:gd name="connsiteY4904" fmla="*/ 1131375 h 6380470"/>
              <a:gd name="connsiteX4905" fmla="*/ 6211903 w 11625583"/>
              <a:gd name="connsiteY4905" fmla="*/ 1066709 h 6380470"/>
              <a:gd name="connsiteX4906" fmla="*/ 6276569 w 11625583"/>
              <a:gd name="connsiteY4906" fmla="*/ 1002044 h 6380470"/>
              <a:gd name="connsiteX4907" fmla="*/ 6119998 w 11625583"/>
              <a:gd name="connsiteY4907" fmla="*/ 1002044 h 6380470"/>
              <a:gd name="connsiteX4908" fmla="*/ 6184664 w 11625583"/>
              <a:gd name="connsiteY4908" fmla="*/ 1066709 h 6380470"/>
              <a:gd name="connsiteX4909" fmla="*/ 6119998 w 11625583"/>
              <a:gd name="connsiteY4909" fmla="*/ 1131375 h 6380470"/>
              <a:gd name="connsiteX4910" fmla="*/ 6055332 w 11625583"/>
              <a:gd name="connsiteY4910" fmla="*/ 1066709 h 6380470"/>
              <a:gd name="connsiteX4911" fmla="*/ 6119998 w 11625583"/>
              <a:gd name="connsiteY4911" fmla="*/ 1002044 h 6380470"/>
              <a:gd name="connsiteX4912" fmla="*/ 5967338 w 11625583"/>
              <a:gd name="connsiteY4912" fmla="*/ 1002044 h 6380470"/>
              <a:gd name="connsiteX4913" fmla="*/ 6032004 w 11625583"/>
              <a:gd name="connsiteY4913" fmla="*/ 1066709 h 6380470"/>
              <a:gd name="connsiteX4914" fmla="*/ 5967338 w 11625583"/>
              <a:gd name="connsiteY4914" fmla="*/ 1131375 h 6380470"/>
              <a:gd name="connsiteX4915" fmla="*/ 5902672 w 11625583"/>
              <a:gd name="connsiteY4915" fmla="*/ 1066709 h 6380470"/>
              <a:gd name="connsiteX4916" fmla="*/ 5967338 w 11625583"/>
              <a:gd name="connsiteY4916" fmla="*/ 1002044 h 6380470"/>
              <a:gd name="connsiteX4917" fmla="*/ 4875265 w 11625583"/>
              <a:gd name="connsiteY4917" fmla="*/ 1002044 h 6380470"/>
              <a:gd name="connsiteX4918" fmla="*/ 4939939 w 11625583"/>
              <a:gd name="connsiteY4918" fmla="*/ 1066709 h 6380470"/>
              <a:gd name="connsiteX4919" fmla="*/ 4875265 w 11625583"/>
              <a:gd name="connsiteY4919" fmla="*/ 1131375 h 6380470"/>
              <a:gd name="connsiteX4920" fmla="*/ 4810599 w 11625583"/>
              <a:gd name="connsiteY4920" fmla="*/ 1066709 h 6380470"/>
              <a:gd name="connsiteX4921" fmla="*/ 4875265 w 11625583"/>
              <a:gd name="connsiteY4921" fmla="*/ 1002044 h 6380470"/>
              <a:gd name="connsiteX4922" fmla="*/ 4256823 w 11625583"/>
              <a:gd name="connsiteY4922" fmla="*/ 1002044 h 6380470"/>
              <a:gd name="connsiteX4923" fmla="*/ 4321467 w 11625583"/>
              <a:gd name="connsiteY4923" fmla="*/ 1066709 h 6380470"/>
              <a:gd name="connsiteX4924" fmla="*/ 4256823 w 11625583"/>
              <a:gd name="connsiteY4924" fmla="*/ 1131375 h 6380470"/>
              <a:gd name="connsiteX4925" fmla="*/ 4192125 w 11625583"/>
              <a:gd name="connsiteY4925" fmla="*/ 1066709 h 6380470"/>
              <a:gd name="connsiteX4926" fmla="*/ 4256823 w 11625583"/>
              <a:gd name="connsiteY4926" fmla="*/ 1002044 h 6380470"/>
              <a:gd name="connsiteX4927" fmla="*/ 4100249 w 11625583"/>
              <a:gd name="connsiteY4927" fmla="*/ 1002044 h 6380470"/>
              <a:gd name="connsiteX4928" fmla="*/ 4164920 w 11625583"/>
              <a:gd name="connsiteY4928" fmla="*/ 1066709 h 6380470"/>
              <a:gd name="connsiteX4929" fmla="*/ 4100249 w 11625583"/>
              <a:gd name="connsiteY4929" fmla="*/ 1131375 h 6380470"/>
              <a:gd name="connsiteX4930" fmla="*/ 4035594 w 11625583"/>
              <a:gd name="connsiteY4930" fmla="*/ 1066709 h 6380470"/>
              <a:gd name="connsiteX4931" fmla="*/ 4100249 w 11625583"/>
              <a:gd name="connsiteY4931" fmla="*/ 1002044 h 6380470"/>
              <a:gd name="connsiteX4932" fmla="*/ 3947573 w 11625583"/>
              <a:gd name="connsiteY4932" fmla="*/ 1002044 h 6380470"/>
              <a:gd name="connsiteX4933" fmla="*/ 4012257 w 11625583"/>
              <a:gd name="connsiteY4933" fmla="*/ 1066709 h 6380470"/>
              <a:gd name="connsiteX4934" fmla="*/ 3947573 w 11625583"/>
              <a:gd name="connsiteY4934" fmla="*/ 1131375 h 6380470"/>
              <a:gd name="connsiteX4935" fmla="*/ 3883039 w 11625583"/>
              <a:gd name="connsiteY4935" fmla="*/ 1066709 h 6380470"/>
              <a:gd name="connsiteX4936" fmla="*/ 3947573 w 11625583"/>
              <a:gd name="connsiteY4936" fmla="*/ 1002044 h 6380470"/>
              <a:gd name="connsiteX4937" fmla="*/ 3321427 w 11625583"/>
              <a:gd name="connsiteY4937" fmla="*/ 1002044 h 6380470"/>
              <a:gd name="connsiteX4938" fmla="*/ 3386066 w 11625583"/>
              <a:gd name="connsiteY4938" fmla="*/ 1066709 h 6380470"/>
              <a:gd name="connsiteX4939" fmla="*/ 3321427 w 11625583"/>
              <a:gd name="connsiteY4939" fmla="*/ 1131375 h 6380470"/>
              <a:gd name="connsiteX4940" fmla="*/ 3256763 w 11625583"/>
              <a:gd name="connsiteY4940" fmla="*/ 1066709 h 6380470"/>
              <a:gd name="connsiteX4941" fmla="*/ 3321427 w 11625583"/>
              <a:gd name="connsiteY4941" fmla="*/ 1002044 h 6380470"/>
              <a:gd name="connsiteX4942" fmla="*/ 3172672 w 11625583"/>
              <a:gd name="connsiteY4942" fmla="*/ 1002044 h 6380470"/>
              <a:gd name="connsiteX4943" fmla="*/ 3237345 w 11625583"/>
              <a:gd name="connsiteY4943" fmla="*/ 1066709 h 6380470"/>
              <a:gd name="connsiteX4944" fmla="*/ 3172672 w 11625583"/>
              <a:gd name="connsiteY4944" fmla="*/ 1131375 h 6380470"/>
              <a:gd name="connsiteX4945" fmla="*/ 3107984 w 11625583"/>
              <a:gd name="connsiteY4945" fmla="*/ 1066709 h 6380470"/>
              <a:gd name="connsiteX4946" fmla="*/ 3172672 w 11625583"/>
              <a:gd name="connsiteY4946" fmla="*/ 1002044 h 6380470"/>
              <a:gd name="connsiteX4947" fmla="*/ 3012149 w 11625583"/>
              <a:gd name="connsiteY4947" fmla="*/ 1002044 h 6380470"/>
              <a:gd name="connsiteX4948" fmla="*/ 3076821 w 11625583"/>
              <a:gd name="connsiteY4948" fmla="*/ 1066709 h 6380470"/>
              <a:gd name="connsiteX4949" fmla="*/ 3012149 w 11625583"/>
              <a:gd name="connsiteY4949" fmla="*/ 1131375 h 6380470"/>
              <a:gd name="connsiteX4950" fmla="*/ 2947494 w 11625583"/>
              <a:gd name="connsiteY4950" fmla="*/ 1066709 h 6380470"/>
              <a:gd name="connsiteX4951" fmla="*/ 3012149 w 11625583"/>
              <a:gd name="connsiteY4951" fmla="*/ 1002044 h 6380470"/>
              <a:gd name="connsiteX4952" fmla="*/ 2699057 w 11625583"/>
              <a:gd name="connsiteY4952" fmla="*/ 1002044 h 6380470"/>
              <a:gd name="connsiteX4953" fmla="*/ 2763710 w 11625583"/>
              <a:gd name="connsiteY4953" fmla="*/ 1066709 h 6380470"/>
              <a:gd name="connsiteX4954" fmla="*/ 2699057 w 11625583"/>
              <a:gd name="connsiteY4954" fmla="*/ 1131375 h 6380470"/>
              <a:gd name="connsiteX4955" fmla="*/ 2634401 w 11625583"/>
              <a:gd name="connsiteY4955" fmla="*/ 1066709 h 6380470"/>
              <a:gd name="connsiteX4956" fmla="*/ 2699057 w 11625583"/>
              <a:gd name="connsiteY4956" fmla="*/ 1002044 h 6380470"/>
              <a:gd name="connsiteX4957" fmla="*/ 2546420 w 11625583"/>
              <a:gd name="connsiteY4957" fmla="*/ 1002044 h 6380470"/>
              <a:gd name="connsiteX4958" fmla="*/ 2611080 w 11625583"/>
              <a:gd name="connsiteY4958" fmla="*/ 1066709 h 6380470"/>
              <a:gd name="connsiteX4959" fmla="*/ 2546420 w 11625583"/>
              <a:gd name="connsiteY4959" fmla="*/ 1131375 h 6380470"/>
              <a:gd name="connsiteX4960" fmla="*/ 2481765 w 11625583"/>
              <a:gd name="connsiteY4960" fmla="*/ 1066709 h 6380470"/>
              <a:gd name="connsiteX4961" fmla="*/ 2546420 w 11625583"/>
              <a:gd name="connsiteY4961" fmla="*/ 1002044 h 6380470"/>
              <a:gd name="connsiteX4962" fmla="*/ 2389845 w 11625583"/>
              <a:gd name="connsiteY4962" fmla="*/ 1002044 h 6380470"/>
              <a:gd name="connsiteX4963" fmla="*/ 2454531 w 11625583"/>
              <a:gd name="connsiteY4963" fmla="*/ 1066709 h 6380470"/>
              <a:gd name="connsiteX4964" fmla="*/ 2389845 w 11625583"/>
              <a:gd name="connsiteY4964" fmla="*/ 1131375 h 6380470"/>
              <a:gd name="connsiteX4965" fmla="*/ 2325192 w 11625583"/>
              <a:gd name="connsiteY4965" fmla="*/ 1066709 h 6380470"/>
              <a:gd name="connsiteX4966" fmla="*/ 2389845 w 11625583"/>
              <a:gd name="connsiteY4966" fmla="*/ 1002044 h 6380470"/>
              <a:gd name="connsiteX4967" fmla="*/ 2237166 w 11625583"/>
              <a:gd name="connsiteY4967" fmla="*/ 1002044 h 6380470"/>
              <a:gd name="connsiteX4968" fmla="*/ 2301856 w 11625583"/>
              <a:gd name="connsiteY4968" fmla="*/ 1066709 h 6380470"/>
              <a:gd name="connsiteX4969" fmla="*/ 2237166 w 11625583"/>
              <a:gd name="connsiteY4969" fmla="*/ 1131375 h 6380470"/>
              <a:gd name="connsiteX4970" fmla="*/ 2172482 w 11625583"/>
              <a:gd name="connsiteY4970" fmla="*/ 1066709 h 6380470"/>
              <a:gd name="connsiteX4971" fmla="*/ 2237166 w 11625583"/>
              <a:gd name="connsiteY4971" fmla="*/ 1002044 h 6380470"/>
              <a:gd name="connsiteX4972" fmla="*/ 2084488 w 11625583"/>
              <a:gd name="connsiteY4972" fmla="*/ 1002044 h 6380470"/>
              <a:gd name="connsiteX4973" fmla="*/ 2149149 w 11625583"/>
              <a:gd name="connsiteY4973" fmla="*/ 1066709 h 6380470"/>
              <a:gd name="connsiteX4974" fmla="*/ 2084488 w 11625583"/>
              <a:gd name="connsiteY4974" fmla="*/ 1131375 h 6380470"/>
              <a:gd name="connsiteX4975" fmla="*/ 2019843 w 11625583"/>
              <a:gd name="connsiteY4975" fmla="*/ 1066709 h 6380470"/>
              <a:gd name="connsiteX4976" fmla="*/ 2084488 w 11625583"/>
              <a:gd name="connsiteY4976" fmla="*/ 1002044 h 6380470"/>
              <a:gd name="connsiteX4977" fmla="*/ 1927899 w 11625583"/>
              <a:gd name="connsiteY4977" fmla="*/ 1002044 h 6380470"/>
              <a:gd name="connsiteX4978" fmla="*/ 1992589 w 11625583"/>
              <a:gd name="connsiteY4978" fmla="*/ 1066709 h 6380470"/>
              <a:gd name="connsiteX4979" fmla="*/ 1927899 w 11625583"/>
              <a:gd name="connsiteY4979" fmla="*/ 1131375 h 6380470"/>
              <a:gd name="connsiteX4980" fmla="*/ 1863266 w 11625583"/>
              <a:gd name="connsiteY4980" fmla="*/ 1066709 h 6380470"/>
              <a:gd name="connsiteX4981" fmla="*/ 1927899 w 11625583"/>
              <a:gd name="connsiteY4981" fmla="*/ 1002044 h 6380470"/>
              <a:gd name="connsiteX4982" fmla="*/ 1775247 w 11625583"/>
              <a:gd name="connsiteY4982" fmla="*/ 1002044 h 6380470"/>
              <a:gd name="connsiteX4983" fmla="*/ 1839934 w 11625583"/>
              <a:gd name="connsiteY4983" fmla="*/ 1066709 h 6380470"/>
              <a:gd name="connsiteX4984" fmla="*/ 1775247 w 11625583"/>
              <a:gd name="connsiteY4984" fmla="*/ 1131375 h 6380470"/>
              <a:gd name="connsiteX4985" fmla="*/ 1710575 w 11625583"/>
              <a:gd name="connsiteY4985" fmla="*/ 1066709 h 6380470"/>
              <a:gd name="connsiteX4986" fmla="*/ 1775247 w 11625583"/>
              <a:gd name="connsiteY4986" fmla="*/ 1002044 h 6380470"/>
              <a:gd name="connsiteX4987" fmla="*/ 1618661 w 11625583"/>
              <a:gd name="connsiteY4987" fmla="*/ 1002044 h 6380470"/>
              <a:gd name="connsiteX4988" fmla="*/ 1683332 w 11625583"/>
              <a:gd name="connsiteY4988" fmla="*/ 1066709 h 6380470"/>
              <a:gd name="connsiteX4989" fmla="*/ 1618661 w 11625583"/>
              <a:gd name="connsiteY4989" fmla="*/ 1131375 h 6380470"/>
              <a:gd name="connsiteX4990" fmla="*/ 1554000 w 11625583"/>
              <a:gd name="connsiteY4990" fmla="*/ 1066709 h 6380470"/>
              <a:gd name="connsiteX4991" fmla="*/ 1618661 w 11625583"/>
              <a:gd name="connsiteY4991" fmla="*/ 1002044 h 6380470"/>
              <a:gd name="connsiteX4992" fmla="*/ 1466007 w 11625583"/>
              <a:gd name="connsiteY4992" fmla="*/ 1002044 h 6380470"/>
              <a:gd name="connsiteX4993" fmla="*/ 1530672 w 11625583"/>
              <a:gd name="connsiteY4993" fmla="*/ 1066709 h 6380470"/>
              <a:gd name="connsiteX4994" fmla="*/ 1466007 w 11625583"/>
              <a:gd name="connsiteY4994" fmla="*/ 1131375 h 6380470"/>
              <a:gd name="connsiteX4995" fmla="*/ 1401343 w 11625583"/>
              <a:gd name="connsiteY4995" fmla="*/ 1066709 h 6380470"/>
              <a:gd name="connsiteX4996" fmla="*/ 1466007 w 11625583"/>
              <a:gd name="connsiteY4996" fmla="*/ 1002044 h 6380470"/>
              <a:gd name="connsiteX4997" fmla="*/ 1309433 w 11625583"/>
              <a:gd name="connsiteY4997" fmla="*/ 1002044 h 6380470"/>
              <a:gd name="connsiteX4998" fmla="*/ 1374099 w 11625583"/>
              <a:gd name="connsiteY4998" fmla="*/ 1066709 h 6380470"/>
              <a:gd name="connsiteX4999" fmla="*/ 1309433 w 11625583"/>
              <a:gd name="connsiteY4999" fmla="*/ 1131375 h 6380470"/>
              <a:gd name="connsiteX5000" fmla="*/ 1244768 w 11625583"/>
              <a:gd name="connsiteY5000" fmla="*/ 1066709 h 6380470"/>
              <a:gd name="connsiteX5001" fmla="*/ 1309433 w 11625583"/>
              <a:gd name="connsiteY5001" fmla="*/ 1002044 h 6380470"/>
              <a:gd name="connsiteX5002" fmla="*/ 1148949 w 11625583"/>
              <a:gd name="connsiteY5002" fmla="*/ 1002044 h 6380470"/>
              <a:gd name="connsiteX5003" fmla="*/ 1213614 w 11625583"/>
              <a:gd name="connsiteY5003" fmla="*/ 1066709 h 6380470"/>
              <a:gd name="connsiteX5004" fmla="*/ 1148949 w 11625583"/>
              <a:gd name="connsiteY5004" fmla="*/ 1131375 h 6380470"/>
              <a:gd name="connsiteX5005" fmla="*/ 1084284 w 11625583"/>
              <a:gd name="connsiteY5005" fmla="*/ 1066709 h 6380470"/>
              <a:gd name="connsiteX5006" fmla="*/ 1148949 w 11625583"/>
              <a:gd name="connsiteY5006" fmla="*/ 1002044 h 6380470"/>
              <a:gd name="connsiteX5007" fmla="*/ 992376 w 11625583"/>
              <a:gd name="connsiteY5007" fmla="*/ 1002044 h 6380470"/>
              <a:gd name="connsiteX5008" fmla="*/ 1057041 w 11625583"/>
              <a:gd name="connsiteY5008" fmla="*/ 1066709 h 6380470"/>
              <a:gd name="connsiteX5009" fmla="*/ 992376 w 11625583"/>
              <a:gd name="connsiteY5009" fmla="*/ 1131375 h 6380470"/>
              <a:gd name="connsiteX5010" fmla="*/ 927711 w 11625583"/>
              <a:gd name="connsiteY5010" fmla="*/ 1066709 h 6380470"/>
              <a:gd name="connsiteX5011" fmla="*/ 992376 w 11625583"/>
              <a:gd name="connsiteY5011" fmla="*/ 1002044 h 6380470"/>
              <a:gd name="connsiteX5012" fmla="*/ 839721 w 11625583"/>
              <a:gd name="connsiteY5012" fmla="*/ 1002044 h 6380470"/>
              <a:gd name="connsiteX5013" fmla="*/ 904386 w 11625583"/>
              <a:gd name="connsiteY5013" fmla="*/ 1066709 h 6380470"/>
              <a:gd name="connsiteX5014" fmla="*/ 839721 w 11625583"/>
              <a:gd name="connsiteY5014" fmla="*/ 1131375 h 6380470"/>
              <a:gd name="connsiteX5015" fmla="*/ 775056 w 11625583"/>
              <a:gd name="connsiteY5015" fmla="*/ 1066709 h 6380470"/>
              <a:gd name="connsiteX5016" fmla="*/ 839721 w 11625583"/>
              <a:gd name="connsiteY5016" fmla="*/ 1002044 h 6380470"/>
              <a:gd name="connsiteX5017" fmla="*/ 683148 w 11625583"/>
              <a:gd name="connsiteY5017" fmla="*/ 1002044 h 6380470"/>
              <a:gd name="connsiteX5018" fmla="*/ 747813 w 11625583"/>
              <a:gd name="connsiteY5018" fmla="*/ 1066709 h 6380470"/>
              <a:gd name="connsiteX5019" fmla="*/ 683148 w 11625583"/>
              <a:gd name="connsiteY5019" fmla="*/ 1131375 h 6380470"/>
              <a:gd name="connsiteX5020" fmla="*/ 618483 w 11625583"/>
              <a:gd name="connsiteY5020" fmla="*/ 1066709 h 6380470"/>
              <a:gd name="connsiteX5021" fmla="*/ 683148 w 11625583"/>
              <a:gd name="connsiteY5021" fmla="*/ 1002044 h 6380470"/>
              <a:gd name="connsiteX5022" fmla="*/ 11560917 w 11625583"/>
              <a:gd name="connsiteY5022" fmla="*/ 1002040 h 6380470"/>
              <a:gd name="connsiteX5023" fmla="*/ 11625583 w 11625583"/>
              <a:gd name="connsiteY5023" fmla="*/ 1066706 h 6380470"/>
              <a:gd name="connsiteX5024" fmla="*/ 11560917 w 11625583"/>
              <a:gd name="connsiteY5024" fmla="*/ 1131374 h 6380470"/>
              <a:gd name="connsiteX5025" fmla="*/ 11496251 w 11625583"/>
              <a:gd name="connsiteY5025" fmla="*/ 1066706 h 6380470"/>
              <a:gd name="connsiteX5026" fmla="*/ 11560917 w 11625583"/>
              <a:gd name="connsiteY5026" fmla="*/ 1002040 h 6380470"/>
              <a:gd name="connsiteX5027" fmla="*/ 11404343 w 11625583"/>
              <a:gd name="connsiteY5027" fmla="*/ 1002040 h 6380470"/>
              <a:gd name="connsiteX5028" fmla="*/ 11469009 w 11625583"/>
              <a:gd name="connsiteY5028" fmla="*/ 1066706 h 6380470"/>
              <a:gd name="connsiteX5029" fmla="*/ 11404343 w 11625583"/>
              <a:gd name="connsiteY5029" fmla="*/ 1131374 h 6380470"/>
              <a:gd name="connsiteX5030" fmla="*/ 11339677 w 11625583"/>
              <a:gd name="connsiteY5030" fmla="*/ 1066706 h 6380470"/>
              <a:gd name="connsiteX5031" fmla="*/ 11404343 w 11625583"/>
              <a:gd name="connsiteY5031" fmla="*/ 1002040 h 6380470"/>
              <a:gd name="connsiteX5032" fmla="*/ 11251683 w 11625583"/>
              <a:gd name="connsiteY5032" fmla="*/ 1002040 h 6380470"/>
              <a:gd name="connsiteX5033" fmla="*/ 11316349 w 11625583"/>
              <a:gd name="connsiteY5033" fmla="*/ 1066706 h 6380470"/>
              <a:gd name="connsiteX5034" fmla="*/ 11251683 w 11625583"/>
              <a:gd name="connsiteY5034" fmla="*/ 1131374 h 6380470"/>
              <a:gd name="connsiteX5035" fmla="*/ 11187017 w 11625583"/>
              <a:gd name="connsiteY5035" fmla="*/ 1066706 h 6380470"/>
              <a:gd name="connsiteX5036" fmla="*/ 11251683 w 11625583"/>
              <a:gd name="connsiteY5036" fmla="*/ 1002040 h 6380470"/>
              <a:gd name="connsiteX5037" fmla="*/ 526568 w 11625583"/>
              <a:gd name="connsiteY5037" fmla="*/ 1002040 h 6380470"/>
              <a:gd name="connsiteX5038" fmla="*/ 591233 w 11625583"/>
              <a:gd name="connsiteY5038" fmla="*/ 1066706 h 6380470"/>
              <a:gd name="connsiteX5039" fmla="*/ 526568 w 11625583"/>
              <a:gd name="connsiteY5039" fmla="*/ 1131374 h 6380470"/>
              <a:gd name="connsiteX5040" fmla="*/ 461903 w 11625583"/>
              <a:gd name="connsiteY5040" fmla="*/ 1066706 h 6380470"/>
              <a:gd name="connsiteX5041" fmla="*/ 526568 w 11625583"/>
              <a:gd name="connsiteY5041" fmla="*/ 1002040 h 6380470"/>
              <a:gd name="connsiteX5042" fmla="*/ 373912 w 11625583"/>
              <a:gd name="connsiteY5042" fmla="*/ 1002040 h 6380470"/>
              <a:gd name="connsiteX5043" fmla="*/ 438577 w 11625583"/>
              <a:gd name="connsiteY5043" fmla="*/ 1066706 h 6380470"/>
              <a:gd name="connsiteX5044" fmla="*/ 373912 w 11625583"/>
              <a:gd name="connsiteY5044" fmla="*/ 1131374 h 6380470"/>
              <a:gd name="connsiteX5045" fmla="*/ 309247 w 11625583"/>
              <a:gd name="connsiteY5045" fmla="*/ 1066706 h 6380470"/>
              <a:gd name="connsiteX5046" fmla="*/ 373912 w 11625583"/>
              <a:gd name="connsiteY5046" fmla="*/ 1002040 h 6380470"/>
              <a:gd name="connsiteX5047" fmla="*/ 217342 w 11625583"/>
              <a:gd name="connsiteY5047" fmla="*/ 1002040 h 6380470"/>
              <a:gd name="connsiteX5048" fmla="*/ 282007 w 11625583"/>
              <a:gd name="connsiteY5048" fmla="*/ 1066706 h 6380470"/>
              <a:gd name="connsiteX5049" fmla="*/ 217342 w 11625583"/>
              <a:gd name="connsiteY5049" fmla="*/ 1131374 h 6380470"/>
              <a:gd name="connsiteX5050" fmla="*/ 152676 w 11625583"/>
              <a:gd name="connsiteY5050" fmla="*/ 1066706 h 6380470"/>
              <a:gd name="connsiteX5051" fmla="*/ 217342 w 11625583"/>
              <a:gd name="connsiteY5051" fmla="*/ 1002040 h 6380470"/>
              <a:gd name="connsiteX5052" fmla="*/ 992384 w 11625583"/>
              <a:gd name="connsiteY5052" fmla="*/ 849416 h 6380470"/>
              <a:gd name="connsiteX5053" fmla="*/ 1057050 w 11625583"/>
              <a:gd name="connsiteY5053" fmla="*/ 914081 h 6380470"/>
              <a:gd name="connsiteX5054" fmla="*/ 992384 w 11625583"/>
              <a:gd name="connsiteY5054" fmla="*/ 978717 h 6380470"/>
              <a:gd name="connsiteX5055" fmla="*/ 927719 w 11625583"/>
              <a:gd name="connsiteY5055" fmla="*/ 914081 h 6380470"/>
              <a:gd name="connsiteX5056" fmla="*/ 992384 w 11625583"/>
              <a:gd name="connsiteY5056" fmla="*/ 849416 h 6380470"/>
              <a:gd name="connsiteX5057" fmla="*/ 839729 w 11625583"/>
              <a:gd name="connsiteY5057" fmla="*/ 849416 h 6380470"/>
              <a:gd name="connsiteX5058" fmla="*/ 904394 w 11625583"/>
              <a:gd name="connsiteY5058" fmla="*/ 914081 h 6380470"/>
              <a:gd name="connsiteX5059" fmla="*/ 839729 w 11625583"/>
              <a:gd name="connsiteY5059" fmla="*/ 978717 h 6380470"/>
              <a:gd name="connsiteX5060" fmla="*/ 775064 w 11625583"/>
              <a:gd name="connsiteY5060" fmla="*/ 914081 h 6380470"/>
              <a:gd name="connsiteX5061" fmla="*/ 839729 w 11625583"/>
              <a:gd name="connsiteY5061" fmla="*/ 849416 h 6380470"/>
              <a:gd name="connsiteX5062" fmla="*/ 683158 w 11625583"/>
              <a:gd name="connsiteY5062" fmla="*/ 849416 h 6380470"/>
              <a:gd name="connsiteX5063" fmla="*/ 747824 w 11625583"/>
              <a:gd name="connsiteY5063" fmla="*/ 914081 h 6380470"/>
              <a:gd name="connsiteX5064" fmla="*/ 683158 w 11625583"/>
              <a:gd name="connsiteY5064" fmla="*/ 978717 h 6380470"/>
              <a:gd name="connsiteX5065" fmla="*/ 618493 w 11625583"/>
              <a:gd name="connsiteY5065" fmla="*/ 914081 h 6380470"/>
              <a:gd name="connsiteX5066" fmla="*/ 683158 w 11625583"/>
              <a:gd name="connsiteY5066" fmla="*/ 849416 h 6380470"/>
              <a:gd name="connsiteX5067" fmla="*/ 7677904 w 11625583"/>
              <a:gd name="connsiteY5067" fmla="*/ 849415 h 6380470"/>
              <a:gd name="connsiteX5068" fmla="*/ 7742570 w 11625583"/>
              <a:gd name="connsiteY5068" fmla="*/ 914080 h 6380470"/>
              <a:gd name="connsiteX5069" fmla="*/ 7677904 w 11625583"/>
              <a:gd name="connsiteY5069" fmla="*/ 978717 h 6380470"/>
              <a:gd name="connsiteX5070" fmla="*/ 7613238 w 11625583"/>
              <a:gd name="connsiteY5070" fmla="*/ 914080 h 6380470"/>
              <a:gd name="connsiteX5071" fmla="*/ 7677904 w 11625583"/>
              <a:gd name="connsiteY5071" fmla="*/ 849415 h 6380470"/>
              <a:gd name="connsiteX5072" fmla="*/ 7521331 w 11625583"/>
              <a:gd name="connsiteY5072" fmla="*/ 849415 h 6380470"/>
              <a:gd name="connsiteX5073" fmla="*/ 7585997 w 11625583"/>
              <a:gd name="connsiteY5073" fmla="*/ 914080 h 6380470"/>
              <a:gd name="connsiteX5074" fmla="*/ 7521331 w 11625583"/>
              <a:gd name="connsiteY5074" fmla="*/ 978717 h 6380470"/>
              <a:gd name="connsiteX5075" fmla="*/ 7456665 w 11625583"/>
              <a:gd name="connsiteY5075" fmla="*/ 914080 h 6380470"/>
              <a:gd name="connsiteX5076" fmla="*/ 7521331 w 11625583"/>
              <a:gd name="connsiteY5076" fmla="*/ 849415 h 6380470"/>
              <a:gd name="connsiteX5077" fmla="*/ 7368669 w 11625583"/>
              <a:gd name="connsiteY5077" fmla="*/ 849415 h 6380470"/>
              <a:gd name="connsiteX5078" fmla="*/ 7433335 w 11625583"/>
              <a:gd name="connsiteY5078" fmla="*/ 914080 h 6380470"/>
              <a:gd name="connsiteX5079" fmla="*/ 7368669 w 11625583"/>
              <a:gd name="connsiteY5079" fmla="*/ 978717 h 6380470"/>
              <a:gd name="connsiteX5080" fmla="*/ 7304003 w 11625583"/>
              <a:gd name="connsiteY5080" fmla="*/ 914080 h 6380470"/>
              <a:gd name="connsiteX5081" fmla="*/ 7368669 w 11625583"/>
              <a:gd name="connsiteY5081" fmla="*/ 849415 h 6380470"/>
              <a:gd name="connsiteX5082" fmla="*/ 7212096 w 11625583"/>
              <a:gd name="connsiteY5082" fmla="*/ 849415 h 6380470"/>
              <a:gd name="connsiteX5083" fmla="*/ 7276762 w 11625583"/>
              <a:gd name="connsiteY5083" fmla="*/ 914080 h 6380470"/>
              <a:gd name="connsiteX5084" fmla="*/ 7212096 w 11625583"/>
              <a:gd name="connsiteY5084" fmla="*/ 978717 h 6380470"/>
              <a:gd name="connsiteX5085" fmla="*/ 7147430 w 11625583"/>
              <a:gd name="connsiteY5085" fmla="*/ 914080 h 6380470"/>
              <a:gd name="connsiteX5086" fmla="*/ 7212096 w 11625583"/>
              <a:gd name="connsiteY5086" fmla="*/ 849415 h 6380470"/>
              <a:gd name="connsiteX5087" fmla="*/ 6585804 w 11625583"/>
              <a:gd name="connsiteY5087" fmla="*/ 849415 h 6380470"/>
              <a:gd name="connsiteX5088" fmla="*/ 6650470 w 11625583"/>
              <a:gd name="connsiteY5088" fmla="*/ 914080 h 6380470"/>
              <a:gd name="connsiteX5089" fmla="*/ 6585804 w 11625583"/>
              <a:gd name="connsiteY5089" fmla="*/ 978717 h 6380470"/>
              <a:gd name="connsiteX5090" fmla="*/ 6521138 w 11625583"/>
              <a:gd name="connsiteY5090" fmla="*/ 914080 h 6380470"/>
              <a:gd name="connsiteX5091" fmla="*/ 6585804 w 11625583"/>
              <a:gd name="connsiteY5091" fmla="*/ 849415 h 6380470"/>
              <a:gd name="connsiteX5092" fmla="*/ 6429229 w 11625583"/>
              <a:gd name="connsiteY5092" fmla="*/ 849415 h 6380470"/>
              <a:gd name="connsiteX5093" fmla="*/ 6493895 w 11625583"/>
              <a:gd name="connsiteY5093" fmla="*/ 914080 h 6380470"/>
              <a:gd name="connsiteX5094" fmla="*/ 6429229 w 11625583"/>
              <a:gd name="connsiteY5094" fmla="*/ 978717 h 6380470"/>
              <a:gd name="connsiteX5095" fmla="*/ 6364563 w 11625583"/>
              <a:gd name="connsiteY5095" fmla="*/ 914080 h 6380470"/>
              <a:gd name="connsiteX5096" fmla="*/ 6429229 w 11625583"/>
              <a:gd name="connsiteY5096" fmla="*/ 849415 h 6380470"/>
              <a:gd name="connsiteX5097" fmla="*/ 6276571 w 11625583"/>
              <a:gd name="connsiteY5097" fmla="*/ 849415 h 6380470"/>
              <a:gd name="connsiteX5098" fmla="*/ 6341237 w 11625583"/>
              <a:gd name="connsiteY5098" fmla="*/ 914080 h 6380470"/>
              <a:gd name="connsiteX5099" fmla="*/ 6276571 w 11625583"/>
              <a:gd name="connsiteY5099" fmla="*/ 978717 h 6380470"/>
              <a:gd name="connsiteX5100" fmla="*/ 6211905 w 11625583"/>
              <a:gd name="connsiteY5100" fmla="*/ 914080 h 6380470"/>
              <a:gd name="connsiteX5101" fmla="*/ 6276571 w 11625583"/>
              <a:gd name="connsiteY5101" fmla="*/ 849415 h 6380470"/>
              <a:gd name="connsiteX5102" fmla="*/ 6119999 w 11625583"/>
              <a:gd name="connsiteY5102" fmla="*/ 849415 h 6380470"/>
              <a:gd name="connsiteX5103" fmla="*/ 6184665 w 11625583"/>
              <a:gd name="connsiteY5103" fmla="*/ 914080 h 6380470"/>
              <a:gd name="connsiteX5104" fmla="*/ 6119999 w 11625583"/>
              <a:gd name="connsiteY5104" fmla="*/ 978717 h 6380470"/>
              <a:gd name="connsiteX5105" fmla="*/ 6055333 w 11625583"/>
              <a:gd name="connsiteY5105" fmla="*/ 914080 h 6380470"/>
              <a:gd name="connsiteX5106" fmla="*/ 6119999 w 11625583"/>
              <a:gd name="connsiteY5106" fmla="*/ 849415 h 6380470"/>
              <a:gd name="connsiteX5107" fmla="*/ 5967339 w 11625583"/>
              <a:gd name="connsiteY5107" fmla="*/ 849415 h 6380470"/>
              <a:gd name="connsiteX5108" fmla="*/ 6032005 w 11625583"/>
              <a:gd name="connsiteY5108" fmla="*/ 914080 h 6380470"/>
              <a:gd name="connsiteX5109" fmla="*/ 5967339 w 11625583"/>
              <a:gd name="connsiteY5109" fmla="*/ 978717 h 6380470"/>
              <a:gd name="connsiteX5110" fmla="*/ 5902673 w 11625583"/>
              <a:gd name="connsiteY5110" fmla="*/ 914080 h 6380470"/>
              <a:gd name="connsiteX5111" fmla="*/ 5967339 w 11625583"/>
              <a:gd name="connsiteY5111" fmla="*/ 849415 h 6380470"/>
              <a:gd name="connsiteX5112" fmla="*/ 4566030 w 11625583"/>
              <a:gd name="connsiteY5112" fmla="*/ 849415 h 6380470"/>
              <a:gd name="connsiteX5113" fmla="*/ 4630712 w 11625583"/>
              <a:gd name="connsiteY5113" fmla="*/ 914081 h 6380470"/>
              <a:gd name="connsiteX5114" fmla="*/ 4566030 w 11625583"/>
              <a:gd name="connsiteY5114" fmla="*/ 978717 h 6380470"/>
              <a:gd name="connsiteX5115" fmla="*/ 4501345 w 11625583"/>
              <a:gd name="connsiteY5115" fmla="*/ 914081 h 6380470"/>
              <a:gd name="connsiteX5116" fmla="*/ 4566030 w 11625583"/>
              <a:gd name="connsiteY5116" fmla="*/ 849415 h 6380470"/>
              <a:gd name="connsiteX5117" fmla="*/ 4409471 w 11625583"/>
              <a:gd name="connsiteY5117" fmla="*/ 849415 h 6380470"/>
              <a:gd name="connsiteX5118" fmla="*/ 4474113 w 11625583"/>
              <a:gd name="connsiteY5118" fmla="*/ 914081 h 6380470"/>
              <a:gd name="connsiteX5119" fmla="*/ 4409471 w 11625583"/>
              <a:gd name="connsiteY5119" fmla="*/ 978717 h 6380470"/>
              <a:gd name="connsiteX5120" fmla="*/ 4344809 w 11625583"/>
              <a:gd name="connsiteY5120" fmla="*/ 914081 h 6380470"/>
              <a:gd name="connsiteX5121" fmla="*/ 4409471 w 11625583"/>
              <a:gd name="connsiteY5121" fmla="*/ 849415 h 6380470"/>
              <a:gd name="connsiteX5122" fmla="*/ 4256823 w 11625583"/>
              <a:gd name="connsiteY5122" fmla="*/ 849415 h 6380470"/>
              <a:gd name="connsiteX5123" fmla="*/ 4321471 w 11625583"/>
              <a:gd name="connsiteY5123" fmla="*/ 914081 h 6380470"/>
              <a:gd name="connsiteX5124" fmla="*/ 4256823 w 11625583"/>
              <a:gd name="connsiteY5124" fmla="*/ 978717 h 6380470"/>
              <a:gd name="connsiteX5125" fmla="*/ 4192125 w 11625583"/>
              <a:gd name="connsiteY5125" fmla="*/ 914081 h 6380470"/>
              <a:gd name="connsiteX5126" fmla="*/ 4256823 w 11625583"/>
              <a:gd name="connsiteY5126" fmla="*/ 849415 h 6380470"/>
              <a:gd name="connsiteX5127" fmla="*/ 4100249 w 11625583"/>
              <a:gd name="connsiteY5127" fmla="*/ 849415 h 6380470"/>
              <a:gd name="connsiteX5128" fmla="*/ 4164920 w 11625583"/>
              <a:gd name="connsiteY5128" fmla="*/ 914081 h 6380470"/>
              <a:gd name="connsiteX5129" fmla="*/ 4100249 w 11625583"/>
              <a:gd name="connsiteY5129" fmla="*/ 978717 h 6380470"/>
              <a:gd name="connsiteX5130" fmla="*/ 4035594 w 11625583"/>
              <a:gd name="connsiteY5130" fmla="*/ 914081 h 6380470"/>
              <a:gd name="connsiteX5131" fmla="*/ 4100249 w 11625583"/>
              <a:gd name="connsiteY5131" fmla="*/ 849415 h 6380470"/>
              <a:gd name="connsiteX5132" fmla="*/ 3947579 w 11625583"/>
              <a:gd name="connsiteY5132" fmla="*/ 849415 h 6380470"/>
              <a:gd name="connsiteX5133" fmla="*/ 4012257 w 11625583"/>
              <a:gd name="connsiteY5133" fmla="*/ 914081 h 6380470"/>
              <a:gd name="connsiteX5134" fmla="*/ 3947579 w 11625583"/>
              <a:gd name="connsiteY5134" fmla="*/ 978717 h 6380470"/>
              <a:gd name="connsiteX5135" fmla="*/ 3883050 w 11625583"/>
              <a:gd name="connsiteY5135" fmla="*/ 914081 h 6380470"/>
              <a:gd name="connsiteX5136" fmla="*/ 3947579 w 11625583"/>
              <a:gd name="connsiteY5136" fmla="*/ 849415 h 6380470"/>
              <a:gd name="connsiteX5137" fmla="*/ 3321438 w 11625583"/>
              <a:gd name="connsiteY5137" fmla="*/ 849415 h 6380470"/>
              <a:gd name="connsiteX5138" fmla="*/ 3386080 w 11625583"/>
              <a:gd name="connsiteY5138" fmla="*/ 914081 h 6380470"/>
              <a:gd name="connsiteX5139" fmla="*/ 3321438 w 11625583"/>
              <a:gd name="connsiteY5139" fmla="*/ 978717 h 6380470"/>
              <a:gd name="connsiteX5140" fmla="*/ 3256776 w 11625583"/>
              <a:gd name="connsiteY5140" fmla="*/ 914081 h 6380470"/>
              <a:gd name="connsiteX5141" fmla="*/ 3321438 w 11625583"/>
              <a:gd name="connsiteY5141" fmla="*/ 849415 h 6380470"/>
              <a:gd name="connsiteX5142" fmla="*/ 3172684 w 11625583"/>
              <a:gd name="connsiteY5142" fmla="*/ 849415 h 6380470"/>
              <a:gd name="connsiteX5143" fmla="*/ 3237355 w 11625583"/>
              <a:gd name="connsiteY5143" fmla="*/ 914081 h 6380470"/>
              <a:gd name="connsiteX5144" fmla="*/ 3172684 w 11625583"/>
              <a:gd name="connsiteY5144" fmla="*/ 978717 h 6380470"/>
              <a:gd name="connsiteX5145" fmla="*/ 3107997 w 11625583"/>
              <a:gd name="connsiteY5145" fmla="*/ 914081 h 6380470"/>
              <a:gd name="connsiteX5146" fmla="*/ 3172684 w 11625583"/>
              <a:gd name="connsiteY5146" fmla="*/ 849415 h 6380470"/>
              <a:gd name="connsiteX5147" fmla="*/ 3012161 w 11625583"/>
              <a:gd name="connsiteY5147" fmla="*/ 849415 h 6380470"/>
              <a:gd name="connsiteX5148" fmla="*/ 3076833 w 11625583"/>
              <a:gd name="connsiteY5148" fmla="*/ 914081 h 6380470"/>
              <a:gd name="connsiteX5149" fmla="*/ 3012161 w 11625583"/>
              <a:gd name="connsiteY5149" fmla="*/ 978717 h 6380470"/>
              <a:gd name="connsiteX5150" fmla="*/ 2947506 w 11625583"/>
              <a:gd name="connsiteY5150" fmla="*/ 914081 h 6380470"/>
              <a:gd name="connsiteX5151" fmla="*/ 3012161 w 11625583"/>
              <a:gd name="connsiteY5151" fmla="*/ 849415 h 6380470"/>
              <a:gd name="connsiteX5152" fmla="*/ 2855618 w 11625583"/>
              <a:gd name="connsiteY5152" fmla="*/ 849415 h 6380470"/>
              <a:gd name="connsiteX5153" fmla="*/ 2920269 w 11625583"/>
              <a:gd name="connsiteY5153" fmla="*/ 914081 h 6380470"/>
              <a:gd name="connsiteX5154" fmla="*/ 2855618 w 11625583"/>
              <a:gd name="connsiteY5154" fmla="*/ 978717 h 6380470"/>
              <a:gd name="connsiteX5155" fmla="*/ 2790958 w 11625583"/>
              <a:gd name="connsiteY5155" fmla="*/ 914081 h 6380470"/>
              <a:gd name="connsiteX5156" fmla="*/ 2855618 w 11625583"/>
              <a:gd name="connsiteY5156" fmla="*/ 849415 h 6380470"/>
              <a:gd name="connsiteX5157" fmla="*/ 2699069 w 11625583"/>
              <a:gd name="connsiteY5157" fmla="*/ 849415 h 6380470"/>
              <a:gd name="connsiteX5158" fmla="*/ 2763723 w 11625583"/>
              <a:gd name="connsiteY5158" fmla="*/ 914081 h 6380470"/>
              <a:gd name="connsiteX5159" fmla="*/ 2699069 w 11625583"/>
              <a:gd name="connsiteY5159" fmla="*/ 978717 h 6380470"/>
              <a:gd name="connsiteX5160" fmla="*/ 2634414 w 11625583"/>
              <a:gd name="connsiteY5160" fmla="*/ 914081 h 6380470"/>
              <a:gd name="connsiteX5161" fmla="*/ 2699069 w 11625583"/>
              <a:gd name="connsiteY5161" fmla="*/ 849415 h 6380470"/>
              <a:gd name="connsiteX5162" fmla="*/ 2546436 w 11625583"/>
              <a:gd name="connsiteY5162" fmla="*/ 849415 h 6380470"/>
              <a:gd name="connsiteX5163" fmla="*/ 2611091 w 11625583"/>
              <a:gd name="connsiteY5163" fmla="*/ 914081 h 6380470"/>
              <a:gd name="connsiteX5164" fmla="*/ 2546436 w 11625583"/>
              <a:gd name="connsiteY5164" fmla="*/ 978717 h 6380470"/>
              <a:gd name="connsiteX5165" fmla="*/ 2481777 w 11625583"/>
              <a:gd name="connsiteY5165" fmla="*/ 914081 h 6380470"/>
              <a:gd name="connsiteX5166" fmla="*/ 2546436 w 11625583"/>
              <a:gd name="connsiteY5166" fmla="*/ 849415 h 6380470"/>
              <a:gd name="connsiteX5167" fmla="*/ 2389845 w 11625583"/>
              <a:gd name="connsiteY5167" fmla="*/ 849415 h 6380470"/>
              <a:gd name="connsiteX5168" fmla="*/ 2454543 w 11625583"/>
              <a:gd name="connsiteY5168" fmla="*/ 914081 h 6380470"/>
              <a:gd name="connsiteX5169" fmla="*/ 2389845 w 11625583"/>
              <a:gd name="connsiteY5169" fmla="*/ 978717 h 6380470"/>
              <a:gd name="connsiteX5170" fmla="*/ 2325205 w 11625583"/>
              <a:gd name="connsiteY5170" fmla="*/ 914081 h 6380470"/>
              <a:gd name="connsiteX5171" fmla="*/ 2389845 w 11625583"/>
              <a:gd name="connsiteY5171" fmla="*/ 849415 h 6380470"/>
              <a:gd name="connsiteX5172" fmla="*/ 2237181 w 11625583"/>
              <a:gd name="connsiteY5172" fmla="*/ 849415 h 6380470"/>
              <a:gd name="connsiteX5173" fmla="*/ 2301870 w 11625583"/>
              <a:gd name="connsiteY5173" fmla="*/ 914081 h 6380470"/>
              <a:gd name="connsiteX5174" fmla="*/ 2237181 w 11625583"/>
              <a:gd name="connsiteY5174" fmla="*/ 978717 h 6380470"/>
              <a:gd name="connsiteX5175" fmla="*/ 2172494 w 11625583"/>
              <a:gd name="connsiteY5175" fmla="*/ 914081 h 6380470"/>
              <a:gd name="connsiteX5176" fmla="*/ 2237181 w 11625583"/>
              <a:gd name="connsiteY5176" fmla="*/ 849415 h 6380470"/>
              <a:gd name="connsiteX5177" fmla="*/ 2084492 w 11625583"/>
              <a:gd name="connsiteY5177" fmla="*/ 849415 h 6380470"/>
              <a:gd name="connsiteX5178" fmla="*/ 2149161 w 11625583"/>
              <a:gd name="connsiteY5178" fmla="*/ 914081 h 6380470"/>
              <a:gd name="connsiteX5179" fmla="*/ 2084492 w 11625583"/>
              <a:gd name="connsiteY5179" fmla="*/ 978717 h 6380470"/>
              <a:gd name="connsiteX5180" fmla="*/ 2019859 w 11625583"/>
              <a:gd name="connsiteY5180" fmla="*/ 914081 h 6380470"/>
              <a:gd name="connsiteX5181" fmla="*/ 2084492 w 11625583"/>
              <a:gd name="connsiteY5181" fmla="*/ 849415 h 6380470"/>
              <a:gd name="connsiteX5182" fmla="*/ 1927912 w 11625583"/>
              <a:gd name="connsiteY5182" fmla="*/ 849415 h 6380470"/>
              <a:gd name="connsiteX5183" fmla="*/ 1992599 w 11625583"/>
              <a:gd name="connsiteY5183" fmla="*/ 914081 h 6380470"/>
              <a:gd name="connsiteX5184" fmla="*/ 1927912 w 11625583"/>
              <a:gd name="connsiteY5184" fmla="*/ 978717 h 6380470"/>
              <a:gd name="connsiteX5185" fmla="*/ 1863278 w 11625583"/>
              <a:gd name="connsiteY5185" fmla="*/ 914081 h 6380470"/>
              <a:gd name="connsiteX5186" fmla="*/ 1927912 w 11625583"/>
              <a:gd name="connsiteY5186" fmla="*/ 849415 h 6380470"/>
              <a:gd name="connsiteX5187" fmla="*/ 1775257 w 11625583"/>
              <a:gd name="connsiteY5187" fmla="*/ 849415 h 6380470"/>
              <a:gd name="connsiteX5188" fmla="*/ 1839946 w 11625583"/>
              <a:gd name="connsiteY5188" fmla="*/ 914081 h 6380470"/>
              <a:gd name="connsiteX5189" fmla="*/ 1775257 w 11625583"/>
              <a:gd name="connsiteY5189" fmla="*/ 978717 h 6380470"/>
              <a:gd name="connsiteX5190" fmla="*/ 1710583 w 11625583"/>
              <a:gd name="connsiteY5190" fmla="*/ 914081 h 6380470"/>
              <a:gd name="connsiteX5191" fmla="*/ 1775257 w 11625583"/>
              <a:gd name="connsiteY5191" fmla="*/ 849415 h 6380470"/>
              <a:gd name="connsiteX5192" fmla="*/ 1618671 w 11625583"/>
              <a:gd name="connsiteY5192" fmla="*/ 849415 h 6380470"/>
              <a:gd name="connsiteX5193" fmla="*/ 1683342 w 11625583"/>
              <a:gd name="connsiteY5193" fmla="*/ 914081 h 6380470"/>
              <a:gd name="connsiteX5194" fmla="*/ 1618671 w 11625583"/>
              <a:gd name="connsiteY5194" fmla="*/ 978717 h 6380470"/>
              <a:gd name="connsiteX5195" fmla="*/ 1554009 w 11625583"/>
              <a:gd name="connsiteY5195" fmla="*/ 914081 h 6380470"/>
              <a:gd name="connsiteX5196" fmla="*/ 1618671 w 11625583"/>
              <a:gd name="connsiteY5196" fmla="*/ 849415 h 6380470"/>
              <a:gd name="connsiteX5197" fmla="*/ 1466016 w 11625583"/>
              <a:gd name="connsiteY5197" fmla="*/ 849415 h 6380470"/>
              <a:gd name="connsiteX5198" fmla="*/ 1530681 w 11625583"/>
              <a:gd name="connsiteY5198" fmla="*/ 914081 h 6380470"/>
              <a:gd name="connsiteX5199" fmla="*/ 1466016 w 11625583"/>
              <a:gd name="connsiteY5199" fmla="*/ 978717 h 6380470"/>
              <a:gd name="connsiteX5200" fmla="*/ 1401353 w 11625583"/>
              <a:gd name="connsiteY5200" fmla="*/ 914081 h 6380470"/>
              <a:gd name="connsiteX5201" fmla="*/ 1466016 w 11625583"/>
              <a:gd name="connsiteY5201" fmla="*/ 849415 h 6380470"/>
              <a:gd name="connsiteX5202" fmla="*/ 1309444 w 11625583"/>
              <a:gd name="connsiteY5202" fmla="*/ 849415 h 6380470"/>
              <a:gd name="connsiteX5203" fmla="*/ 1374109 w 11625583"/>
              <a:gd name="connsiteY5203" fmla="*/ 914081 h 6380470"/>
              <a:gd name="connsiteX5204" fmla="*/ 1309444 w 11625583"/>
              <a:gd name="connsiteY5204" fmla="*/ 978717 h 6380470"/>
              <a:gd name="connsiteX5205" fmla="*/ 1244778 w 11625583"/>
              <a:gd name="connsiteY5205" fmla="*/ 914081 h 6380470"/>
              <a:gd name="connsiteX5206" fmla="*/ 1309444 w 11625583"/>
              <a:gd name="connsiteY5206" fmla="*/ 849415 h 6380470"/>
              <a:gd name="connsiteX5207" fmla="*/ 1148959 w 11625583"/>
              <a:gd name="connsiteY5207" fmla="*/ 849415 h 6380470"/>
              <a:gd name="connsiteX5208" fmla="*/ 1213624 w 11625583"/>
              <a:gd name="connsiteY5208" fmla="*/ 914081 h 6380470"/>
              <a:gd name="connsiteX5209" fmla="*/ 1148959 w 11625583"/>
              <a:gd name="connsiteY5209" fmla="*/ 978717 h 6380470"/>
              <a:gd name="connsiteX5210" fmla="*/ 1084294 w 11625583"/>
              <a:gd name="connsiteY5210" fmla="*/ 914081 h 6380470"/>
              <a:gd name="connsiteX5211" fmla="*/ 1148959 w 11625583"/>
              <a:gd name="connsiteY5211" fmla="*/ 849415 h 6380470"/>
              <a:gd name="connsiteX5212" fmla="*/ 10625392 w 11625583"/>
              <a:gd name="connsiteY5212" fmla="*/ 849414 h 6380470"/>
              <a:gd name="connsiteX5213" fmla="*/ 10690058 w 11625583"/>
              <a:gd name="connsiteY5213" fmla="*/ 914079 h 6380470"/>
              <a:gd name="connsiteX5214" fmla="*/ 10625392 w 11625583"/>
              <a:gd name="connsiteY5214" fmla="*/ 978717 h 6380470"/>
              <a:gd name="connsiteX5215" fmla="*/ 10560726 w 11625583"/>
              <a:gd name="connsiteY5215" fmla="*/ 914079 h 6380470"/>
              <a:gd name="connsiteX5216" fmla="*/ 10625392 w 11625583"/>
              <a:gd name="connsiteY5216" fmla="*/ 849414 h 6380470"/>
              <a:gd name="connsiteX5217" fmla="*/ 10468818 w 11625583"/>
              <a:gd name="connsiteY5217" fmla="*/ 849414 h 6380470"/>
              <a:gd name="connsiteX5218" fmla="*/ 10533484 w 11625583"/>
              <a:gd name="connsiteY5218" fmla="*/ 914079 h 6380470"/>
              <a:gd name="connsiteX5219" fmla="*/ 10468818 w 11625583"/>
              <a:gd name="connsiteY5219" fmla="*/ 978717 h 6380470"/>
              <a:gd name="connsiteX5220" fmla="*/ 10404152 w 11625583"/>
              <a:gd name="connsiteY5220" fmla="*/ 914079 h 6380470"/>
              <a:gd name="connsiteX5221" fmla="*/ 10468818 w 11625583"/>
              <a:gd name="connsiteY5221" fmla="*/ 849414 h 6380470"/>
              <a:gd name="connsiteX5222" fmla="*/ 10312244 w 11625583"/>
              <a:gd name="connsiteY5222" fmla="*/ 849414 h 6380470"/>
              <a:gd name="connsiteX5223" fmla="*/ 10376910 w 11625583"/>
              <a:gd name="connsiteY5223" fmla="*/ 914079 h 6380470"/>
              <a:gd name="connsiteX5224" fmla="*/ 10312244 w 11625583"/>
              <a:gd name="connsiteY5224" fmla="*/ 978717 h 6380470"/>
              <a:gd name="connsiteX5225" fmla="*/ 10247578 w 11625583"/>
              <a:gd name="connsiteY5225" fmla="*/ 914079 h 6380470"/>
              <a:gd name="connsiteX5226" fmla="*/ 10312244 w 11625583"/>
              <a:gd name="connsiteY5226" fmla="*/ 849414 h 6380470"/>
              <a:gd name="connsiteX5227" fmla="*/ 10159586 w 11625583"/>
              <a:gd name="connsiteY5227" fmla="*/ 849414 h 6380470"/>
              <a:gd name="connsiteX5228" fmla="*/ 10224252 w 11625583"/>
              <a:gd name="connsiteY5228" fmla="*/ 914079 h 6380470"/>
              <a:gd name="connsiteX5229" fmla="*/ 10159586 w 11625583"/>
              <a:gd name="connsiteY5229" fmla="*/ 978717 h 6380470"/>
              <a:gd name="connsiteX5230" fmla="*/ 10094920 w 11625583"/>
              <a:gd name="connsiteY5230" fmla="*/ 914079 h 6380470"/>
              <a:gd name="connsiteX5231" fmla="*/ 10159586 w 11625583"/>
              <a:gd name="connsiteY5231" fmla="*/ 849414 h 6380470"/>
              <a:gd name="connsiteX5232" fmla="*/ 10003016 w 11625583"/>
              <a:gd name="connsiteY5232" fmla="*/ 849414 h 6380470"/>
              <a:gd name="connsiteX5233" fmla="*/ 10067682 w 11625583"/>
              <a:gd name="connsiteY5233" fmla="*/ 914079 h 6380470"/>
              <a:gd name="connsiteX5234" fmla="*/ 10003016 w 11625583"/>
              <a:gd name="connsiteY5234" fmla="*/ 978717 h 6380470"/>
              <a:gd name="connsiteX5235" fmla="*/ 9938350 w 11625583"/>
              <a:gd name="connsiteY5235" fmla="*/ 914079 h 6380470"/>
              <a:gd name="connsiteX5236" fmla="*/ 10003016 w 11625583"/>
              <a:gd name="connsiteY5236" fmla="*/ 849414 h 6380470"/>
              <a:gd name="connsiteX5237" fmla="*/ 9850358 w 11625583"/>
              <a:gd name="connsiteY5237" fmla="*/ 849414 h 6380470"/>
              <a:gd name="connsiteX5238" fmla="*/ 9915024 w 11625583"/>
              <a:gd name="connsiteY5238" fmla="*/ 914079 h 6380470"/>
              <a:gd name="connsiteX5239" fmla="*/ 9850358 w 11625583"/>
              <a:gd name="connsiteY5239" fmla="*/ 978717 h 6380470"/>
              <a:gd name="connsiteX5240" fmla="*/ 9785692 w 11625583"/>
              <a:gd name="connsiteY5240" fmla="*/ 914079 h 6380470"/>
              <a:gd name="connsiteX5241" fmla="*/ 9850358 w 11625583"/>
              <a:gd name="connsiteY5241" fmla="*/ 849414 h 6380470"/>
              <a:gd name="connsiteX5242" fmla="*/ 9693783 w 11625583"/>
              <a:gd name="connsiteY5242" fmla="*/ 849414 h 6380470"/>
              <a:gd name="connsiteX5243" fmla="*/ 9758449 w 11625583"/>
              <a:gd name="connsiteY5243" fmla="*/ 914079 h 6380470"/>
              <a:gd name="connsiteX5244" fmla="*/ 9693783 w 11625583"/>
              <a:gd name="connsiteY5244" fmla="*/ 978717 h 6380470"/>
              <a:gd name="connsiteX5245" fmla="*/ 9629117 w 11625583"/>
              <a:gd name="connsiteY5245" fmla="*/ 914079 h 6380470"/>
              <a:gd name="connsiteX5246" fmla="*/ 9693783 w 11625583"/>
              <a:gd name="connsiteY5246" fmla="*/ 849414 h 6380470"/>
              <a:gd name="connsiteX5247" fmla="*/ 9541123 w 11625583"/>
              <a:gd name="connsiteY5247" fmla="*/ 849414 h 6380470"/>
              <a:gd name="connsiteX5248" fmla="*/ 9605789 w 11625583"/>
              <a:gd name="connsiteY5248" fmla="*/ 914079 h 6380470"/>
              <a:gd name="connsiteX5249" fmla="*/ 9541123 w 11625583"/>
              <a:gd name="connsiteY5249" fmla="*/ 978717 h 6380470"/>
              <a:gd name="connsiteX5250" fmla="*/ 9476457 w 11625583"/>
              <a:gd name="connsiteY5250" fmla="*/ 914079 h 6380470"/>
              <a:gd name="connsiteX5251" fmla="*/ 9541123 w 11625583"/>
              <a:gd name="connsiteY5251" fmla="*/ 849414 h 6380470"/>
              <a:gd name="connsiteX5252" fmla="*/ 9384550 w 11625583"/>
              <a:gd name="connsiteY5252" fmla="*/ 849414 h 6380470"/>
              <a:gd name="connsiteX5253" fmla="*/ 9449216 w 11625583"/>
              <a:gd name="connsiteY5253" fmla="*/ 914079 h 6380470"/>
              <a:gd name="connsiteX5254" fmla="*/ 9384550 w 11625583"/>
              <a:gd name="connsiteY5254" fmla="*/ 978717 h 6380470"/>
              <a:gd name="connsiteX5255" fmla="*/ 9319884 w 11625583"/>
              <a:gd name="connsiteY5255" fmla="*/ 914079 h 6380470"/>
              <a:gd name="connsiteX5256" fmla="*/ 9384550 w 11625583"/>
              <a:gd name="connsiteY5256" fmla="*/ 849414 h 6380470"/>
              <a:gd name="connsiteX5257" fmla="*/ 9227977 w 11625583"/>
              <a:gd name="connsiteY5257" fmla="*/ 849414 h 6380470"/>
              <a:gd name="connsiteX5258" fmla="*/ 9292643 w 11625583"/>
              <a:gd name="connsiteY5258" fmla="*/ 914079 h 6380470"/>
              <a:gd name="connsiteX5259" fmla="*/ 9227977 w 11625583"/>
              <a:gd name="connsiteY5259" fmla="*/ 978717 h 6380470"/>
              <a:gd name="connsiteX5260" fmla="*/ 9163311 w 11625583"/>
              <a:gd name="connsiteY5260" fmla="*/ 914079 h 6380470"/>
              <a:gd name="connsiteX5261" fmla="*/ 9227977 w 11625583"/>
              <a:gd name="connsiteY5261" fmla="*/ 849414 h 6380470"/>
              <a:gd name="connsiteX5262" fmla="*/ 9075319 w 11625583"/>
              <a:gd name="connsiteY5262" fmla="*/ 849414 h 6380470"/>
              <a:gd name="connsiteX5263" fmla="*/ 9139985 w 11625583"/>
              <a:gd name="connsiteY5263" fmla="*/ 914079 h 6380470"/>
              <a:gd name="connsiteX5264" fmla="*/ 9075319 w 11625583"/>
              <a:gd name="connsiteY5264" fmla="*/ 978717 h 6380470"/>
              <a:gd name="connsiteX5265" fmla="*/ 9010653 w 11625583"/>
              <a:gd name="connsiteY5265" fmla="*/ 914079 h 6380470"/>
              <a:gd name="connsiteX5266" fmla="*/ 9075319 w 11625583"/>
              <a:gd name="connsiteY5266" fmla="*/ 849414 h 6380470"/>
              <a:gd name="connsiteX5267" fmla="*/ 8914831 w 11625583"/>
              <a:gd name="connsiteY5267" fmla="*/ 849414 h 6380470"/>
              <a:gd name="connsiteX5268" fmla="*/ 8979497 w 11625583"/>
              <a:gd name="connsiteY5268" fmla="*/ 914079 h 6380470"/>
              <a:gd name="connsiteX5269" fmla="*/ 8914831 w 11625583"/>
              <a:gd name="connsiteY5269" fmla="*/ 978717 h 6380470"/>
              <a:gd name="connsiteX5270" fmla="*/ 8850165 w 11625583"/>
              <a:gd name="connsiteY5270" fmla="*/ 914079 h 6380470"/>
              <a:gd name="connsiteX5271" fmla="*/ 8914831 w 11625583"/>
              <a:gd name="connsiteY5271" fmla="*/ 849414 h 6380470"/>
              <a:gd name="connsiteX5272" fmla="*/ 8766086 w 11625583"/>
              <a:gd name="connsiteY5272" fmla="*/ 849414 h 6380470"/>
              <a:gd name="connsiteX5273" fmla="*/ 8830752 w 11625583"/>
              <a:gd name="connsiteY5273" fmla="*/ 914079 h 6380470"/>
              <a:gd name="connsiteX5274" fmla="*/ 8766086 w 11625583"/>
              <a:gd name="connsiteY5274" fmla="*/ 978717 h 6380470"/>
              <a:gd name="connsiteX5275" fmla="*/ 8701420 w 11625583"/>
              <a:gd name="connsiteY5275" fmla="*/ 914079 h 6380470"/>
              <a:gd name="connsiteX5276" fmla="*/ 8766086 w 11625583"/>
              <a:gd name="connsiteY5276" fmla="*/ 849414 h 6380470"/>
              <a:gd name="connsiteX5277" fmla="*/ 8601683 w 11625583"/>
              <a:gd name="connsiteY5277" fmla="*/ 849414 h 6380470"/>
              <a:gd name="connsiteX5278" fmla="*/ 8666349 w 11625583"/>
              <a:gd name="connsiteY5278" fmla="*/ 914079 h 6380470"/>
              <a:gd name="connsiteX5279" fmla="*/ 8601683 w 11625583"/>
              <a:gd name="connsiteY5279" fmla="*/ 978717 h 6380470"/>
              <a:gd name="connsiteX5280" fmla="*/ 8537017 w 11625583"/>
              <a:gd name="connsiteY5280" fmla="*/ 914079 h 6380470"/>
              <a:gd name="connsiteX5281" fmla="*/ 8601683 w 11625583"/>
              <a:gd name="connsiteY5281" fmla="*/ 849414 h 6380470"/>
              <a:gd name="connsiteX5282" fmla="*/ 8449025 w 11625583"/>
              <a:gd name="connsiteY5282" fmla="*/ 849414 h 6380470"/>
              <a:gd name="connsiteX5283" fmla="*/ 8513691 w 11625583"/>
              <a:gd name="connsiteY5283" fmla="*/ 914079 h 6380470"/>
              <a:gd name="connsiteX5284" fmla="*/ 8449025 w 11625583"/>
              <a:gd name="connsiteY5284" fmla="*/ 978717 h 6380470"/>
              <a:gd name="connsiteX5285" fmla="*/ 8384359 w 11625583"/>
              <a:gd name="connsiteY5285" fmla="*/ 914079 h 6380470"/>
              <a:gd name="connsiteX5286" fmla="*/ 8449025 w 11625583"/>
              <a:gd name="connsiteY5286" fmla="*/ 849414 h 6380470"/>
              <a:gd name="connsiteX5287" fmla="*/ 8296368 w 11625583"/>
              <a:gd name="connsiteY5287" fmla="*/ 849414 h 6380470"/>
              <a:gd name="connsiteX5288" fmla="*/ 8361034 w 11625583"/>
              <a:gd name="connsiteY5288" fmla="*/ 914079 h 6380470"/>
              <a:gd name="connsiteX5289" fmla="*/ 8296368 w 11625583"/>
              <a:gd name="connsiteY5289" fmla="*/ 978717 h 6380470"/>
              <a:gd name="connsiteX5290" fmla="*/ 8231702 w 11625583"/>
              <a:gd name="connsiteY5290" fmla="*/ 914079 h 6380470"/>
              <a:gd name="connsiteX5291" fmla="*/ 8296368 w 11625583"/>
              <a:gd name="connsiteY5291" fmla="*/ 849414 h 6380470"/>
              <a:gd name="connsiteX5292" fmla="*/ 8139793 w 11625583"/>
              <a:gd name="connsiteY5292" fmla="*/ 849414 h 6380470"/>
              <a:gd name="connsiteX5293" fmla="*/ 8204459 w 11625583"/>
              <a:gd name="connsiteY5293" fmla="*/ 914079 h 6380470"/>
              <a:gd name="connsiteX5294" fmla="*/ 8139793 w 11625583"/>
              <a:gd name="connsiteY5294" fmla="*/ 978717 h 6380470"/>
              <a:gd name="connsiteX5295" fmla="*/ 8075127 w 11625583"/>
              <a:gd name="connsiteY5295" fmla="*/ 914079 h 6380470"/>
              <a:gd name="connsiteX5296" fmla="*/ 8139793 w 11625583"/>
              <a:gd name="connsiteY5296" fmla="*/ 849414 h 6380470"/>
              <a:gd name="connsiteX5297" fmla="*/ 7987133 w 11625583"/>
              <a:gd name="connsiteY5297" fmla="*/ 849414 h 6380470"/>
              <a:gd name="connsiteX5298" fmla="*/ 8051799 w 11625583"/>
              <a:gd name="connsiteY5298" fmla="*/ 914079 h 6380470"/>
              <a:gd name="connsiteX5299" fmla="*/ 7987133 w 11625583"/>
              <a:gd name="connsiteY5299" fmla="*/ 978717 h 6380470"/>
              <a:gd name="connsiteX5300" fmla="*/ 7922467 w 11625583"/>
              <a:gd name="connsiteY5300" fmla="*/ 914079 h 6380470"/>
              <a:gd name="connsiteX5301" fmla="*/ 7987133 w 11625583"/>
              <a:gd name="connsiteY5301" fmla="*/ 849414 h 6380470"/>
              <a:gd name="connsiteX5302" fmla="*/ 7830562 w 11625583"/>
              <a:gd name="connsiteY5302" fmla="*/ 849414 h 6380470"/>
              <a:gd name="connsiteX5303" fmla="*/ 7895228 w 11625583"/>
              <a:gd name="connsiteY5303" fmla="*/ 914079 h 6380470"/>
              <a:gd name="connsiteX5304" fmla="*/ 7830562 w 11625583"/>
              <a:gd name="connsiteY5304" fmla="*/ 978717 h 6380470"/>
              <a:gd name="connsiteX5305" fmla="*/ 7765896 w 11625583"/>
              <a:gd name="connsiteY5305" fmla="*/ 914079 h 6380470"/>
              <a:gd name="connsiteX5306" fmla="*/ 7830562 w 11625583"/>
              <a:gd name="connsiteY5306" fmla="*/ 849414 h 6380470"/>
              <a:gd name="connsiteX5307" fmla="*/ 11404343 w 11625583"/>
              <a:gd name="connsiteY5307" fmla="*/ 849412 h 6380470"/>
              <a:gd name="connsiteX5308" fmla="*/ 11469009 w 11625583"/>
              <a:gd name="connsiteY5308" fmla="*/ 914079 h 6380470"/>
              <a:gd name="connsiteX5309" fmla="*/ 11404343 w 11625583"/>
              <a:gd name="connsiteY5309" fmla="*/ 978717 h 6380470"/>
              <a:gd name="connsiteX5310" fmla="*/ 11339677 w 11625583"/>
              <a:gd name="connsiteY5310" fmla="*/ 914079 h 6380470"/>
              <a:gd name="connsiteX5311" fmla="*/ 11404343 w 11625583"/>
              <a:gd name="connsiteY5311" fmla="*/ 849412 h 6380470"/>
              <a:gd name="connsiteX5312" fmla="*/ 11251684 w 11625583"/>
              <a:gd name="connsiteY5312" fmla="*/ 849412 h 6380470"/>
              <a:gd name="connsiteX5313" fmla="*/ 11316350 w 11625583"/>
              <a:gd name="connsiteY5313" fmla="*/ 914079 h 6380470"/>
              <a:gd name="connsiteX5314" fmla="*/ 11251684 w 11625583"/>
              <a:gd name="connsiteY5314" fmla="*/ 978717 h 6380470"/>
              <a:gd name="connsiteX5315" fmla="*/ 11187018 w 11625583"/>
              <a:gd name="connsiteY5315" fmla="*/ 914079 h 6380470"/>
              <a:gd name="connsiteX5316" fmla="*/ 11251684 w 11625583"/>
              <a:gd name="connsiteY5316" fmla="*/ 849412 h 6380470"/>
              <a:gd name="connsiteX5317" fmla="*/ 11095111 w 11625583"/>
              <a:gd name="connsiteY5317" fmla="*/ 849412 h 6380470"/>
              <a:gd name="connsiteX5318" fmla="*/ 11159777 w 11625583"/>
              <a:gd name="connsiteY5318" fmla="*/ 914079 h 6380470"/>
              <a:gd name="connsiteX5319" fmla="*/ 11095111 w 11625583"/>
              <a:gd name="connsiteY5319" fmla="*/ 978717 h 6380470"/>
              <a:gd name="connsiteX5320" fmla="*/ 11030445 w 11625583"/>
              <a:gd name="connsiteY5320" fmla="*/ 914079 h 6380470"/>
              <a:gd name="connsiteX5321" fmla="*/ 11095111 w 11625583"/>
              <a:gd name="connsiteY5321" fmla="*/ 849412 h 6380470"/>
              <a:gd name="connsiteX5322" fmla="*/ 10938538 w 11625583"/>
              <a:gd name="connsiteY5322" fmla="*/ 849412 h 6380470"/>
              <a:gd name="connsiteX5323" fmla="*/ 11003204 w 11625583"/>
              <a:gd name="connsiteY5323" fmla="*/ 914079 h 6380470"/>
              <a:gd name="connsiteX5324" fmla="*/ 10938538 w 11625583"/>
              <a:gd name="connsiteY5324" fmla="*/ 978717 h 6380470"/>
              <a:gd name="connsiteX5325" fmla="*/ 10873872 w 11625583"/>
              <a:gd name="connsiteY5325" fmla="*/ 914079 h 6380470"/>
              <a:gd name="connsiteX5326" fmla="*/ 10938538 w 11625583"/>
              <a:gd name="connsiteY5326" fmla="*/ 849412 h 6380470"/>
              <a:gd name="connsiteX5327" fmla="*/ 10778051 w 11625583"/>
              <a:gd name="connsiteY5327" fmla="*/ 849412 h 6380470"/>
              <a:gd name="connsiteX5328" fmla="*/ 10842717 w 11625583"/>
              <a:gd name="connsiteY5328" fmla="*/ 914079 h 6380470"/>
              <a:gd name="connsiteX5329" fmla="*/ 10778051 w 11625583"/>
              <a:gd name="connsiteY5329" fmla="*/ 978717 h 6380470"/>
              <a:gd name="connsiteX5330" fmla="*/ 10713385 w 11625583"/>
              <a:gd name="connsiteY5330" fmla="*/ 914079 h 6380470"/>
              <a:gd name="connsiteX5331" fmla="*/ 10778051 w 11625583"/>
              <a:gd name="connsiteY5331" fmla="*/ 849412 h 6380470"/>
              <a:gd name="connsiteX5332" fmla="*/ 526578 w 11625583"/>
              <a:gd name="connsiteY5332" fmla="*/ 849412 h 6380470"/>
              <a:gd name="connsiteX5333" fmla="*/ 591243 w 11625583"/>
              <a:gd name="connsiteY5333" fmla="*/ 914079 h 6380470"/>
              <a:gd name="connsiteX5334" fmla="*/ 526578 w 11625583"/>
              <a:gd name="connsiteY5334" fmla="*/ 978717 h 6380470"/>
              <a:gd name="connsiteX5335" fmla="*/ 461913 w 11625583"/>
              <a:gd name="connsiteY5335" fmla="*/ 914079 h 6380470"/>
              <a:gd name="connsiteX5336" fmla="*/ 526578 w 11625583"/>
              <a:gd name="connsiteY5336" fmla="*/ 849412 h 6380470"/>
              <a:gd name="connsiteX5337" fmla="*/ 373922 w 11625583"/>
              <a:gd name="connsiteY5337" fmla="*/ 849412 h 6380470"/>
              <a:gd name="connsiteX5338" fmla="*/ 438587 w 11625583"/>
              <a:gd name="connsiteY5338" fmla="*/ 914079 h 6380470"/>
              <a:gd name="connsiteX5339" fmla="*/ 373922 w 11625583"/>
              <a:gd name="connsiteY5339" fmla="*/ 978717 h 6380470"/>
              <a:gd name="connsiteX5340" fmla="*/ 309257 w 11625583"/>
              <a:gd name="connsiteY5340" fmla="*/ 914079 h 6380470"/>
              <a:gd name="connsiteX5341" fmla="*/ 373922 w 11625583"/>
              <a:gd name="connsiteY5341" fmla="*/ 849412 h 6380470"/>
              <a:gd name="connsiteX5342" fmla="*/ 217353 w 11625583"/>
              <a:gd name="connsiteY5342" fmla="*/ 849412 h 6380470"/>
              <a:gd name="connsiteX5343" fmla="*/ 282019 w 11625583"/>
              <a:gd name="connsiteY5343" fmla="*/ 914079 h 6380470"/>
              <a:gd name="connsiteX5344" fmla="*/ 217353 w 11625583"/>
              <a:gd name="connsiteY5344" fmla="*/ 978717 h 6380470"/>
              <a:gd name="connsiteX5345" fmla="*/ 152688 w 11625583"/>
              <a:gd name="connsiteY5345" fmla="*/ 914079 h 6380470"/>
              <a:gd name="connsiteX5346" fmla="*/ 217353 w 11625583"/>
              <a:gd name="connsiteY5346" fmla="*/ 849412 h 6380470"/>
              <a:gd name="connsiteX5347" fmla="*/ 9384550 w 11625583"/>
              <a:gd name="connsiteY5347" fmla="*/ 712411 h 6380470"/>
              <a:gd name="connsiteX5348" fmla="*/ 9449216 w 11625583"/>
              <a:gd name="connsiteY5348" fmla="*/ 777076 h 6380470"/>
              <a:gd name="connsiteX5349" fmla="*/ 9384550 w 11625583"/>
              <a:gd name="connsiteY5349" fmla="*/ 841744 h 6380470"/>
              <a:gd name="connsiteX5350" fmla="*/ 9319884 w 11625583"/>
              <a:gd name="connsiteY5350" fmla="*/ 777076 h 6380470"/>
              <a:gd name="connsiteX5351" fmla="*/ 9384550 w 11625583"/>
              <a:gd name="connsiteY5351" fmla="*/ 712411 h 6380470"/>
              <a:gd name="connsiteX5352" fmla="*/ 9227977 w 11625583"/>
              <a:gd name="connsiteY5352" fmla="*/ 712411 h 6380470"/>
              <a:gd name="connsiteX5353" fmla="*/ 9292643 w 11625583"/>
              <a:gd name="connsiteY5353" fmla="*/ 777076 h 6380470"/>
              <a:gd name="connsiteX5354" fmla="*/ 9227977 w 11625583"/>
              <a:gd name="connsiteY5354" fmla="*/ 841744 h 6380470"/>
              <a:gd name="connsiteX5355" fmla="*/ 9163311 w 11625583"/>
              <a:gd name="connsiteY5355" fmla="*/ 777076 h 6380470"/>
              <a:gd name="connsiteX5356" fmla="*/ 9227977 w 11625583"/>
              <a:gd name="connsiteY5356" fmla="*/ 712411 h 6380470"/>
              <a:gd name="connsiteX5357" fmla="*/ 9075319 w 11625583"/>
              <a:gd name="connsiteY5357" fmla="*/ 712411 h 6380470"/>
              <a:gd name="connsiteX5358" fmla="*/ 9139985 w 11625583"/>
              <a:gd name="connsiteY5358" fmla="*/ 777076 h 6380470"/>
              <a:gd name="connsiteX5359" fmla="*/ 9075319 w 11625583"/>
              <a:gd name="connsiteY5359" fmla="*/ 841744 h 6380470"/>
              <a:gd name="connsiteX5360" fmla="*/ 9010653 w 11625583"/>
              <a:gd name="connsiteY5360" fmla="*/ 777076 h 6380470"/>
              <a:gd name="connsiteX5361" fmla="*/ 9075319 w 11625583"/>
              <a:gd name="connsiteY5361" fmla="*/ 712411 h 6380470"/>
              <a:gd name="connsiteX5362" fmla="*/ 8914831 w 11625583"/>
              <a:gd name="connsiteY5362" fmla="*/ 712411 h 6380470"/>
              <a:gd name="connsiteX5363" fmla="*/ 8979497 w 11625583"/>
              <a:gd name="connsiteY5363" fmla="*/ 777076 h 6380470"/>
              <a:gd name="connsiteX5364" fmla="*/ 8914831 w 11625583"/>
              <a:gd name="connsiteY5364" fmla="*/ 841744 h 6380470"/>
              <a:gd name="connsiteX5365" fmla="*/ 8850165 w 11625583"/>
              <a:gd name="connsiteY5365" fmla="*/ 777076 h 6380470"/>
              <a:gd name="connsiteX5366" fmla="*/ 8914831 w 11625583"/>
              <a:gd name="connsiteY5366" fmla="*/ 712411 h 6380470"/>
              <a:gd name="connsiteX5367" fmla="*/ 8766086 w 11625583"/>
              <a:gd name="connsiteY5367" fmla="*/ 712411 h 6380470"/>
              <a:gd name="connsiteX5368" fmla="*/ 8830752 w 11625583"/>
              <a:gd name="connsiteY5368" fmla="*/ 777076 h 6380470"/>
              <a:gd name="connsiteX5369" fmla="*/ 8766086 w 11625583"/>
              <a:gd name="connsiteY5369" fmla="*/ 841744 h 6380470"/>
              <a:gd name="connsiteX5370" fmla="*/ 8701420 w 11625583"/>
              <a:gd name="connsiteY5370" fmla="*/ 777076 h 6380470"/>
              <a:gd name="connsiteX5371" fmla="*/ 8766086 w 11625583"/>
              <a:gd name="connsiteY5371" fmla="*/ 712411 h 6380470"/>
              <a:gd name="connsiteX5372" fmla="*/ 8601683 w 11625583"/>
              <a:gd name="connsiteY5372" fmla="*/ 712411 h 6380470"/>
              <a:gd name="connsiteX5373" fmla="*/ 8666349 w 11625583"/>
              <a:gd name="connsiteY5373" fmla="*/ 777076 h 6380470"/>
              <a:gd name="connsiteX5374" fmla="*/ 8601683 w 11625583"/>
              <a:gd name="connsiteY5374" fmla="*/ 841744 h 6380470"/>
              <a:gd name="connsiteX5375" fmla="*/ 8537017 w 11625583"/>
              <a:gd name="connsiteY5375" fmla="*/ 777076 h 6380470"/>
              <a:gd name="connsiteX5376" fmla="*/ 8601683 w 11625583"/>
              <a:gd name="connsiteY5376" fmla="*/ 712411 h 6380470"/>
              <a:gd name="connsiteX5377" fmla="*/ 8449025 w 11625583"/>
              <a:gd name="connsiteY5377" fmla="*/ 712411 h 6380470"/>
              <a:gd name="connsiteX5378" fmla="*/ 8513691 w 11625583"/>
              <a:gd name="connsiteY5378" fmla="*/ 777076 h 6380470"/>
              <a:gd name="connsiteX5379" fmla="*/ 8449025 w 11625583"/>
              <a:gd name="connsiteY5379" fmla="*/ 841744 h 6380470"/>
              <a:gd name="connsiteX5380" fmla="*/ 8384359 w 11625583"/>
              <a:gd name="connsiteY5380" fmla="*/ 777076 h 6380470"/>
              <a:gd name="connsiteX5381" fmla="*/ 8449025 w 11625583"/>
              <a:gd name="connsiteY5381" fmla="*/ 712411 h 6380470"/>
              <a:gd name="connsiteX5382" fmla="*/ 8296368 w 11625583"/>
              <a:gd name="connsiteY5382" fmla="*/ 712411 h 6380470"/>
              <a:gd name="connsiteX5383" fmla="*/ 8361034 w 11625583"/>
              <a:gd name="connsiteY5383" fmla="*/ 777076 h 6380470"/>
              <a:gd name="connsiteX5384" fmla="*/ 8296368 w 11625583"/>
              <a:gd name="connsiteY5384" fmla="*/ 841744 h 6380470"/>
              <a:gd name="connsiteX5385" fmla="*/ 8231702 w 11625583"/>
              <a:gd name="connsiteY5385" fmla="*/ 777076 h 6380470"/>
              <a:gd name="connsiteX5386" fmla="*/ 8296368 w 11625583"/>
              <a:gd name="connsiteY5386" fmla="*/ 712411 h 6380470"/>
              <a:gd name="connsiteX5387" fmla="*/ 8139793 w 11625583"/>
              <a:gd name="connsiteY5387" fmla="*/ 712411 h 6380470"/>
              <a:gd name="connsiteX5388" fmla="*/ 8204459 w 11625583"/>
              <a:gd name="connsiteY5388" fmla="*/ 777076 h 6380470"/>
              <a:gd name="connsiteX5389" fmla="*/ 8139793 w 11625583"/>
              <a:gd name="connsiteY5389" fmla="*/ 841744 h 6380470"/>
              <a:gd name="connsiteX5390" fmla="*/ 8075127 w 11625583"/>
              <a:gd name="connsiteY5390" fmla="*/ 777076 h 6380470"/>
              <a:gd name="connsiteX5391" fmla="*/ 8139793 w 11625583"/>
              <a:gd name="connsiteY5391" fmla="*/ 712411 h 6380470"/>
              <a:gd name="connsiteX5392" fmla="*/ 7987133 w 11625583"/>
              <a:gd name="connsiteY5392" fmla="*/ 712411 h 6380470"/>
              <a:gd name="connsiteX5393" fmla="*/ 8051799 w 11625583"/>
              <a:gd name="connsiteY5393" fmla="*/ 777076 h 6380470"/>
              <a:gd name="connsiteX5394" fmla="*/ 7987133 w 11625583"/>
              <a:gd name="connsiteY5394" fmla="*/ 841744 h 6380470"/>
              <a:gd name="connsiteX5395" fmla="*/ 7922467 w 11625583"/>
              <a:gd name="connsiteY5395" fmla="*/ 777076 h 6380470"/>
              <a:gd name="connsiteX5396" fmla="*/ 7987133 w 11625583"/>
              <a:gd name="connsiteY5396" fmla="*/ 712411 h 6380470"/>
              <a:gd name="connsiteX5397" fmla="*/ 7830562 w 11625583"/>
              <a:gd name="connsiteY5397" fmla="*/ 712411 h 6380470"/>
              <a:gd name="connsiteX5398" fmla="*/ 7895228 w 11625583"/>
              <a:gd name="connsiteY5398" fmla="*/ 777076 h 6380470"/>
              <a:gd name="connsiteX5399" fmla="*/ 7830562 w 11625583"/>
              <a:gd name="connsiteY5399" fmla="*/ 841744 h 6380470"/>
              <a:gd name="connsiteX5400" fmla="*/ 7765896 w 11625583"/>
              <a:gd name="connsiteY5400" fmla="*/ 777076 h 6380470"/>
              <a:gd name="connsiteX5401" fmla="*/ 7830562 w 11625583"/>
              <a:gd name="connsiteY5401" fmla="*/ 712411 h 6380470"/>
              <a:gd name="connsiteX5402" fmla="*/ 7212096 w 11625583"/>
              <a:gd name="connsiteY5402" fmla="*/ 712411 h 6380470"/>
              <a:gd name="connsiteX5403" fmla="*/ 7276762 w 11625583"/>
              <a:gd name="connsiteY5403" fmla="*/ 777076 h 6380470"/>
              <a:gd name="connsiteX5404" fmla="*/ 7212096 w 11625583"/>
              <a:gd name="connsiteY5404" fmla="*/ 841744 h 6380470"/>
              <a:gd name="connsiteX5405" fmla="*/ 7147430 w 11625583"/>
              <a:gd name="connsiteY5405" fmla="*/ 777076 h 6380470"/>
              <a:gd name="connsiteX5406" fmla="*/ 7212096 w 11625583"/>
              <a:gd name="connsiteY5406" fmla="*/ 712411 h 6380470"/>
              <a:gd name="connsiteX5407" fmla="*/ 6429229 w 11625583"/>
              <a:gd name="connsiteY5407" fmla="*/ 712411 h 6380470"/>
              <a:gd name="connsiteX5408" fmla="*/ 6493895 w 11625583"/>
              <a:gd name="connsiteY5408" fmla="*/ 777076 h 6380470"/>
              <a:gd name="connsiteX5409" fmla="*/ 6429229 w 11625583"/>
              <a:gd name="connsiteY5409" fmla="*/ 841745 h 6380470"/>
              <a:gd name="connsiteX5410" fmla="*/ 6364563 w 11625583"/>
              <a:gd name="connsiteY5410" fmla="*/ 777076 h 6380470"/>
              <a:gd name="connsiteX5411" fmla="*/ 6429229 w 11625583"/>
              <a:gd name="connsiteY5411" fmla="*/ 712411 h 6380470"/>
              <a:gd name="connsiteX5412" fmla="*/ 6276571 w 11625583"/>
              <a:gd name="connsiteY5412" fmla="*/ 712411 h 6380470"/>
              <a:gd name="connsiteX5413" fmla="*/ 6341237 w 11625583"/>
              <a:gd name="connsiteY5413" fmla="*/ 777076 h 6380470"/>
              <a:gd name="connsiteX5414" fmla="*/ 6276571 w 11625583"/>
              <a:gd name="connsiteY5414" fmla="*/ 841745 h 6380470"/>
              <a:gd name="connsiteX5415" fmla="*/ 6211905 w 11625583"/>
              <a:gd name="connsiteY5415" fmla="*/ 777076 h 6380470"/>
              <a:gd name="connsiteX5416" fmla="*/ 6276571 w 11625583"/>
              <a:gd name="connsiteY5416" fmla="*/ 712411 h 6380470"/>
              <a:gd name="connsiteX5417" fmla="*/ 10312248 w 11625583"/>
              <a:gd name="connsiteY5417" fmla="*/ 712410 h 6380470"/>
              <a:gd name="connsiteX5418" fmla="*/ 10376914 w 11625583"/>
              <a:gd name="connsiteY5418" fmla="*/ 777076 h 6380470"/>
              <a:gd name="connsiteX5419" fmla="*/ 10312248 w 11625583"/>
              <a:gd name="connsiteY5419" fmla="*/ 841743 h 6380470"/>
              <a:gd name="connsiteX5420" fmla="*/ 10247582 w 11625583"/>
              <a:gd name="connsiteY5420" fmla="*/ 777076 h 6380470"/>
              <a:gd name="connsiteX5421" fmla="*/ 10312248 w 11625583"/>
              <a:gd name="connsiteY5421" fmla="*/ 712410 h 6380470"/>
              <a:gd name="connsiteX5422" fmla="*/ 10159588 w 11625583"/>
              <a:gd name="connsiteY5422" fmla="*/ 712410 h 6380470"/>
              <a:gd name="connsiteX5423" fmla="*/ 10224254 w 11625583"/>
              <a:gd name="connsiteY5423" fmla="*/ 777076 h 6380470"/>
              <a:gd name="connsiteX5424" fmla="*/ 10159588 w 11625583"/>
              <a:gd name="connsiteY5424" fmla="*/ 841744 h 6380470"/>
              <a:gd name="connsiteX5425" fmla="*/ 10094922 w 11625583"/>
              <a:gd name="connsiteY5425" fmla="*/ 777076 h 6380470"/>
              <a:gd name="connsiteX5426" fmla="*/ 10159588 w 11625583"/>
              <a:gd name="connsiteY5426" fmla="*/ 712410 h 6380470"/>
              <a:gd name="connsiteX5427" fmla="*/ 10003016 w 11625583"/>
              <a:gd name="connsiteY5427" fmla="*/ 712410 h 6380470"/>
              <a:gd name="connsiteX5428" fmla="*/ 10067682 w 11625583"/>
              <a:gd name="connsiteY5428" fmla="*/ 777076 h 6380470"/>
              <a:gd name="connsiteX5429" fmla="*/ 10003016 w 11625583"/>
              <a:gd name="connsiteY5429" fmla="*/ 841744 h 6380470"/>
              <a:gd name="connsiteX5430" fmla="*/ 9938350 w 11625583"/>
              <a:gd name="connsiteY5430" fmla="*/ 777076 h 6380470"/>
              <a:gd name="connsiteX5431" fmla="*/ 10003016 w 11625583"/>
              <a:gd name="connsiteY5431" fmla="*/ 712410 h 6380470"/>
              <a:gd name="connsiteX5432" fmla="*/ 9850358 w 11625583"/>
              <a:gd name="connsiteY5432" fmla="*/ 712410 h 6380470"/>
              <a:gd name="connsiteX5433" fmla="*/ 9915024 w 11625583"/>
              <a:gd name="connsiteY5433" fmla="*/ 777076 h 6380470"/>
              <a:gd name="connsiteX5434" fmla="*/ 9850358 w 11625583"/>
              <a:gd name="connsiteY5434" fmla="*/ 841744 h 6380470"/>
              <a:gd name="connsiteX5435" fmla="*/ 9785692 w 11625583"/>
              <a:gd name="connsiteY5435" fmla="*/ 777076 h 6380470"/>
              <a:gd name="connsiteX5436" fmla="*/ 9850358 w 11625583"/>
              <a:gd name="connsiteY5436" fmla="*/ 712410 h 6380470"/>
              <a:gd name="connsiteX5437" fmla="*/ 9693783 w 11625583"/>
              <a:gd name="connsiteY5437" fmla="*/ 712410 h 6380470"/>
              <a:gd name="connsiteX5438" fmla="*/ 9758449 w 11625583"/>
              <a:gd name="connsiteY5438" fmla="*/ 777076 h 6380470"/>
              <a:gd name="connsiteX5439" fmla="*/ 9693783 w 11625583"/>
              <a:gd name="connsiteY5439" fmla="*/ 841744 h 6380470"/>
              <a:gd name="connsiteX5440" fmla="*/ 9629117 w 11625583"/>
              <a:gd name="connsiteY5440" fmla="*/ 777076 h 6380470"/>
              <a:gd name="connsiteX5441" fmla="*/ 9693783 w 11625583"/>
              <a:gd name="connsiteY5441" fmla="*/ 712410 h 6380470"/>
              <a:gd name="connsiteX5442" fmla="*/ 9541123 w 11625583"/>
              <a:gd name="connsiteY5442" fmla="*/ 712410 h 6380470"/>
              <a:gd name="connsiteX5443" fmla="*/ 9605789 w 11625583"/>
              <a:gd name="connsiteY5443" fmla="*/ 777076 h 6380470"/>
              <a:gd name="connsiteX5444" fmla="*/ 9541123 w 11625583"/>
              <a:gd name="connsiteY5444" fmla="*/ 841744 h 6380470"/>
              <a:gd name="connsiteX5445" fmla="*/ 9476457 w 11625583"/>
              <a:gd name="connsiteY5445" fmla="*/ 777076 h 6380470"/>
              <a:gd name="connsiteX5446" fmla="*/ 9541123 w 11625583"/>
              <a:gd name="connsiteY5446" fmla="*/ 712410 h 6380470"/>
              <a:gd name="connsiteX5447" fmla="*/ 4409471 w 11625583"/>
              <a:gd name="connsiteY5447" fmla="*/ 712409 h 6380470"/>
              <a:gd name="connsiteX5448" fmla="*/ 4474113 w 11625583"/>
              <a:gd name="connsiteY5448" fmla="*/ 777074 h 6380470"/>
              <a:gd name="connsiteX5449" fmla="*/ 4409471 w 11625583"/>
              <a:gd name="connsiteY5449" fmla="*/ 841743 h 6380470"/>
              <a:gd name="connsiteX5450" fmla="*/ 4344809 w 11625583"/>
              <a:gd name="connsiteY5450" fmla="*/ 777074 h 6380470"/>
              <a:gd name="connsiteX5451" fmla="*/ 4409471 w 11625583"/>
              <a:gd name="connsiteY5451" fmla="*/ 712409 h 6380470"/>
              <a:gd name="connsiteX5452" fmla="*/ 4256823 w 11625583"/>
              <a:gd name="connsiteY5452" fmla="*/ 712409 h 6380470"/>
              <a:gd name="connsiteX5453" fmla="*/ 4321471 w 11625583"/>
              <a:gd name="connsiteY5453" fmla="*/ 777074 h 6380470"/>
              <a:gd name="connsiteX5454" fmla="*/ 4256823 w 11625583"/>
              <a:gd name="connsiteY5454" fmla="*/ 841743 h 6380470"/>
              <a:gd name="connsiteX5455" fmla="*/ 4192125 w 11625583"/>
              <a:gd name="connsiteY5455" fmla="*/ 777074 h 6380470"/>
              <a:gd name="connsiteX5456" fmla="*/ 4256823 w 11625583"/>
              <a:gd name="connsiteY5456" fmla="*/ 712409 h 6380470"/>
              <a:gd name="connsiteX5457" fmla="*/ 4100255 w 11625583"/>
              <a:gd name="connsiteY5457" fmla="*/ 712409 h 6380470"/>
              <a:gd name="connsiteX5458" fmla="*/ 4164923 w 11625583"/>
              <a:gd name="connsiteY5458" fmla="*/ 777074 h 6380470"/>
              <a:gd name="connsiteX5459" fmla="*/ 4100255 w 11625583"/>
              <a:gd name="connsiteY5459" fmla="*/ 841743 h 6380470"/>
              <a:gd name="connsiteX5460" fmla="*/ 4035594 w 11625583"/>
              <a:gd name="connsiteY5460" fmla="*/ 777074 h 6380470"/>
              <a:gd name="connsiteX5461" fmla="*/ 4100255 w 11625583"/>
              <a:gd name="connsiteY5461" fmla="*/ 712409 h 6380470"/>
              <a:gd name="connsiteX5462" fmla="*/ 3947579 w 11625583"/>
              <a:gd name="connsiteY5462" fmla="*/ 712409 h 6380470"/>
              <a:gd name="connsiteX5463" fmla="*/ 4012257 w 11625583"/>
              <a:gd name="connsiteY5463" fmla="*/ 777074 h 6380470"/>
              <a:gd name="connsiteX5464" fmla="*/ 3947579 w 11625583"/>
              <a:gd name="connsiteY5464" fmla="*/ 841743 h 6380470"/>
              <a:gd name="connsiteX5465" fmla="*/ 3883058 w 11625583"/>
              <a:gd name="connsiteY5465" fmla="*/ 777074 h 6380470"/>
              <a:gd name="connsiteX5466" fmla="*/ 3947579 w 11625583"/>
              <a:gd name="connsiteY5466" fmla="*/ 712409 h 6380470"/>
              <a:gd name="connsiteX5467" fmla="*/ 3791150 w 11625583"/>
              <a:gd name="connsiteY5467" fmla="*/ 712409 h 6380470"/>
              <a:gd name="connsiteX5468" fmla="*/ 3855819 w 11625583"/>
              <a:gd name="connsiteY5468" fmla="*/ 777074 h 6380470"/>
              <a:gd name="connsiteX5469" fmla="*/ 3791150 w 11625583"/>
              <a:gd name="connsiteY5469" fmla="*/ 841743 h 6380470"/>
              <a:gd name="connsiteX5470" fmla="*/ 3726477 w 11625583"/>
              <a:gd name="connsiteY5470" fmla="*/ 777074 h 6380470"/>
              <a:gd name="connsiteX5471" fmla="*/ 3791150 w 11625583"/>
              <a:gd name="connsiteY5471" fmla="*/ 712409 h 6380470"/>
              <a:gd name="connsiteX5472" fmla="*/ 3012174 w 11625583"/>
              <a:gd name="connsiteY5472" fmla="*/ 712409 h 6380470"/>
              <a:gd name="connsiteX5473" fmla="*/ 3076841 w 11625583"/>
              <a:gd name="connsiteY5473" fmla="*/ 777074 h 6380470"/>
              <a:gd name="connsiteX5474" fmla="*/ 3012174 w 11625583"/>
              <a:gd name="connsiteY5474" fmla="*/ 841743 h 6380470"/>
              <a:gd name="connsiteX5475" fmla="*/ 2947515 w 11625583"/>
              <a:gd name="connsiteY5475" fmla="*/ 777074 h 6380470"/>
              <a:gd name="connsiteX5476" fmla="*/ 3012174 w 11625583"/>
              <a:gd name="connsiteY5476" fmla="*/ 712409 h 6380470"/>
              <a:gd name="connsiteX5477" fmla="*/ 2855626 w 11625583"/>
              <a:gd name="connsiteY5477" fmla="*/ 712409 h 6380470"/>
              <a:gd name="connsiteX5478" fmla="*/ 2920277 w 11625583"/>
              <a:gd name="connsiteY5478" fmla="*/ 777074 h 6380470"/>
              <a:gd name="connsiteX5479" fmla="*/ 2855626 w 11625583"/>
              <a:gd name="connsiteY5479" fmla="*/ 841743 h 6380470"/>
              <a:gd name="connsiteX5480" fmla="*/ 2790967 w 11625583"/>
              <a:gd name="connsiteY5480" fmla="*/ 777074 h 6380470"/>
              <a:gd name="connsiteX5481" fmla="*/ 2855626 w 11625583"/>
              <a:gd name="connsiteY5481" fmla="*/ 712409 h 6380470"/>
              <a:gd name="connsiteX5482" fmla="*/ 2699077 w 11625583"/>
              <a:gd name="connsiteY5482" fmla="*/ 712409 h 6380470"/>
              <a:gd name="connsiteX5483" fmla="*/ 2763730 w 11625583"/>
              <a:gd name="connsiteY5483" fmla="*/ 777074 h 6380470"/>
              <a:gd name="connsiteX5484" fmla="*/ 2699077 w 11625583"/>
              <a:gd name="connsiteY5484" fmla="*/ 841743 h 6380470"/>
              <a:gd name="connsiteX5485" fmla="*/ 2634422 w 11625583"/>
              <a:gd name="connsiteY5485" fmla="*/ 777074 h 6380470"/>
              <a:gd name="connsiteX5486" fmla="*/ 2699077 w 11625583"/>
              <a:gd name="connsiteY5486" fmla="*/ 712409 h 6380470"/>
              <a:gd name="connsiteX5487" fmla="*/ 2546443 w 11625583"/>
              <a:gd name="connsiteY5487" fmla="*/ 712409 h 6380470"/>
              <a:gd name="connsiteX5488" fmla="*/ 2611099 w 11625583"/>
              <a:gd name="connsiteY5488" fmla="*/ 777074 h 6380470"/>
              <a:gd name="connsiteX5489" fmla="*/ 2546443 w 11625583"/>
              <a:gd name="connsiteY5489" fmla="*/ 841743 h 6380470"/>
              <a:gd name="connsiteX5490" fmla="*/ 2481784 w 11625583"/>
              <a:gd name="connsiteY5490" fmla="*/ 777074 h 6380470"/>
              <a:gd name="connsiteX5491" fmla="*/ 2546443 w 11625583"/>
              <a:gd name="connsiteY5491" fmla="*/ 712409 h 6380470"/>
              <a:gd name="connsiteX5492" fmla="*/ 2389866 w 11625583"/>
              <a:gd name="connsiteY5492" fmla="*/ 712409 h 6380470"/>
              <a:gd name="connsiteX5493" fmla="*/ 2454550 w 11625583"/>
              <a:gd name="connsiteY5493" fmla="*/ 777074 h 6380470"/>
              <a:gd name="connsiteX5494" fmla="*/ 2389866 w 11625583"/>
              <a:gd name="connsiteY5494" fmla="*/ 841743 h 6380470"/>
              <a:gd name="connsiteX5495" fmla="*/ 2325211 w 11625583"/>
              <a:gd name="connsiteY5495" fmla="*/ 777074 h 6380470"/>
              <a:gd name="connsiteX5496" fmla="*/ 2389866 w 11625583"/>
              <a:gd name="connsiteY5496" fmla="*/ 712409 h 6380470"/>
              <a:gd name="connsiteX5497" fmla="*/ 2237188 w 11625583"/>
              <a:gd name="connsiteY5497" fmla="*/ 712409 h 6380470"/>
              <a:gd name="connsiteX5498" fmla="*/ 2301876 w 11625583"/>
              <a:gd name="connsiteY5498" fmla="*/ 777075 h 6380470"/>
              <a:gd name="connsiteX5499" fmla="*/ 2237188 w 11625583"/>
              <a:gd name="connsiteY5499" fmla="*/ 841743 h 6380470"/>
              <a:gd name="connsiteX5500" fmla="*/ 2172504 w 11625583"/>
              <a:gd name="connsiteY5500" fmla="*/ 777075 h 6380470"/>
              <a:gd name="connsiteX5501" fmla="*/ 2237188 w 11625583"/>
              <a:gd name="connsiteY5501" fmla="*/ 712409 h 6380470"/>
              <a:gd name="connsiteX5502" fmla="*/ 2084508 w 11625583"/>
              <a:gd name="connsiteY5502" fmla="*/ 712409 h 6380470"/>
              <a:gd name="connsiteX5503" fmla="*/ 2149169 w 11625583"/>
              <a:gd name="connsiteY5503" fmla="*/ 777075 h 6380470"/>
              <a:gd name="connsiteX5504" fmla="*/ 2084508 w 11625583"/>
              <a:gd name="connsiteY5504" fmla="*/ 841743 h 6380470"/>
              <a:gd name="connsiteX5505" fmla="*/ 2019865 w 11625583"/>
              <a:gd name="connsiteY5505" fmla="*/ 777075 h 6380470"/>
              <a:gd name="connsiteX5506" fmla="*/ 2084508 w 11625583"/>
              <a:gd name="connsiteY5506" fmla="*/ 712409 h 6380470"/>
              <a:gd name="connsiteX5507" fmla="*/ 1927912 w 11625583"/>
              <a:gd name="connsiteY5507" fmla="*/ 712409 h 6380470"/>
              <a:gd name="connsiteX5508" fmla="*/ 1992606 w 11625583"/>
              <a:gd name="connsiteY5508" fmla="*/ 777075 h 6380470"/>
              <a:gd name="connsiteX5509" fmla="*/ 1927912 w 11625583"/>
              <a:gd name="connsiteY5509" fmla="*/ 841743 h 6380470"/>
              <a:gd name="connsiteX5510" fmla="*/ 1863284 w 11625583"/>
              <a:gd name="connsiteY5510" fmla="*/ 777075 h 6380470"/>
              <a:gd name="connsiteX5511" fmla="*/ 1927912 w 11625583"/>
              <a:gd name="connsiteY5511" fmla="*/ 712409 h 6380470"/>
              <a:gd name="connsiteX5512" fmla="*/ 1775266 w 11625583"/>
              <a:gd name="connsiteY5512" fmla="*/ 712409 h 6380470"/>
              <a:gd name="connsiteX5513" fmla="*/ 1839957 w 11625583"/>
              <a:gd name="connsiteY5513" fmla="*/ 777075 h 6380470"/>
              <a:gd name="connsiteX5514" fmla="*/ 1775266 w 11625583"/>
              <a:gd name="connsiteY5514" fmla="*/ 841743 h 6380470"/>
              <a:gd name="connsiteX5515" fmla="*/ 1710593 w 11625583"/>
              <a:gd name="connsiteY5515" fmla="*/ 777075 h 6380470"/>
              <a:gd name="connsiteX5516" fmla="*/ 1775266 w 11625583"/>
              <a:gd name="connsiteY5516" fmla="*/ 712409 h 6380470"/>
              <a:gd name="connsiteX5517" fmla="*/ 1618680 w 11625583"/>
              <a:gd name="connsiteY5517" fmla="*/ 712409 h 6380470"/>
              <a:gd name="connsiteX5518" fmla="*/ 1683351 w 11625583"/>
              <a:gd name="connsiteY5518" fmla="*/ 777075 h 6380470"/>
              <a:gd name="connsiteX5519" fmla="*/ 1618680 w 11625583"/>
              <a:gd name="connsiteY5519" fmla="*/ 841743 h 6380470"/>
              <a:gd name="connsiteX5520" fmla="*/ 1554018 w 11625583"/>
              <a:gd name="connsiteY5520" fmla="*/ 777075 h 6380470"/>
              <a:gd name="connsiteX5521" fmla="*/ 1618680 w 11625583"/>
              <a:gd name="connsiteY5521" fmla="*/ 712409 h 6380470"/>
              <a:gd name="connsiteX5522" fmla="*/ 1466022 w 11625583"/>
              <a:gd name="connsiteY5522" fmla="*/ 712409 h 6380470"/>
              <a:gd name="connsiteX5523" fmla="*/ 1530689 w 11625583"/>
              <a:gd name="connsiteY5523" fmla="*/ 777075 h 6380470"/>
              <a:gd name="connsiteX5524" fmla="*/ 1466022 w 11625583"/>
              <a:gd name="connsiteY5524" fmla="*/ 841743 h 6380470"/>
              <a:gd name="connsiteX5525" fmla="*/ 1401359 w 11625583"/>
              <a:gd name="connsiteY5525" fmla="*/ 777075 h 6380470"/>
              <a:gd name="connsiteX5526" fmla="*/ 1466022 w 11625583"/>
              <a:gd name="connsiteY5526" fmla="*/ 712409 h 6380470"/>
              <a:gd name="connsiteX5527" fmla="*/ 6119999 w 11625583"/>
              <a:gd name="connsiteY5527" fmla="*/ 712409 h 6380470"/>
              <a:gd name="connsiteX5528" fmla="*/ 6184665 w 11625583"/>
              <a:gd name="connsiteY5528" fmla="*/ 777074 h 6380470"/>
              <a:gd name="connsiteX5529" fmla="*/ 6119999 w 11625583"/>
              <a:gd name="connsiteY5529" fmla="*/ 841743 h 6380470"/>
              <a:gd name="connsiteX5530" fmla="*/ 6055333 w 11625583"/>
              <a:gd name="connsiteY5530" fmla="*/ 777074 h 6380470"/>
              <a:gd name="connsiteX5531" fmla="*/ 6119999 w 11625583"/>
              <a:gd name="connsiteY5531" fmla="*/ 712409 h 6380470"/>
              <a:gd name="connsiteX5532" fmla="*/ 4722614 w 11625583"/>
              <a:gd name="connsiteY5532" fmla="*/ 712409 h 6380470"/>
              <a:gd name="connsiteX5533" fmla="*/ 4787277 w 11625583"/>
              <a:gd name="connsiteY5533" fmla="*/ 777074 h 6380470"/>
              <a:gd name="connsiteX5534" fmla="*/ 4722614 w 11625583"/>
              <a:gd name="connsiteY5534" fmla="*/ 841743 h 6380470"/>
              <a:gd name="connsiteX5535" fmla="*/ 4657957 w 11625583"/>
              <a:gd name="connsiteY5535" fmla="*/ 777074 h 6380470"/>
              <a:gd name="connsiteX5536" fmla="*/ 4722614 w 11625583"/>
              <a:gd name="connsiteY5536" fmla="*/ 712409 h 6380470"/>
              <a:gd name="connsiteX5537" fmla="*/ 4566030 w 11625583"/>
              <a:gd name="connsiteY5537" fmla="*/ 712409 h 6380470"/>
              <a:gd name="connsiteX5538" fmla="*/ 4630712 w 11625583"/>
              <a:gd name="connsiteY5538" fmla="*/ 777074 h 6380470"/>
              <a:gd name="connsiteX5539" fmla="*/ 4566030 w 11625583"/>
              <a:gd name="connsiteY5539" fmla="*/ 841743 h 6380470"/>
              <a:gd name="connsiteX5540" fmla="*/ 4501345 w 11625583"/>
              <a:gd name="connsiteY5540" fmla="*/ 777074 h 6380470"/>
              <a:gd name="connsiteX5541" fmla="*/ 4566030 w 11625583"/>
              <a:gd name="connsiteY5541" fmla="*/ 712409 h 6380470"/>
              <a:gd name="connsiteX5542" fmla="*/ 9541123 w 11625583"/>
              <a:gd name="connsiteY5542" fmla="*/ 579326 h 6380470"/>
              <a:gd name="connsiteX5543" fmla="*/ 9605789 w 11625583"/>
              <a:gd name="connsiteY5543" fmla="*/ 643991 h 6380470"/>
              <a:gd name="connsiteX5544" fmla="*/ 9541123 w 11625583"/>
              <a:gd name="connsiteY5544" fmla="*/ 708656 h 6380470"/>
              <a:gd name="connsiteX5545" fmla="*/ 9476457 w 11625583"/>
              <a:gd name="connsiteY5545" fmla="*/ 643991 h 6380470"/>
              <a:gd name="connsiteX5546" fmla="*/ 9541123 w 11625583"/>
              <a:gd name="connsiteY5546" fmla="*/ 579326 h 6380470"/>
              <a:gd name="connsiteX5547" fmla="*/ 9384550 w 11625583"/>
              <a:gd name="connsiteY5547" fmla="*/ 579326 h 6380470"/>
              <a:gd name="connsiteX5548" fmla="*/ 9449216 w 11625583"/>
              <a:gd name="connsiteY5548" fmla="*/ 643991 h 6380470"/>
              <a:gd name="connsiteX5549" fmla="*/ 9384550 w 11625583"/>
              <a:gd name="connsiteY5549" fmla="*/ 708656 h 6380470"/>
              <a:gd name="connsiteX5550" fmla="*/ 9319884 w 11625583"/>
              <a:gd name="connsiteY5550" fmla="*/ 643991 h 6380470"/>
              <a:gd name="connsiteX5551" fmla="*/ 9384550 w 11625583"/>
              <a:gd name="connsiteY5551" fmla="*/ 579326 h 6380470"/>
              <a:gd name="connsiteX5552" fmla="*/ 9227977 w 11625583"/>
              <a:gd name="connsiteY5552" fmla="*/ 579326 h 6380470"/>
              <a:gd name="connsiteX5553" fmla="*/ 9292643 w 11625583"/>
              <a:gd name="connsiteY5553" fmla="*/ 643991 h 6380470"/>
              <a:gd name="connsiteX5554" fmla="*/ 9227977 w 11625583"/>
              <a:gd name="connsiteY5554" fmla="*/ 708656 h 6380470"/>
              <a:gd name="connsiteX5555" fmla="*/ 9163311 w 11625583"/>
              <a:gd name="connsiteY5555" fmla="*/ 643991 h 6380470"/>
              <a:gd name="connsiteX5556" fmla="*/ 9227977 w 11625583"/>
              <a:gd name="connsiteY5556" fmla="*/ 579326 h 6380470"/>
              <a:gd name="connsiteX5557" fmla="*/ 9075319 w 11625583"/>
              <a:gd name="connsiteY5557" fmla="*/ 579326 h 6380470"/>
              <a:gd name="connsiteX5558" fmla="*/ 9139985 w 11625583"/>
              <a:gd name="connsiteY5558" fmla="*/ 643992 h 6380470"/>
              <a:gd name="connsiteX5559" fmla="*/ 9075319 w 11625583"/>
              <a:gd name="connsiteY5559" fmla="*/ 708656 h 6380470"/>
              <a:gd name="connsiteX5560" fmla="*/ 9010653 w 11625583"/>
              <a:gd name="connsiteY5560" fmla="*/ 643992 h 6380470"/>
              <a:gd name="connsiteX5561" fmla="*/ 9075319 w 11625583"/>
              <a:gd name="connsiteY5561" fmla="*/ 579326 h 6380470"/>
              <a:gd name="connsiteX5562" fmla="*/ 8914831 w 11625583"/>
              <a:gd name="connsiteY5562" fmla="*/ 579326 h 6380470"/>
              <a:gd name="connsiteX5563" fmla="*/ 8979497 w 11625583"/>
              <a:gd name="connsiteY5563" fmla="*/ 643992 h 6380470"/>
              <a:gd name="connsiteX5564" fmla="*/ 8914831 w 11625583"/>
              <a:gd name="connsiteY5564" fmla="*/ 708656 h 6380470"/>
              <a:gd name="connsiteX5565" fmla="*/ 8850165 w 11625583"/>
              <a:gd name="connsiteY5565" fmla="*/ 643992 h 6380470"/>
              <a:gd name="connsiteX5566" fmla="*/ 8914831 w 11625583"/>
              <a:gd name="connsiteY5566" fmla="*/ 579326 h 6380470"/>
              <a:gd name="connsiteX5567" fmla="*/ 8766086 w 11625583"/>
              <a:gd name="connsiteY5567" fmla="*/ 579326 h 6380470"/>
              <a:gd name="connsiteX5568" fmla="*/ 8830752 w 11625583"/>
              <a:gd name="connsiteY5568" fmla="*/ 643992 h 6380470"/>
              <a:gd name="connsiteX5569" fmla="*/ 8766086 w 11625583"/>
              <a:gd name="connsiteY5569" fmla="*/ 708656 h 6380470"/>
              <a:gd name="connsiteX5570" fmla="*/ 8701420 w 11625583"/>
              <a:gd name="connsiteY5570" fmla="*/ 643992 h 6380470"/>
              <a:gd name="connsiteX5571" fmla="*/ 8766086 w 11625583"/>
              <a:gd name="connsiteY5571" fmla="*/ 579326 h 6380470"/>
              <a:gd name="connsiteX5572" fmla="*/ 8601685 w 11625583"/>
              <a:gd name="connsiteY5572" fmla="*/ 579326 h 6380470"/>
              <a:gd name="connsiteX5573" fmla="*/ 8666351 w 11625583"/>
              <a:gd name="connsiteY5573" fmla="*/ 643992 h 6380470"/>
              <a:gd name="connsiteX5574" fmla="*/ 8601685 w 11625583"/>
              <a:gd name="connsiteY5574" fmla="*/ 708656 h 6380470"/>
              <a:gd name="connsiteX5575" fmla="*/ 8537019 w 11625583"/>
              <a:gd name="connsiteY5575" fmla="*/ 643992 h 6380470"/>
              <a:gd name="connsiteX5576" fmla="*/ 8601685 w 11625583"/>
              <a:gd name="connsiteY5576" fmla="*/ 579326 h 6380470"/>
              <a:gd name="connsiteX5577" fmla="*/ 8449025 w 11625583"/>
              <a:gd name="connsiteY5577" fmla="*/ 579326 h 6380470"/>
              <a:gd name="connsiteX5578" fmla="*/ 8513691 w 11625583"/>
              <a:gd name="connsiteY5578" fmla="*/ 643992 h 6380470"/>
              <a:gd name="connsiteX5579" fmla="*/ 8449025 w 11625583"/>
              <a:gd name="connsiteY5579" fmla="*/ 708656 h 6380470"/>
              <a:gd name="connsiteX5580" fmla="*/ 8384359 w 11625583"/>
              <a:gd name="connsiteY5580" fmla="*/ 643992 h 6380470"/>
              <a:gd name="connsiteX5581" fmla="*/ 8449025 w 11625583"/>
              <a:gd name="connsiteY5581" fmla="*/ 579326 h 6380470"/>
              <a:gd name="connsiteX5582" fmla="*/ 8296368 w 11625583"/>
              <a:gd name="connsiteY5582" fmla="*/ 579326 h 6380470"/>
              <a:gd name="connsiteX5583" fmla="*/ 8361034 w 11625583"/>
              <a:gd name="connsiteY5583" fmla="*/ 643992 h 6380470"/>
              <a:gd name="connsiteX5584" fmla="*/ 8296368 w 11625583"/>
              <a:gd name="connsiteY5584" fmla="*/ 708656 h 6380470"/>
              <a:gd name="connsiteX5585" fmla="*/ 8231702 w 11625583"/>
              <a:gd name="connsiteY5585" fmla="*/ 643992 h 6380470"/>
              <a:gd name="connsiteX5586" fmla="*/ 8296368 w 11625583"/>
              <a:gd name="connsiteY5586" fmla="*/ 579326 h 6380470"/>
              <a:gd name="connsiteX5587" fmla="*/ 8139793 w 11625583"/>
              <a:gd name="connsiteY5587" fmla="*/ 579326 h 6380470"/>
              <a:gd name="connsiteX5588" fmla="*/ 8204459 w 11625583"/>
              <a:gd name="connsiteY5588" fmla="*/ 643992 h 6380470"/>
              <a:gd name="connsiteX5589" fmla="*/ 8139793 w 11625583"/>
              <a:gd name="connsiteY5589" fmla="*/ 708656 h 6380470"/>
              <a:gd name="connsiteX5590" fmla="*/ 8075127 w 11625583"/>
              <a:gd name="connsiteY5590" fmla="*/ 643992 h 6380470"/>
              <a:gd name="connsiteX5591" fmla="*/ 8139793 w 11625583"/>
              <a:gd name="connsiteY5591" fmla="*/ 579326 h 6380470"/>
              <a:gd name="connsiteX5592" fmla="*/ 7368669 w 11625583"/>
              <a:gd name="connsiteY5592" fmla="*/ 579326 h 6380470"/>
              <a:gd name="connsiteX5593" fmla="*/ 7433335 w 11625583"/>
              <a:gd name="connsiteY5593" fmla="*/ 643992 h 6380470"/>
              <a:gd name="connsiteX5594" fmla="*/ 7368669 w 11625583"/>
              <a:gd name="connsiteY5594" fmla="*/ 708658 h 6380470"/>
              <a:gd name="connsiteX5595" fmla="*/ 7304003 w 11625583"/>
              <a:gd name="connsiteY5595" fmla="*/ 643992 h 6380470"/>
              <a:gd name="connsiteX5596" fmla="*/ 7368669 w 11625583"/>
              <a:gd name="connsiteY5596" fmla="*/ 579326 h 6380470"/>
              <a:gd name="connsiteX5597" fmla="*/ 4722614 w 11625583"/>
              <a:gd name="connsiteY5597" fmla="*/ 579326 h 6380470"/>
              <a:gd name="connsiteX5598" fmla="*/ 4787277 w 11625583"/>
              <a:gd name="connsiteY5598" fmla="*/ 643992 h 6380470"/>
              <a:gd name="connsiteX5599" fmla="*/ 4722614 w 11625583"/>
              <a:gd name="connsiteY5599" fmla="*/ 708658 h 6380470"/>
              <a:gd name="connsiteX5600" fmla="*/ 4657957 w 11625583"/>
              <a:gd name="connsiteY5600" fmla="*/ 643992 h 6380470"/>
              <a:gd name="connsiteX5601" fmla="*/ 4722614 w 11625583"/>
              <a:gd name="connsiteY5601" fmla="*/ 579326 h 6380470"/>
              <a:gd name="connsiteX5602" fmla="*/ 4566030 w 11625583"/>
              <a:gd name="connsiteY5602" fmla="*/ 579326 h 6380470"/>
              <a:gd name="connsiteX5603" fmla="*/ 4630712 w 11625583"/>
              <a:gd name="connsiteY5603" fmla="*/ 643992 h 6380470"/>
              <a:gd name="connsiteX5604" fmla="*/ 4566030 w 11625583"/>
              <a:gd name="connsiteY5604" fmla="*/ 708658 h 6380470"/>
              <a:gd name="connsiteX5605" fmla="*/ 4501345 w 11625583"/>
              <a:gd name="connsiteY5605" fmla="*/ 643992 h 6380470"/>
              <a:gd name="connsiteX5606" fmla="*/ 4566030 w 11625583"/>
              <a:gd name="connsiteY5606" fmla="*/ 579326 h 6380470"/>
              <a:gd name="connsiteX5607" fmla="*/ 4409471 w 11625583"/>
              <a:gd name="connsiteY5607" fmla="*/ 579326 h 6380470"/>
              <a:gd name="connsiteX5608" fmla="*/ 4474113 w 11625583"/>
              <a:gd name="connsiteY5608" fmla="*/ 643992 h 6380470"/>
              <a:gd name="connsiteX5609" fmla="*/ 4409471 w 11625583"/>
              <a:gd name="connsiteY5609" fmla="*/ 708658 h 6380470"/>
              <a:gd name="connsiteX5610" fmla="*/ 4344809 w 11625583"/>
              <a:gd name="connsiteY5610" fmla="*/ 643992 h 6380470"/>
              <a:gd name="connsiteX5611" fmla="*/ 4409471 w 11625583"/>
              <a:gd name="connsiteY5611" fmla="*/ 579326 h 6380470"/>
              <a:gd name="connsiteX5612" fmla="*/ 4256823 w 11625583"/>
              <a:gd name="connsiteY5612" fmla="*/ 579326 h 6380470"/>
              <a:gd name="connsiteX5613" fmla="*/ 4321471 w 11625583"/>
              <a:gd name="connsiteY5613" fmla="*/ 643992 h 6380470"/>
              <a:gd name="connsiteX5614" fmla="*/ 4256823 w 11625583"/>
              <a:gd name="connsiteY5614" fmla="*/ 708658 h 6380470"/>
              <a:gd name="connsiteX5615" fmla="*/ 4192125 w 11625583"/>
              <a:gd name="connsiteY5615" fmla="*/ 643992 h 6380470"/>
              <a:gd name="connsiteX5616" fmla="*/ 4256823 w 11625583"/>
              <a:gd name="connsiteY5616" fmla="*/ 579326 h 6380470"/>
              <a:gd name="connsiteX5617" fmla="*/ 4100255 w 11625583"/>
              <a:gd name="connsiteY5617" fmla="*/ 579326 h 6380470"/>
              <a:gd name="connsiteX5618" fmla="*/ 4164923 w 11625583"/>
              <a:gd name="connsiteY5618" fmla="*/ 643992 h 6380470"/>
              <a:gd name="connsiteX5619" fmla="*/ 4100255 w 11625583"/>
              <a:gd name="connsiteY5619" fmla="*/ 708658 h 6380470"/>
              <a:gd name="connsiteX5620" fmla="*/ 4035594 w 11625583"/>
              <a:gd name="connsiteY5620" fmla="*/ 643992 h 6380470"/>
              <a:gd name="connsiteX5621" fmla="*/ 4100255 w 11625583"/>
              <a:gd name="connsiteY5621" fmla="*/ 579326 h 6380470"/>
              <a:gd name="connsiteX5622" fmla="*/ 3947579 w 11625583"/>
              <a:gd name="connsiteY5622" fmla="*/ 579326 h 6380470"/>
              <a:gd name="connsiteX5623" fmla="*/ 4012257 w 11625583"/>
              <a:gd name="connsiteY5623" fmla="*/ 643992 h 6380470"/>
              <a:gd name="connsiteX5624" fmla="*/ 3947579 w 11625583"/>
              <a:gd name="connsiteY5624" fmla="*/ 708658 h 6380470"/>
              <a:gd name="connsiteX5625" fmla="*/ 3883063 w 11625583"/>
              <a:gd name="connsiteY5625" fmla="*/ 643992 h 6380470"/>
              <a:gd name="connsiteX5626" fmla="*/ 3947579 w 11625583"/>
              <a:gd name="connsiteY5626" fmla="*/ 579326 h 6380470"/>
              <a:gd name="connsiteX5627" fmla="*/ 3791157 w 11625583"/>
              <a:gd name="connsiteY5627" fmla="*/ 579326 h 6380470"/>
              <a:gd name="connsiteX5628" fmla="*/ 3855823 w 11625583"/>
              <a:gd name="connsiteY5628" fmla="*/ 643992 h 6380470"/>
              <a:gd name="connsiteX5629" fmla="*/ 3791157 w 11625583"/>
              <a:gd name="connsiteY5629" fmla="*/ 708658 h 6380470"/>
              <a:gd name="connsiteX5630" fmla="*/ 3726482 w 11625583"/>
              <a:gd name="connsiteY5630" fmla="*/ 643992 h 6380470"/>
              <a:gd name="connsiteX5631" fmla="*/ 3791157 w 11625583"/>
              <a:gd name="connsiteY5631" fmla="*/ 579326 h 6380470"/>
              <a:gd name="connsiteX5632" fmla="*/ 2855626 w 11625583"/>
              <a:gd name="connsiteY5632" fmla="*/ 579326 h 6380470"/>
              <a:gd name="connsiteX5633" fmla="*/ 2920280 w 11625583"/>
              <a:gd name="connsiteY5633" fmla="*/ 643992 h 6380470"/>
              <a:gd name="connsiteX5634" fmla="*/ 2855626 w 11625583"/>
              <a:gd name="connsiteY5634" fmla="*/ 708658 h 6380470"/>
              <a:gd name="connsiteX5635" fmla="*/ 2790969 w 11625583"/>
              <a:gd name="connsiteY5635" fmla="*/ 643992 h 6380470"/>
              <a:gd name="connsiteX5636" fmla="*/ 2855626 w 11625583"/>
              <a:gd name="connsiteY5636" fmla="*/ 579326 h 6380470"/>
              <a:gd name="connsiteX5637" fmla="*/ 2699081 w 11625583"/>
              <a:gd name="connsiteY5637" fmla="*/ 579326 h 6380470"/>
              <a:gd name="connsiteX5638" fmla="*/ 2763735 w 11625583"/>
              <a:gd name="connsiteY5638" fmla="*/ 643992 h 6380470"/>
              <a:gd name="connsiteX5639" fmla="*/ 2699081 w 11625583"/>
              <a:gd name="connsiteY5639" fmla="*/ 708658 h 6380470"/>
              <a:gd name="connsiteX5640" fmla="*/ 2634426 w 11625583"/>
              <a:gd name="connsiteY5640" fmla="*/ 643992 h 6380470"/>
              <a:gd name="connsiteX5641" fmla="*/ 2699081 w 11625583"/>
              <a:gd name="connsiteY5641" fmla="*/ 579326 h 6380470"/>
              <a:gd name="connsiteX5642" fmla="*/ 2546449 w 11625583"/>
              <a:gd name="connsiteY5642" fmla="*/ 579326 h 6380470"/>
              <a:gd name="connsiteX5643" fmla="*/ 2611104 w 11625583"/>
              <a:gd name="connsiteY5643" fmla="*/ 643992 h 6380470"/>
              <a:gd name="connsiteX5644" fmla="*/ 2546449 w 11625583"/>
              <a:gd name="connsiteY5644" fmla="*/ 708658 h 6380470"/>
              <a:gd name="connsiteX5645" fmla="*/ 2481790 w 11625583"/>
              <a:gd name="connsiteY5645" fmla="*/ 643992 h 6380470"/>
              <a:gd name="connsiteX5646" fmla="*/ 2546449 w 11625583"/>
              <a:gd name="connsiteY5646" fmla="*/ 579326 h 6380470"/>
              <a:gd name="connsiteX5647" fmla="*/ 2389866 w 11625583"/>
              <a:gd name="connsiteY5647" fmla="*/ 579326 h 6380470"/>
              <a:gd name="connsiteX5648" fmla="*/ 2454554 w 11625583"/>
              <a:gd name="connsiteY5648" fmla="*/ 643992 h 6380470"/>
              <a:gd name="connsiteX5649" fmla="*/ 2389866 w 11625583"/>
              <a:gd name="connsiteY5649" fmla="*/ 708658 h 6380470"/>
              <a:gd name="connsiteX5650" fmla="*/ 2325215 w 11625583"/>
              <a:gd name="connsiteY5650" fmla="*/ 643992 h 6380470"/>
              <a:gd name="connsiteX5651" fmla="*/ 2389866 w 11625583"/>
              <a:gd name="connsiteY5651" fmla="*/ 579326 h 6380470"/>
              <a:gd name="connsiteX5652" fmla="*/ 2237196 w 11625583"/>
              <a:gd name="connsiteY5652" fmla="*/ 579326 h 6380470"/>
              <a:gd name="connsiteX5653" fmla="*/ 2301879 w 11625583"/>
              <a:gd name="connsiteY5653" fmla="*/ 643992 h 6380470"/>
              <a:gd name="connsiteX5654" fmla="*/ 2237196 w 11625583"/>
              <a:gd name="connsiteY5654" fmla="*/ 708658 h 6380470"/>
              <a:gd name="connsiteX5655" fmla="*/ 2172508 w 11625583"/>
              <a:gd name="connsiteY5655" fmla="*/ 643992 h 6380470"/>
              <a:gd name="connsiteX5656" fmla="*/ 2237196 w 11625583"/>
              <a:gd name="connsiteY5656" fmla="*/ 579326 h 6380470"/>
              <a:gd name="connsiteX5657" fmla="*/ 2084510 w 11625583"/>
              <a:gd name="connsiteY5657" fmla="*/ 579326 h 6380470"/>
              <a:gd name="connsiteX5658" fmla="*/ 2149173 w 11625583"/>
              <a:gd name="connsiteY5658" fmla="*/ 643992 h 6380470"/>
              <a:gd name="connsiteX5659" fmla="*/ 2084510 w 11625583"/>
              <a:gd name="connsiteY5659" fmla="*/ 708658 h 6380470"/>
              <a:gd name="connsiteX5660" fmla="*/ 2019873 w 11625583"/>
              <a:gd name="connsiteY5660" fmla="*/ 643992 h 6380470"/>
              <a:gd name="connsiteX5661" fmla="*/ 2084510 w 11625583"/>
              <a:gd name="connsiteY5661" fmla="*/ 579326 h 6380470"/>
              <a:gd name="connsiteX5662" fmla="*/ 1927912 w 11625583"/>
              <a:gd name="connsiteY5662" fmla="*/ 579326 h 6380470"/>
              <a:gd name="connsiteX5663" fmla="*/ 1992614 w 11625583"/>
              <a:gd name="connsiteY5663" fmla="*/ 643992 h 6380470"/>
              <a:gd name="connsiteX5664" fmla="*/ 1927912 w 11625583"/>
              <a:gd name="connsiteY5664" fmla="*/ 708658 h 6380470"/>
              <a:gd name="connsiteX5665" fmla="*/ 1863289 w 11625583"/>
              <a:gd name="connsiteY5665" fmla="*/ 643992 h 6380470"/>
              <a:gd name="connsiteX5666" fmla="*/ 1927912 w 11625583"/>
              <a:gd name="connsiteY5666" fmla="*/ 579326 h 6380470"/>
              <a:gd name="connsiteX5667" fmla="*/ 1775269 w 11625583"/>
              <a:gd name="connsiteY5667" fmla="*/ 579326 h 6380470"/>
              <a:gd name="connsiteX5668" fmla="*/ 1839963 w 11625583"/>
              <a:gd name="connsiteY5668" fmla="*/ 643992 h 6380470"/>
              <a:gd name="connsiteX5669" fmla="*/ 1775269 w 11625583"/>
              <a:gd name="connsiteY5669" fmla="*/ 708658 h 6380470"/>
              <a:gd name="connsiteX5670" fmla="*/ 1710597 w 11625583"/>
              <a:gd name="connsiteY5670" fmla="*/ 643992 h 6380470"/>
              <a:gd name="connsiteX5671" fmla="*/ 1775269 w 11625583"/>
              <a:gd name="connsiteY5671" fmla="*/ 579326 h 6380470"/>
              <a:gd name="connsiteX5672" fmla="*/ 1618682 w 11625583"/>
              <a:gd name="connsiteY5672" fmla="*/ 579326 h 6380470"/>
              <a:gd name="connsiteX5673" fmla="*/ 1683355 w 11625583"/>
              <a:gd name="connsiteY5673" fmla="*/ 643992 h 6380470"/>
              <a:gd name="connsiteX5674" fmla="*/ 1618682 w 11625583"/>
              <a:gd name="connsiteY5674" fmla="*/ 708658 h 6380470"/>
              <a:gd name="connsiteX5675" fmla="*/ 1554022 w 11625583"/>
              <a:gd name="connsiteY5675" fmla="*/ 643992 h 6380470"/>
              <a:gd name="connsiteX5676" fmla="*/ 1618682 w 11625583"/>
              <a:gd name="connsiteY5676" fmla="*/ 579326 h 6380470"/>
              <a:gd name="connsiteX5677" fmla="*/ 1466025 w 11625583"/>
              <a:gd name="connsiteY5677" fmla="*/ 579326 h 6380470"/>
              <a:gd name="connsiteX5678" fmla="*/ 1530692 w 11625583"/>
              <a:gd name="connsiteY5678" fmla="*/ 643992 h 6380470"/>
              <a:gd name="connsiteX5679" fmla="*/ 1466025 w 11625583"/>
              <a:gd name="connsiteY5679" fmla="*/ 708658 h 6380470"/>
              <a:gd name="connsiteX5680" fmla="*/ 1401363 w 11625583"/>
              <a:gd name="connsiteY5680" fmla="*/ 643992 h 6380470"/>
              <a:gd name="connsiteX5681" fmla="*/ 1466025 w 11625583"/>
              <a:gd name="connsiteY5681" fmla="*/ 579326 h 6380470"/>
              <a:gd name="connsiteX5682" fmla="*/ 1466029 w 11625583"/>
              <a:gd name="connsiteY5682" fmla="*/ 426670 h 6380470"/>
              <a:gd name="connsiteX5683" fmla="*/ 1530694 w 11625583"/>
              <a:gd name="connsiteY5683" fmla="*/ 491334 h 6380470"/>
              <a:gd name="connsiteX5684" fmla="*/ 1466029 w 11625583"/>
              <a:gd name="connsiteY5684" fmla="*/ 555998 h 6380470"/>
              <a:gd name="connsiteX5685" fmla="*/ 1401363 w 11625583"/>
              <a:gd name="connsiteY5685" fmla="*/ 491334 h 6380470"/>
              <a:gd name="connsiteX5686" fmla="*/ 1466029 w 11625583"/>
              <a:gd name="connsiteY5686" fmla="*/ 426670 h 6380470"/>
              <a:gd name="connsiteX5687" fmla="*/ 2855634 w 11625583"/>
              <a:gd name="connsiteY5687" fmla="*/ 426670 h 6380470"/>
              <a:gd name="connsiteX5688" fmla="*/ 2920282 w 11625583"/>
              <a:gd name="connsiteY5688" fmla="*/ 491334 h 6380470"/>
              <a:gd name="connsiteX5689" fmla="*/ 2855634 w 11625583"/>
              <a:gd name="connsiteY5689" fmla="*/ 555997 h 6380470"/>
              <a:gd name="connsiteX5690" fmla="*/ 2790973 w 11625583"/>
              <a:gd name="connsiteY5690" fmla="*/ 491334 h 6380470"/>
              <a:gd name="connsiteX5691" fmla="*/ 2855634 w 11625583"/>
              <a:gd name="connsiteY5691" fmla="*/ 426670 h 6380470"/>
              <a:gd name="connsiteX5692" fmla="*/ 2699084 w 11625583"/>
              <a:gd name="connsiteY5692" fmla="*/ 426670 h 6380470"/>
              <a:gd name="connsiteX5693" fmla="*/ 2763736 w 11625583"/>
              <a:gd name="connsiteY5693" fmla="*/ 491334 h 6380470"/>
              <a:gd name="connsiteX5694" fmla="*/ 2699084 w 11625583"/>
              <a:gd name="connsiteY5694" fmla="*/ 555997 h 6380470"/>
              <a:gd name="connsiteX5695" fmla="*/ 2634429 w 11625583"/>
              <a:gd name="connsiteY5695" fmla="*/ 491334 h 6380470"/>
              <a:gd name="connsiteX5696" fmla="*/ 2699084 w 11625583"/>
              <a:gd name="connsiteY5696" fmla="*/ 426670 h 6380470"/>
              <a:gd name="connsiteX5697" fmla="*/ 2546449 w 11625583"/>
              <a:gd name="connsiteY5697" fmla="*/ 426670 h 6380470"/>
              <a:gd name="connsiteX5698" fmla="*/ 2611108 w 11625583"/>
              <a:gd name="connsiteY5698" fmla="*/ 491334 h 6380470"/>
              <a:gd name="connsiteX5699" fmla="*/ 2546449 w 11625583"/>
              <a:gd name="connsiteY5699" fmla="*/ 555997 h 6380470"/>
              <a:gd name="connsiteX5700" fmla="*/ 2481792 w 11625583"/>
              <a:gd name="connsiteY5700" fmla="*/ 491334 h 6380470"/>
              <a:gd name="connsiteX5701" fmla="*/ 2546449 w 11625583"/>
              <a:gd name="connsiteY5701" fmla="*/ 426670 h 6380470"/>
              <a:gd name="connsiteX5702" fmla="*/ 2389866 w 11625583"/>
              <a:gd name="connsiteY5702" fmla="*/ 426670 h 6380470"/>
              <a:gd name="connsiteX5703" fmla="*/ 2454554 w 11625583"/>
              <a:gd name="connsiteY5703" fmla="*/ 491334 h 6380470"/>
              <a:gd name="connsiteX5704" fmla="*/ 2389866 w 11625583"/>
              <a:gd name="connsiteY5704" fmla="*/ 555997 h 6380470"/>
              <a:gd name="connsiteX5705" fmla="*/ 2325217 w 11625583"/>
              <a:gd name="connsiteY5705" fmla="*/ 491334 h 6380470"/>
              <a:gd name="connsiteX5706" fmla="*/ 2389866 w 11625583"/>
              <a:gd name="connsiteY5706" fmla="*/ 426670 h 6380470"/>
              <a:gd name="connsiteX5707" fmla="*/ 2237196 w 11625583"/>
              <a:gd name="connsiteY5707" fmla="*/ 426670 h 6380470"/>
              <a:gd name="connsiteX5708" fmla="*/ 2301882 w 11625583"/>
              <a:gd name="connsiteY5708" fmla="*/ 491334 h 6380470"/>
              <a:gd name="connsiteX5709" fmla="*/ 2237196 w 11625583"/>
              <a:gd name="connsiteY5709" fmla="*/ 555998 h 6380470"/>
              <a:gd name="connsiteX5710" fmla="*/ 2172511 w 11625583"/>
              <a:gd name="connsiteY5710" fmla="*/ 491334 h 6380470"/>
              <a:gd name="connsiteX5711" fmla="*/ 2237196 w 11625583"/>
              <a:gd name="connsiteY5711" fmla="*/ 426670 h 6380470"/>
              <a:gd name="connsiteX5712" fmla="*/ 2084510 w 11625583"/>
              <a:gd name="connsiteY5712" fmla="*/ 426670 h 6380470"/>
              <a:gd name="connsiteX5713" fmla="*/ 2149176 w 11625583"/>
              <a:gd name="connsiteY5713" fmla="*/ 491334 h 6380470"/>
              <a:gd name="connsiteX5714" fmla="*/ 2084510 w 11625583"/>
              <a:gd name="connsiteY5714" fmla="*/ 555998 h 6380470"/>
              <a:gd name="connsiteX5715" fmla="*/ 2019873 w 11625583"/>
              <a:gd name="connsiteY5715" fmla="*/ 491334 h 6380470"/>
              <a:gd name="connsiteX5716" fmla="*/ 2084510 w 11625583"/>
              <a:gd name="connsiteY5716" fmla="*/ 426670 h 6380470"/>
              <a:gd name="connsiteX5717" fmla="*/ 1927912 w 11625583"/>
              <a:gd name="connsiteY5717" fmla="*/ 426670 h 6380470"/>
              <a:gd name="connsiteX5718" fmla="*/ 1992614 w 11625583"/>
              <a:gd name="connsiteY5718" fmla="*/ 491334 h 6380470"/>
              <a:gd name="connsiteX5719" fmla="*/ 1927912 w 11625583"/>
              <a:gd name="connsiteY5719" fmla="*/ 555998 h 6380470"/>
              <a:gd name="connsiteX5720" fmla="*/ 1863289 w 11625583"/>
              <a:gd name="connsiteY5720" fmla="*/ 491334 h 6380470"/>
              <a:gd name="connsiteX5721" fmla="*/ 1927912 w 11625583"/>
              <a:gd name="connsiteY5721" fmla="*/ 426670 h 6380470"/>
              <a:gd name="connsiteX5722" fmla="*/ 1775269 w 11625583"/>
              <a:gd name="connsiteY5722" fmla="*/ 426670 h 6380470"/>
              <a:gd name="connsiteX5723" fmla="*/ 1839963 w 11625583"/>
              <a:gd name="connsiteY5723" fmla="*/ 491334 h 6380470"/>
              <a:gd name="connsiteX5724" fmla="*/ 1775269 w 11625583"/>
              <a:gd name="connsiteY5724" fmla="*/ 555998 h 6380470"/>
              <a:gd name="connsiteX5725" fmla="*/ 1710597 w 11625583"/>
              <a:gd name="connsiteY5725" fmla="*/ 491334 h 6380470"/>
              <a:gd name="connsiteX5726" fmla="*/ 1775269 w 11625583"/>
              <a:gd name="connsiteY5726" fmla="*/ 426670 h 6380470"/>
              <a:gd name="connsiteX5727" fmla="*/ 1618685 w 11625583"/>
              <a:gd name="connsiteY5727" fmla="*/ 426670 h 6380470"/>
              <a:gd name="connsiteX5728" fmla="*/ 1683355 w 11625583"/>
              <a:gd name="connsiteY5728" fmla="*/ 491334 h 6380470"/>
              <a:gd name="connsiteX5729" fmla="*/ 1618685 w 11625583"/>
              <a:gd name="connsiteY5729" fmla="*/ 555998 h 6380470"/>
              <a:gd name="connsiteX5730" fmla="*/ 1554023 w 11625583"/>
              <a:gd name="connsiteY5730" fmla="*/ 491334 h 6380470"/>
              <a:gd name="connsiteX5731" fmla="*/ 1618685 w 11625583"/>
              <a:gd name="connsiteY5731" fmla="*/ 426670 h 6380470"/>
              <a:gd name="connsiteX5732" fmla="*/ 10312248 w 11625583"/>
              <a:gd name="connsiteY5732" fmla="*/ 426669 h 6380470"/>
              <a:gd name="connsiteX5733" fmla="*/ 10376914 w 11625583"/>
              <a:gd name="connsiteY5733" fmla="*/ 491332 h 6380470"/>
              <a:gd name="connsiteX5734" fmla="*/ 10312248 w 11625583"/>
              <a:gd name="connsiteY5734" fmla="*/ 555997 h 6380470"/>
              <a:gd name="connsiteX5735" fmla="*/ 10247582 w 11625583"/>
              <a:gd name="connsiteY5735" fmla="*/ 491332 h 6380470"/>
              <a:gd name="connsiteX5736" fmla="*/ 10312248 w 11625583"/>
              <a:gd name="connsiteY5736" fmla="*/ 426669 h 6380470"/>
              <a:gd name="connsiteX5737" fmla="*/ 10159588 w 11625583"/>
              <a:gd name="connsiteY5737" fmla="*/ 426669 h 6380470"/>
              <a:gd name="connsiteX5738" fmla="*/ 10224254 w 11625583"/>
              <a:gd name="connsiteY5738" fmla="*/ 491332 h 6380470"/>
              <a:gd name="connsiteX5739" fmla="*/ 10159588 w 11625583"/>
              <a:gd name="connsiteY5739" fmla="*/ 555997 h 6380470"/>
              <a:gd name="connsiteX5740" fmla="*/ 10094922 w 11625583"/>
              <a:gd name="connsiteY5740" fmla="*/ 491332 h 6380470"/>
              <a:gd name="connsiteX5741" fmla="*/ 10159588 w 11625583"/>
              <a:gd name="connsiteY5741" fmla="*/ 426669 h 6380470"/>
              <a:gd name="connsiteX5742" fmla="*/ 10003016 w 11625583"/>
              <a:gd name="connsiteY5742" fmla="*/ 426669 h 6380470"/>
              <a:gd name="connsiteX5743" fmla="*/ 10067682 w 11625583"/>
              <a:gd name="connsiteY5743" fmla="*/ 491332 h 6380470"/>
              <a:gd name="connsiteX5744" fmla="*/ 10003016 w 11625583"/>
              <a:gd name="connsiteY5744" fmla="*/ 555997 h 6380470"/>
              <a:gd name="connsiteX5745" fmla="*/ 9938350 w 11625583"/>
              <a:gd name="connsiteY5745" fmla="*/ 491332 h 6380470"/>
              <a:gd name="connsiteX5746" fmla="*/ 10003016 w 11625583"/>
              <a:gd name="connsiteY5746" fmla="*/ 426669 h 6380470"/>
              <a:gd name="connsiteX5747" fmla="*/ 9075319 w 11625583"/>
              <a:gd name="connsiteY5747" fmla="*/ 426669 h 6380470"/>
              <a:gd name="connsiteX5748" fmla="*/ 9139985 w 11625583"/>
              <a:gd name="connsiteY5748" fmla="*/ 491332 h 6380470"/>
              <a:gd name="connsiteX5749" fmla="*/ 9075319 w 11625583"/>
              <a:gd name="connsiteY5749" fmla="*/ 555997 h 6380470"/>
              <a:gd name="connsiteX5750" fmla="*/ 9010653 w 11625583"/>
              <a:gd name="connsiteY5750" fmla="*/ 491332 h 6380470"/>
              <a:gd name="connsiteX5751" fmla="*/ 9075319 w 11625583"/>
              <a:gd name="connsiteY5751" fmla="*/ 426669 h 6380470"/>
              <a:gd name="connsiteX5752" fmla="*/ 8914831 w 11625583"/>
              <a:gd name="connsiteY5752" fmla="*/ 426669 h 6380470"/>
              <a:gd name="connsiteX5753" fmla="*/ 8979497 w 11625583"/>
              <a:gd name="connsiteY5753" fmla="*/ 491332 h 6380470"/>
              <a:gd name="connsiteX5754" fmla="*/ 8914831 w 11625583"/>
              <a:gd name="connsiteY5754" fmla="*/ 555997 h 6380470"/>
              <a:gd name="connsiteX5755" fmla="*/ 8850165 w 11625583"/>
              <a:gd name="connsiteY5755" fmla="*/ 491332 h 6380470"/>
              <a:gd name="connsiteX5756" fmla="*/ 8914831 w 11625583"/>
              <a:gd name="connsiteY5756" fmla="*/ 426669 h 6380470"/>
              <a:gd name="connsiteX5757" fmla="*/ 8766086 w 11625583"/>
              <a:gd name="connsiteY5757" fmla="*/ 426669 h 6380470"/>
              <a:gd name="connsiteX5758" fmla="*/ 8830752 w 11625583"/>
              <a:gd name="connsiteY5758" fmla="*/ 491332 h 6380470"/>
              <a:gd name="connsiteX5759" fmla="*/ 8766086 w 11625583"/>
              <a:gd name="connsiteY5759" fmla="*/ 555997 h 6380470"/>
              <a:gd name="connsiteX5760" fmla="*/ 8701420 w 11625583"/>
              <a:gd name="connsiteY5760" fmla="*/ 491332 h 6380470"/>
              <a:gd name="connsiteX5761" fmla="*/ 8766086 w 11625583"/>
              <a:gd name="connsiteY5761" fmla="*/ 426669 h 6380470"/>
              <a:gd name="connsiteX5762" fmla="*/ 8601685 w 11625583"/>
              <a:gd name="connsiteY5762" fmla="*/ 426669 h 6380470"/>
              <a:gd name="connsiteX5763" fmla="*/ 8666351 w 11625583"/>
              <a:gd name="connsiteY5763" fmla="*/ 491332 h 6380470"/>
              <a:gd name="connsiteX5764" fmla="*/ 8601685 w 11625583"/>
              <a:gd name="connsiteY5764" fmla="*/ 555997 h 6380470"/>
              <a:gd name="connsiteX5765" fmla="*/ 8537019 w 11625583"/>
              <a:gd name="connsiteY5765" fmla="*/ 491332 h 6380470"/>
              <a:gd name="connsiteX5766" fmla="*/ 8601685 w 11625583"/>
              <a:gd name="connsiteY5766" fmla="*/ 426669 h 6380470"/>
              <a:gd name="connsiteX5767" fmla="*/ 7677904 w 11625583"/>
              <a:gd name="connsiteY5767" fmla="*/ 426669 h 6380470"/>
              <a:gd name="connsiteX5768" fmla="*/ 7742570 w 11625583"/>
              <a:gd name="connsiteY5768" fmla="*/ 491332 h 6380470"/>
              <a:gd name="connsiteX5769" fmla="*/ 7677904 w 11625583"/>
              <a:gd name="connsiteY5769" fmla="*/ 555997 h 6380470"/>
              <a:gd name="connsiteX5770" fmla="*/ 7613238 w 11625583"/>
              <a:gd name="connsiteY5770" fmla="*/ 491332 h 6380470"/>
              <a:gd name="connsiteX5771" fmla="*/ 7677904 w 11625583"/>
              <a:gd name="connsiteY5771" fmla="*/ 426669 h 6380470"/>
              <a:gd name="connsiteX5772" fmla="*/ 7521331 w 11625583"/>
              <a:gd name="connsiteY5772" fmla="*/ 426669 h 6380470"/>
              <a:gd name="connsiteX5773" fmla="*/ 7585997 w 11625583"/>
              <a:gd name="connsiteY5773" fmla="*/ 491332 h 6380470"/>
              <a:gd name="connsiteX5774" fmla="*/ 7521331 w 11625583"/>
              <a:gd name="connsiteY5774" fmla="*/ 555997 h 6380470"/>
              <a:gd name="connsiteX5775" fmla="*/ 7456665 w 11625583"/>
              <a:gd name="connsiteY5775" fmla="*/ 491332 h 6380470"/>
              <a:gd name="connsiteX5776" fmla="*/ 7521331 w 11625583"/>
              <a:gd name="connsiteY5776" fmla="*/ 426669 h 6380470"/>
              <a:gd name="connsiteX5777" fmla="*/ 4722614 w 11625583"/>
              <a:gd name="connsiteY5777" fmla="*/ 426669 h 6380470"/>
              <a:gd name="connsiteX5778" fmla="*/ 4787277 w 11625583"/>
              <a:gd name="connsiteY5778" fmla="*/ 491332 h 6380470"/>
              <a:gd name="connsiteX5779" fmla="*/ 4722614 w 11625583"/>
              <a:gd name="connsiteY5779" fmla="*/ 555997 h 6380470"/>
              <a:gd name="connsiteX5780" fmla="*/ 4657957 w 11625583"/>
              <a:gd name="connsiteY5780" fmla="*/ 491332 h 6380470"/>
              <a:gd name="connsiteX5781" fmla="*/ 4722614 w 11625583"/>
              <a:gd name="connsiteY5781" fmla="*/ 426669 h 6380470"/>
              <a:gd name="connsiteX5782" fmla="*/ 4566030 w 11625583"/>
              <a:gd name="connsiteY5782" fmla="*/ 426669 h 6380470"/>
              <a:gd name="connsiteX5783" fmla="*/ 4630712 w 11625583"/>
              <a:gd name="connsiteY5783" fmla="*/ 491332 h 6380470"/>
              <a:gd name="connsiteX5784" fmla="*/ 4566030 w 11625583"/>
              <a:gd name="connsiteY5784" fmla="*/ 555997 h 6380470"/>
              <a:gd name="connsiteX5785" fmla="*/ 4501345 w 11625583"/>
              <a:gd name="connsiteY5785" fmla="*/ 491332 h 6380470"/>
              <a:gd name="connsiteX5786" fmla="*/ 4566030 w 11625583"/>
              <a:gd name="connsiteY5786" fmla="*/ 426669 h 6380470"/>
              <a:gd name="connsiteX5787" fmla="*/ 4409471 w 11625583"/>
              <a:gd name="connsiteY5787" fmla="*/ 426669 h 6380470"/>
              <a:gd name="connsiteX5788" fmla="*/ 4474113 w 11625583"/>
              <a:gd name="connsiteY5788" fmla="*/ 491332 h 6380470"/>
              <a:gd name="connsiteX5789" fmla="*/ 4409471 w 11625583"/>
              <a:gd name="connsiteY5789" fmla="*/ 555997 h 6380470"/>
              <a:gd name="connsiteX5790" fmla="*/ 4344809 w 11625583"/>
              <a:gd name="connsiteY5790" fmla="*/ 491332 h 6380470"/>
              <a:gd name="connsiteX5791" fmla="*/ 4409471 w 11625583"/>
              <a:gd name="connsiteY5791" fmla="*/ 426669 h 6380470"/>
              <a:gd name="connsiteX5792" fmla="*/ 4256823 w 11625583"/>
              <a:gd name="connsiteY5792" fmla="*/ 426669 h 6380470"/>
              <a:gd name="connsiteX5793" fmla="*/ 4321471 w 11625583"/>
              <a:gd name="connsiteY5793" fmla="*/ 491332 h 6380470"/>
              <a:gd name="connsiteX5794" fmla="*/ 4256823 w 11625583"/>
              <a:gd name="connsiteY5794" fmla="*/ 555997 h 6380470"/>
              <a:gd name="connsiteX5795" fmla="*/ 4192125 w 11625583"/>
              <a:gd name="connsiteY5795" fmla="*/ 491332 h 6380470"/>
              <a:gd name="connsiteX5796" fmla="*/ 4256823 w 11625583"/>
              <a:gd name="connsiteY5796" fmla="*/ 426669 h 6380470"/>
              <a:gd name="connsiteX5797" fmla="*/ 4100255 w 11625583"/>
              <a:gd name="connsiteY5797" fmla="*/ 426669 h 6380470"/>
              <a:gd name="connsiteX5798" fmla="*/ 4164923 w 11625583"/>
              <a:gd name="connsiteY5798" fmla="*/ 491332 h 6380470"/>
              <a:gd name="connsiteX5799" fmla="*/ 4100255 w 11625583"/>
              <a:gd name="connsiteY5799" fmla="*/ 555997 h 6380470"/>
              <a:gd name="connsiteX5800" fmla="*/ 4035594 w 11625583"/>
              <a:gd name="connsiteY5800" fmla="*/ 491332 h 6380470"/>
              <a:gd name="connsiteX5801" fmla="*/ 4100255 w 11625583"/>
              <a:gd name="connsiteY5801" fmla="*/ 426669 h 6380470"/>
              <a:gd name="connsiteX5802" fmla="*/ 3947579 w 11625583"/>
              <a:gd name="connsiteY5802" fmla="*/ 426669 h 6380470"/>
              <a:gd name="connsiteX5803" fmla="*/ 4012257 w 11625583"/>
              <a:gd name="connsiteY5803" fmla="*/ 491332 h 6380470"/>
              <a:gd name="connsiteX5804" fmla="*/ 3947579 w 11625583"/>
              <a:gd name="connsiteY5804" fmla="*/ 555997 h 6380470"/>
              <a:gd name="connsiteX5805" fmla="*/ 3883064 w 11625583"/>
              <a:gd name="connsiteY5805" fmla="*/ 491332 h 6380470"/>
              <a:gd name="connsiteX5806" fmla="*/ 3947579 w 11625583"/>
              <a:gd name="connsiteY5806" fmla="*/ 426669 h 6380470"/>
              <a:gd name="connsiteX5807" fmla="*/ 3791161 w 11625583"/>
              <a:gd name="connsiteY5807" fmla="*/ 426669 h 6380470"/>
              <a:gd name="connsiteX5808" fmla="*/ 3855823 w 11625583"/>
              <a:gd name="connsiteY5808" fmla="*/ 491332 h 6380470"/>
              <a:gd name="connsiteX5809" fmla="*/ 3791161 w 11625583"/>
              <a:gd name="connsiteY5809" fmla="*/ 555997 h 6380470"/>
              <a:gd name="connsiteX5810" fmla="*/ 3726486 w 11625583"/>
              <a:gd name="connsiteY5810" fmla="*/ 491332 h 6380470"/>
              <a:gd name="connsiteX5811" fmla="*/ 3791161 w 11625583"/>
              <a:gd name="connsiteY5811" fmla="*/ 426669 h 6380470"/>
              <a:gd name="connsiteX5812" fmla="*/ 3630671 w 11625583"/>
              <a:gd name="connsiteY5812" fmla="*/ 426669 h 6380470"/>
              <a:gd name="connsiteX5813" fmla="*/ 3695344 w 11625583"/>
              <a:gd name="connsiteY5813" fmla="*/ 491332 h 6380470"/>
              <a:gd name="connsiteX5814" fmla="*/ 3630671 w 11625583"/>
              <a:gd name="connsiteY5814" fmla="*/ 555997 h 6380470"/>
              <a:gd name="connsiteX5815" fmla="*/ 3565990 w 11625583"/>
              <a:gd name="connsiteY5815" fmla="*/ 491332 h 6380470"/>
              <a:gd name="connsiteX5816" fmla="*/ 3630671 w 11625583"/>
              <a:gd name="connsiteY5816" fmla="*/ 426669 h 6380470"/>
              <a:gd name="connsiteX5817" fmla="*/ 3481916 w 11625583"/>
              <a:gd name="connsiteY5817" fmla="*/ 426669 h 6380470"/>
              <a:gd name="connsiteX5818" fmla="*/ 3546591 w 11625583"/>
              <a:gd name="connsiteY5818" fmla="*/ 491332 h 6380470"/>
              <a:gd name="connsiteX5819" fmla="*/ 3481916 w 11625583"/>
              <a:gd name="connsiteY5819" fmla="*/ 555997 h 6380470"/>
              <a:gd name="connsiteX5820" fmla="*/ 3417259 w 11625583"/>
              <a:gd name="connsiteY5820" fmla="*/ 491332 h 6380470"/>
              <a:gd name="connsiteX5821" fmla="*/ 3481916 w 11625583"/>
              <a:gd name="connsiteY5821" fmla="*/ 426669 h 6380470"/>
              <a:gd name="connsiteX5822" fmla="*/ 3321451 w 11625583"/>
              <a:gd name="connsiteY5822" fmla="*/ 426669 h 6380470"/>
              <a:gd name="connsiteX5823" fmla="*/ 3386094 w 11625583"/>
              <a:gd name="connsiteY5823" fmla="*/ 491334 h 6380470"/>
              <a:gd name="connsiteX5824" fmla="*/ 3321451 w 11625583"/>
              <a:gd name="connsiteY5824" fmla="*/ 555997 h 6380470"/>
              <a:gd name="connsiteX5825" fmla="*/ 3256791 w 11625583"/>
              <a:gd name="connsiteY5825" fmla="*/ 491334 h 6380470"/>
              <a:gd name="connsiteX5826" fmla="*/ 3321451 w 11625583"/>
              <a:gd name="connsiteY5826" fmla="*/ 426669 h 6380470"/>
              <a:gd name="connsiteX5827" fmla="*/ 2855634 w 11625583"/>
              <a:gd name="connsiteY5827" fmla="*/ 289662 h 6380470"/>
              <a:gd name="connsiteX5828" fmla="*/ 2920282 w 11625583"/>
              <a:gd name="connsiteY5828" fmla="*/ 354327 h 6380470"/>
              <a:gd name="connsiteX5829" fmla="*/ 2855634 w 11625583"/>
              <a:gd name="connsiteY5829" fmla="*/ 419004 h 6380470"/>
              <a:gd name="connsiteX5830" fmla="*/ 2790973 w 11625583"/>
              <a:gd name="connsiteY5830" fmla="*/ 354327 h 6380470"/>
              <a:gd name="connsiteX5831" fmla="*/ 2855634 w 11625583"/>
              <a:gd name="connsiteY5831" fmla="*/ 289662 h 6380470"/>
              <a:gd name="connsiteX5832" fmla="*/ 2699084 w 11625583"/>
              <a:gd name="connsiteY5832" fmla="*/ 289662 h 6380470"/>
              <a:gd name="connsiteX5833" fmla="*/ 2763736 w 11625583"/>
              <a:gd name="connsiteY5833" fmla="*/ 354327 h 6380470"/>
              <a:gd name="connsiteX5834" fmla="*/ 2699084 w 11625583"/>
              <a:gd name="connsiteY5834" fmla="*/ 419004 h 6380470"/>
              <a:gd name="connsiteX5835" fmla="*/ 2634429 w 11625583"/>
              <a:gd name="connsiteY5835" fmla="*/ 354327 h 6380470"/>
              <a:gd name="connsiteX5836" fmla="*/ 2699084 w 11625583"/>
              <a:gd name="connsiteY5836" fmla="*/ 289662 h 6380470"/>
              <a:gd name="connsiteX5837" fmla="*/ 2546449 w 11625583"/>
              <a:gd name="connsiteY5837" fmla="*/ 289662 h 6380470"/>
              <a:gd name="connsiteX5838" fmla="*/ 2611108 w 11625583"/>
              <a:gd name="connsiteY5838" fmla="*/ 354327 h 6380470"/>
              <a:gd name="connsiteX5839" fmla="*/ 2546449 w 11625583"/>
              <a:gd name="connsiteY5839" fmla="*/ 419004 h 6380470"/>
              <a:gd name="connsiteX5840" fmla="*/ 2481792 w 11625583"/>
              <a:gd name="connsiteY5840" fmla="*/ 354327 h 6380470"/>
              <a:gd name="connsiteX5841" fmla="*/ 2546449 w 11625583"/>
              <a:gd name="connsiteY5841" fmla="*/ 289662 h 6380470"/>
              <a:gd name="connsiteX5842" fmla="*/ 2237196 w 11625583"/>
              <a:gd name="connsiteY5842" fmla="*/ 289662 h 6380470"/>
              <a:gd name="connsiteX5843" fmla="*/ 2301882 w 11625583"/>
              <a:gd name="connsiteY5843" fmla="*/ 354327 h 6380470"/>
              <a:gd name="connsiteX5844" fmla="*/ 2237196 w 11625583"/>
              <a:gd name="connsiteY5844" fmla="*/ 419004 h 6380470"/>
              <a:gd name="connsiteX5845" fmla="*/ 2172511 w 11625583"/>
              <a:gd name="connsiteY5845" fmla="*/ 354327 h 6380470"/>
              <a:gd name="connsiteX5846" fmla="*/ 2237196 w 11625583"/>
              <a:gd name="connsiteY5846" fmla="*/ 289662 h 6380470"/>
              <a:gd name="connsiteX5847" fmla="*/ 2084510 w 11625583"/>
              <a:gd name="connsiteY5847" fmla="*/ 289662 h 6380470"/>
              <a:gd name="connsiteX5848" fmla="*/ 2149176 w 11625583"/>
              <a:gd name="connsiteY5848" fmla="*/ 354327 h 6380470"/>
              <a:gd name="connsiteX5849" fmla="*/ 2084510 w 11625583"/>
              <a:gd name="connsiteY5849" fmla="*/ 419004 h 6380470"/>
              <a:gd name="connsiteX5850" fmla="*/ 2019873 w 11625583"/>
              <a:gd name="connsiteY5850" fmla="*/ 354327 h 6380470"/>
              <a:gd name="connsiteX5851" fmla="*/ 2084510 w 11625583"/>
              <a:gd name="connsiteY5851" fmla="*/ 289662 h 6380470"/>
              <a:gd name="connsiteX5852" fmla="*/ 1927926 w 11625583"/>
              <a:gd name="connsiteY5852" fmla="*/ 289662 h 6380470"/>
              <a:gd name="connsiteX5853" fmla="*/ 1992616 w 11625583"/>
              <a:gd name="connsiteY5853" fmla="*/ 354327 h 6380470"/>
              <a:gd name="connsiteX5854" fmla="*/ 1927926 w 11625583"/>
              <a:gd name="connsiteY5854" fmla="*/ 419004 h 6380470"/>
              <a:gd name="connsiteX5855" fmla="*/ 1863292 w 11625583"/>
              <a:gd name="connsiteY5855" fmla="*/ 354327 h 6380470"/>
              <a:gd name="connsiteX5856" fmla="*/ 1927926 w 11625583"/>
              <a:gd name="connsiteY5856" fmla="*/ 289662 h 6380470"/>
              <a:gd name="connsiteX5857" fmla="*/ 1775272 w 11625583"/>
              <a:gd name="connsiteY5857" fmla="*/ 289662 h 6380470"/>
              <a:gd name="connsiteX5858" fmla="*/ 1839963 w 11625583"/>
              <a:gd name="connsiteY5858" fmla="*/ 354327 h 6380470"/>
              <a:gd name="connsiteX5859" fmla="*/ 1775272 w 11625583"/>
              <a:gd name="connsiteY5859" fmla="*/ 419004 h 6380470"/>
              <a:gd name="connsiteX5860" fmla="*/ 1710600 w 11625583"/>
              <a:gd name="connsiteY5860" fmla="*/ 354327 h 6380470"/>
              <a:gd name="connsiteX5861" fmla="*/ 1775272 w 11625583"/>
              <a:gd name="connsiteY5861" fmla="*/ 289662 h 6380470"/>
              <a:gd name="connsiteX5862" fmla="*/ 1618690 w 11625583"/>
              <a:gd name="connsiteY5862" fmla="*/ 289662 h 6380470"/>
              <a:gd name="connsiteX5863" fmla="*/ 1683360 w 11625583"/>
              <a:gd name="connsiteY5863" fmla="*/ 354327 h 6380470"/>
              <a:gd name="connsiteX5864" fmla="*/ 1618690 w 11625583"/>
              <a:gd name="connsiteY5864" fmla="*/ 419004 h 6380470"/>
              <a:gd name="connsiteX5865" fmla="*/ 1554023 w 11625583"/>
              <a:gd name="connsiteY5865" fmla="*/ 354327 h 6380470"/>
              <a:gd name="connsiteX5866" fmla="*/ 1618690 w 11625583"/>
              <a:gd name="connsiteY5866" fmla="*/ 289662 h 6380470"/>
              <a:gd name="connsiteX5867" fmla="*/ 3791161 w 11625583"/>
              <a:gd name="connsiteY5867" fmla="*/ 289662 h 6380470"/>
              <a:gd name="connsiteX5868" fmla="*/ 3855823 w 11625583"/>
              <a:gd name="connsiteY5868" fmla="*/ 354325 h 6380470"/>
              <a:gd name="connsiteX5869" fmla="*/ 3791161 w 11625583"/>
              <a:gd name="connsiteY5869" fmla="*/ 419003 h 6380470"/>
              <a:gd name="connsiteX5870" fmla="*/ 3726486 w 11625583"/>
              <a:gd name="connsiteY5870" fmla="*/ 354325 h 6380470"/>
              <a:gd name="connsiteX5871" fmla="*/ 3791161 w 11625583"/>
              <a:gd name="connsiteY5871" fmla="*/ 289662 h 6380470"/>
              <a:gd name="connsiteX5872" fmla="*/ 3630675 w 11625583"/>
              <a:gd name="connsiteY5872" fmla="*/ 289662 h 6380470"/>
              <a:gd name="connsiteX5873" fmla="*/ 3695344 w 11625583"/>
              <a:gd name="connsiteY5873" fmla="*/ 354325 h 6380470"/>
              <a:gd name="connsiteX5874" fmla="*/ 3630675 w 11625583"/>
              <a:gd name="connsiteY5874" fmla="*/ 419003 h 6380470"/>
              <a:gd name="connsiteX5875" fmla="*/ 3565992 w 11625583"/>
              <a:gd name="connsiteY5875" fmla="*/ 354325 h 6380470"/>
              <a:gd name="connsiteX5876" fmla="*/ 3630675 w 11625583"/>
              <a:gd name="connsiteY5876" fmla="*/ 289662 h 6380470"/>
              <a:gd name="connsiteX5877" fmla="*/ 3481916 w 11625583"/>
              <a:gd name="connsiteY5877" fmla="*/ 289662 h 6380470"/>
              <a:gd name="connsiteX5878" fmla="*/ 3546591 w 11625583"/>
              <a:gd name="connsiteY5878" fmla="*/ 354325 h 6380470"/>
              <a:gd name="connsiteX5879" fmla="*/ 3481916 w 11625583"/>
              <a:gd name="connsiteY5879" fmla="*/ 419003 h 6380470"/>
              <a:gd name="connsiteX5880" fmla="*/ 3417259 w 11625583"/>
              <a:gd name="connsiteY5880" fmla="*/ 354325 h 6380470"/>
              <a:gd name="connsiteX5881" fmla="*/ 3481916 w 11625583"/>
              <a:gd name="connsiteY5881" fmla="*/ 289662 h 6380470"/>
              <a:gd name="connsiteX5882" fmla="*/ 3321451 w 11625583"/>
              <a:gd name="connsiteY5882" fmla="*/ 289662 h 6380470"/>
              <a:gd name="connsiteX5883" fmla="*/ 3386094 w 11625583"/>
              <a:gd name="connsiteY5883" fmla="*/ 354325 h 6380470"/>
              <a:gd name="connsiteX5884" fmla="*/ 3321451 w 11625583"/>
              <a:gd name="connsiteY5884" fmla="*/ 419003 h 6380470"/>
              <a:gd name="connsiteX5885" fmla="*/ 3256791 w 11625583"/>
              <a:gd name="connsiteY5885" fmla="*/ 354325 h 6380470"/>
              <a:gd name="connsiteX5886" fmla="*/ 3321451 w 11625583"/>
              <a:gd name="connsiteY5886" fmla="*/ 289662 h 6380470"/>
              <a:gd name="connsiteX5887" fmla="*/ 3012178 w 11625583"/>
              <a:gd name="connsiteY5887" fmla="*/ 289662 h 6380470"/>
              <a:gd name="connsiteX5888" fmla="*/ 3076850 w 11625583"/>
              <a:gd name="connsiteY5888" fmla="*/ 354327 h 6380470"/>
              <a:gd name="connsiteX5889" fmla="*/ 3012178 w 11625583"/>
              <a:gd name="connsiteY5889" fmla="*/ 419004 h 6380470"/>
              <a:gd name="connsiteX5890" fmla="*/ 2947522 w 11625583"/>
              <a:gd name="connsiteY5890" fmla="*/ 354327 h 6380470"/>
              <a:gd name="connsiteX5891" fmla="*/ 3012178 w 11625583"/>
              <a:gd name="connsiteY5891" fmla="*/ 289662 h 6380470"/>
              <a:gd name="connsiteX5892" fmla="*/ 4722614 w 11625583"/>
              <a:gd name="connsiteY5892" fmla="*/ 289661 h 6380470"/>
              <a:gd name="connsiteX5893" fmla="*/ 4787277 w 11625583"/>
              <a:gd name="connsiteY5893" fmla="*/ 354325 h 6380470"/>
              <a:gd name="connsiteX5894" fmla="*/ 4722614 w 11625583"/>
              <a:gd name="connsiteY5894" fmla="*/ 419003 h 6380470"/>
              <a:gd name="connsiteX5895" fmla="*/ 4657957 w 11625583"/>
              <a:gd name="connsiteY5895" fmla="*/ 354325 h 6380470"/>
              <a:gd name="connsiteX5896" fmla="*/ 4722614 w 11625583"/>
              <a:gd name="connsiteY5896" fmla="*/ 289661 h 6380470"/>
              <a:gd name="connsiteX5897" fmla="*/ 4566033 w 11625583"/>
              <a:gd name="connsiteY5897" fmla="*/ 289661 h 6380470"/>
              <a:gd name="connsiteX5898" fmla="*/ 4630719 w 11625583"/>
              <a:gd name="connsiteY5898" fmla="*/ 354325 h 6380470"/>
              <a:gd name="connsiteX5899" fmla="*/ 4566033 w 11625583"/>
              <a:gd name="connsiteY5899" fmla="*/ 419003 h 6380470"/>
              <a:gd name="connsiteX5900" fmla="*/ 4501349 w 11625583"/>
              <a:gd name="connsiteY5900" fmla="*/ 354325 h 6380470"/>
              <a:gd name="connsiteX5901" fmla="*/ 4566033 w 11625583"/>
              <a:gd name="connsiteY5901" fmla="*/ 289661 h 6380470"/>
              <a:gd name="connsiteX5902" fmla="*/ 4409471 w 11625583"/>
              <a:gd name="connsiteY5902" fmla="*/ 289661 h 6380470"/>
              <a:gd name="connsiteX5903" fmla="*/ 4474113 w 11625583"/>
              <a:gd name="connsiteY5903" fmla="*/ 354325 h 6380470"/>
              <a:gd name="connsiteX5904" fmla="*/ 4409471 w 11625583"/>
              <a:gd name="connsiteY5904" fmla="*/ 419003 h 6380470"/>
              <a:gd name="connsiteX5905" fmla="*/ 4344809 w 11625583"/>
              <a:gd name="connsiteY5905" fmla="*/ 354325 h 6380470"/>
              <a:gd name="connsiteX5906" fmla="*/ 4409471 w 11625583"/>
              <a:gd name="connsiteY5906" fmla="*/ 289661 h 6380470"/>
              <a:gd name="connsiteX5907" fmla="*/ 4256823 w 11625583"/>
              <a:gd name="connsiteY5907" fmla="*/ 289661 h 6380470"/>
              <a:gd name="connsiteX5908" fmla="*/ 4321471 w 11625583"/>
              <a:gd name="connsiteY5908" fmla="*/ 354325 h 6380470"/>
              <a:gd name="connsiteX5909" fmla="*/ 4256823 w 11625583"/>
              <a:gd name="connsiteY5909" fmla="*/ 419003 h 6380470"/>
              <a:gd name="connsiteX5910" fmla="*/ 4192125 w 11625583"/>
              <a:gd name="connsiteY5910" fmla="*/ 354325 h 6380470"/>
              <a:gd name="connsiteX5911" fmla="*/ 4256823 w 11625583"/>
              <a:gd name="connsiteY5911" fmla="*/ 289661 h 6380470"/>
              <a:gd name="connsiteX5912" fmla="*/ 4100255 w 11625583"/>
              <a:gd name="connsiteY5912" fmla="*/ 289661 h 6380470"/>
              <a:gd name="connsiteX5913" fmla="*/ 4164923 w 11625583"/>
              <a:gd name="connsiteY5913" fmla="*/ 354325 h 6380470"/>
              <a:gd name="connsiteX5914" fmla="*/ 4100255 w 11625583"/>
              <a:gd name="connsiteY5914" fmla="*/ 419003 h 6380470"/>
              <a:gd name="connsiteX5915" fmla="*/ 4035594 w 11625583"/>
              <a:gd name="connsiteY5915" fmla="*/ 354325 h 6380470"/>
              <a:gd name="connsiteX5916" fmla="*/ 4100255 w 11625583"/>
              <a:gd name="connsiteY5916" fmla="*/ 289661 h 6380470"/>
              <a:gd name="connsiteX5917" fmla="*/ 3947579 w 11625583"/>
              <a:gd name="connsiteY5917" fmla="*/ 289661 h 6380470"/>
              <a:gd name="connsiteX5918" fmla="*/ 4012257 w 11625583"/>
              <a:gd name="connsiteY5918" fmla="*/ 354325 h 6380470"/>
              <a:gd name="connsiteX5919" fmla="*/ 3947579 w 11625583"/>
              <a:gd name="connsiteY5919" fmla="*/ 419003 h 6380470"/>
              <a:gd name="connsiteX5920" fmla="*/ 3883069 w 11625583"/>
              <a:gd name="connsiteY5920" fmla="*/ 354325 h 6380470"/>
              <a:gd name="connsiteX5921" fmla="*/ 3947579 w 11625583"/>
              <a:gd name="connsiteY5921" fmla="*/ 289661 h 6380470"/>
              <a:gd name="connsiteX5922" fmla="*/ 8914831 w 11625583"/>
              <a:gd name="connsiteY5922" fmla="*/ 289661 h 6380470"/>
              <a:gd name="connsiteX5923" fmla="*/ 8979497 w 11625583"/>
              <a:gd name="connsiteY5923" fmla="*/ 354325 h 6380470"/>
              <a:gd name="connsiteX5924" fmla="*/ 8914831 w 11625583"/>
              <a:gd name="connsiteY5924" fmla="*/ 419003 h 6380470"/>
              <a:gd name="connsiteX5925" fmla="*/ 8850165 w 11625583"/>
              <a:gd name="connsiteY5925" fmla="*/ 354325 h 6380470"/>
              <a:gd name="connsiteX5926" fmla="*/ 8914831 w 11625583"/>
              <a:gd name="connsiteY5926" fmla="*/ 289661 h 6380470"/>
              <a:gd name="connsiteX5927" fmla="*/ 8766087 w 11625583"/>
              <a:gd name="connsiteY5927" fmla="*/ 289661 h 6380470"/>
              <a:gd name="connsiteX5928" fmla="*/ 8830753 w 11625583"/>
              <a:gd name="connsiteY5928" fmla="*/ 354325 h 6380470"/>
              <a:gd name="connsiteX5929" fmla="*/ 8766087 w 11625583"/>
              <a:gd name="connsiteY5929" fmla="*/ 419003 h 6380470"/>
              <a:gd name="connsiteX5930" fmla="*/ 8701421 w 11625583"/>
              <a:gd name="connsiteY5930" fmla="*/ 354325 h 6380470"/>
              <a:gd name="connsiteX5931" fmla="*/ 8766087 w 11625583"/>
              <a:gd name="connsiteY5931" fmla="*/ 289661 h 6380470"/>
              <a:gd name="connsiteX5932" fmla="*/ 5967339 w 11625583"/>
              <a:gd name="connsiteY5932" fmla="*/ 289661 h 6380470"/>
              <a:gd name="connsiteX5933" fmla="*/ 6032005 w 11625583"/>
              <a:gd name="connsiteY5933" fmla="*/ 354325 h 6380470"/>
              <a:gd name="connsiteX5934" fmla="*/ 5967339 w 11625583"/>
              <a:gd name="connsiteY5934" fmla="*/ 419003 h 6380470"/>
              <a:gd name="connsiteX5935" fmla="*/ 5902673 w 11625583"/>
              <a:gd name="connsiteY5935" fmla="*/ 354325 h 6380470"/>
              <a:gd name="connsiteX5936" fmla="*/ 5967339 w 11625583"/>
              <a:gd name="connsiteY5936" fmla="*/ 289661 h 6380470"/>
              <a:gd name="connsiteX5937" fmla="*/ 2546449 w 11625583"/>
              <a:gd name="connsiteY5937" fmla="*/ 140925 h 6380470"/>
              <a:gd name="connsiteX5938" fmla="*/ 2611108 w 11625583"/>
              <a:gd name="connsiteY5938" fmla="*/ 205590 h 6380470"/>
              <a:gd name="connsiteX5939" fmla="*/ 2546449 w 11625583"/>
              <a:gd name="connsiteY5939" fmla="*/ 270252 h 6380470"/>
              <a:gd name="connsiteX5940" fmla="*/ 2481792 w 11625583"/>
              <a:gd name="connsiteY5940" fmla="*/ 205590 h 6380470"/>
              <a:gd name="connsiteX5941" fmla="*/ 2546449 w 11625583"/>
              <a:gd name="connsiteY5941" fmla="*/ 140925 h 6380470"/>
              <a:gd name="connsiteX5942" fmla="*/ 4100255 w 11625583"/>
              <a:gd name="connsiteY5942" fmla="*/ 140924 h 6380470"/>
              <a:gd name="connsiteX5943" fmla="*/ 4164923 w 11625583"/>
              <a:gd name="connsiteY5943" fmla="*/ 205590 h 6380470"/>
              <a:gd name="connsiteX5944" fmla="*/ 4100255 w 11625583"/>
              <a:gd name="connsiteY5944" fmla="*/ 270252 h 6380470"/>
              <a:gd name="connsiteX5945" fmla="*/ 4035594 w 11625583"/>
              <a:gd name="connsiteY5945" fmla="*/ 205590 h 6380470"/>
              <a:gd name="connsiteX5946" fmla="*/ 4100255 w 11625583"/>
              <a:gd name="connsiteY5946" fmla="*/ 140924 h 6380470"/>
              <a:gd name="connsiteX5947" fmla="*/ 3947579 w 11625583"/>
              <a:gd name="connsiteY5947" fmla="*/ 140924 h 6380470"/>
              <a:gd name="connsiteX5948" fmla="*/ 4012257 w 11625583"/>
              <a:gd name="connsiteY5948" fmla="*/ 205590 h 6380470"/>
              <a:gd name="connsiteX5949" fmla="*/ 3947579 w 11625583"/>
              <a:gd name="connsiteY5949" fmla="*/ 270252 h 6380470"/>
              <a:gd name="connsiteX5950" fmla="*/ 3883072 w 11625583"/>
              <a:gd name="connsiteY5950" fmla="*/ 205590 h 6380470"/>
              <a:gd name="connsiteX5951" fmla="*/ 3947579 w 11625583"/>
              <a:gd name="connsiteY5951" fmla="*/ 140924 h 6380470"/>
              <a:gd name="connsiteX5952" fmla="*/ 3791164 w 11625583"/>
              <a:gd name="connsiteY5952" fmla="*/ 140924 h 6380470"/>
              <a:gd name="connsiteX5953" fmla="*/ 3855828 w 11625583"/>
              <a:gd name="connsiteY5953" fmla="*/ 205590 h 6380470"/>
              <a:gd name="connsiteX5954" fmla="*/ 3791164 w 11625583"/>
              <a:gd name="connsiteY5954" fmla="*/ 270252 h 6380470"/>
              <a:gd name="connsiteX5955" fmla="*/ 3726486 w 11625583"/>
              <a:gd name="connsiteY5955" fmla="*/ 205590 h 6380470"/>
              <a:gd name="connsiteX5956" fmla="*/ 3791164 w 11625583"/>
              <a:gd name="connsiteY5956" fmla="*/ 140924 h 6380470"/>
              <a:gd name="connsiteX5957" fmla="*/ 3630675 w 11625583"/>
              <a:gd name="connsiteY5957" fmla="*/ 140924 h 6380470"/>
              <a:gd name="connsiteX5958" fmla="*/ 3695344 w 11625583"/>
              <a:gd name="connsiteY5958" fmla="*/ 205590 h 6380470"/>
              <a:gd name="connsiteX5959" fmla="*/ 3630675 w 11625583"/>
              <a:gd name="connsiteY5959" fmla="*/ 270252 h 6380470"/>
              <a:gd name="connsiteX5960" fmla="*/ 3565995 w 11625583"/>
              <a:gd name="connsiteY5960" fmla="*/ 205590 h 6380470"/>
              <a:gd name="connsiteX5961" fmla="*/ 3630675 w 11625583"/>
              <a:gd name="connsiteY5961" fmla="*/ 140924 h 6380470"/>
              <a:gd name="connsiteX5962" fmla="*/ 3481918 w 11625583"/>
              <a:gd name="connsiteY5962" fmla="*/ 140924 h 6380470"/>
              <a:gd name="connsiteX5963" fmla="*/ 3546591 w 11625583"/>
              <a:gd name="connsiteY5963" fmla="*/ 205590 h 6380470"/>
              <a:gd name="connsiteX5964" fmla="*/ 3481918 w 11625583"/>
              <a:gd name="connsiteY5964" fmla="*/ 270252 h 6380470"/>
              <a:gd name="connsiteX5965" fmla="*/ 3417264 w 11625583"/>
              <a:gd name="connsiteY5965" fmla="*/ 205590 h 6380470"/>
              <a:gd name="connsiteX5966" fmla="*/ 3481918 w 11625583"/>
              <a:gd name="connsiteY5966" fmla="*/ 140924 h 6380470"/>
              <a:gd name="connsiteX5967" fmla="*/ 3172703 w 11625583"/>
              <a:gd name="connsiteY5967" fmla="*/ 140924 h 6380470"/>
              <a:gd name="connsiteX5968" fmla="*/ 3237377 w 11625583"/>
              <a:gd name="connsiteY5968" fmla="*/ 205590 h 6380470"/>
              <a:gd name="connsiteX5969" fmla="*/ 3172703 w 11625583"/>
              <a:gd name="connsiteY5969" fmla="*/ 270252 h 6380470"/>
              <a:gd name="connsiteX5970" fmla="*/ 3108016 w 11625583"/>
              <a:gd name="connsiteY5970" fmla="*/ 205590 h 6380470"/>
              <a:gd name="connsiteX5971" fmla="*/ 3172703 w 11625583"/>
              <a:gd name="connsiteY5971" fmla="*/ 140924 h 6380470"/>
              <a:gd name="connsiteX5972" fmla="*/ 3012181 w 11625583"/>
              <a:gd name="connsiteY5972" fmla="*/ 140924 h 6380470"/>
              <a:gd name="connsiteX5973" fmla="*/ 3076850 w 11625583"/>
              <a:gd name="connsiteY5973" fmla="*/ 205590 h 6380470"/>
              <a:gd name="connsiteX5974" fmla="*/ 3012181 w 11625583"/>
              <a:gd name="connsiteY5974" fmla="*/ 270252 h 6380470"/>
              <a:gd name="connsiteX5975" fmla="*/ 2947522 w 11625583"/>
              <a:gd name="connsiteY5975" fmla="*/ 205590 h 6380470"/>
              <a:gd name="connsiteX5976" fmla="*/ 3012181 w 11625583"/>
              <a:gd name="connsiteY5976" fmla="*/ 140924 h 6380470"/>
              <a:gd name="connsiteX5977" fmla="*/ 2855634 w 11625583"/>
              <a:gd name="connsiteY5977" fmla="*/ 140924 h 6380470"/>
              <a:gd name="connsiteX5978" fmla="*/ 2920282 w 11625583"/>
              <a:gd name="connsiteY5978" fmla="*/ 205590 h 6380470"/>
              <a:gd name="connsiteX5979" fmla="*/ 2855634 w 11625583"/>
              <a:gd name="connsiteY5979" fmla="*/ 270252 h 6380470"/>
              <a:gd name="connsiteX5980" fmla="*/ 2790973 w 11625583"/>
              <a:gd name="connsiteY5980" fmla="*/ 205590 h 6380470"/>
              <a:gd name="connsiteX5981" fmla="*/ 2855634 w 11625583"/>
              <a:gd name="connsiteY5981" fmla="*/ 140924 h 6380470"/>
              <a:gd name="connsiteX5982" fmla="*/ 2699084 w 11625583"/>
              <a:gd name="connsiteY5982" fmla="*/ 140924 h 6380470"/>
              <a:gd name="connsiteX5983" fmla="*/ 2763737 w 11625583"/>
              <a:gd name="connsiteY5983" fmla="*/ 205590 h 6380470"/>
              <a:gd name="connsiteX5984" fmla="*/ 2699084 w 11625583"/>
              <a:gd name="connsiteY5984" fmla="*/ 270252 h 6380470"/>
              <a:gd name="connsiteX5985" fmla="*/ 2634431 w 11625583"/>
              <a:gd name="connsiteY5985" fmla="*/ 205590 h 6380470"/>
              <a:gd name="connsiteX5986" fmla="*/ 2699084 w 11625583"/>
              <a:gd name="connsiteY5986" fmla="*/ 140924 h 6380470"/>
              <a:gd name="connsiteX5987" fmla="*/ 8601685 w 11625583"/>
              <a:gd name="connsiteY5987" fmla="*/ 140924 h 6380470"/>
              <a:gd name="connsiteX5988" fmla="*/ 8666351 w 11625583"/>
              <a:gd name="connsiteY5988" fmla="*/ 205588 h 6380470"/>
              <a:gd name="connsiteX5989" fmla="*/ 8601685 w 11625583"/>
              <a:gd name="connsiteY5989" fmla="*/ 270252 h 6380470"/>
              <a:gd name="connsiteX5990" fmla="*/ 8537019 w 11625583"/>
              <a:gd name="connsiteY5990" fmla="*/ 205588 h 6380470"/>
              <a:gd name="connsiteX5991" fmla="*/ 8601685 w 11625583"/>
              <a:gd name="connsiteY5991" fmla="*/ 140924 h 6380470"/>
              <a:gd name="connsiteX5992" fmla="*/ 8449026 w 11625583"/>
              <a:gd name="connsiteY5992" fmla="*/ 140924 h 6380470"/>
              <a:gd name="connsiteX5993" fmla="*/ 8513692 w 11625583"/>
              <a:gd name="connsiteY5993" fmla="*/ 205588 h 6380470"/>
              <a:gd name="connsiteX5994" fmla="*/ 8449026 w 11625583"/>
              <a:gd name="connsiteY5994" fmla="*/ 270252 h 6380470"/>
              <a:gd name="connsiteX5995" fmla="*/ 8384360 w 11625583"/>
              <a:gd name="connsiteY5995" fmla="*/ 205588 h 6380470"/>
              <a:gd name="connsiteX5996" fmla="*/ 8449026 w 11625583"/>
              <a:gd name="connsiteY5996" fmla="*/ 140924 h 6380470"/>
              <a:gd name="connsiteX5997" fmla="*/ 6120001 w 11625583"/>
              <a:gd name="connsiteY5997" fmla="*/ 140924 h 6380470"/>
              <a:gd name="connsiteX5998" fmla="*/ 6184667 w 11625583"/>
              <a:gd name="connsiteY5998" fmla="*/ 205588 h 6380470"/>
              <a:gd name="connsiteX5999" fmla="*/ 6120001 w 11625583"/>
              <a:gd name="connsiteY5999" fmla="*/ 270252 h 6380470"/>
              <a:gd name="connsiteX6000" fmla="*/ 6055335 w 11625583"/>
              <a:gd name="connsiteY6000" fmla="*/ 205588 h 6380470"/>
              <a:gd name="connsiteX6001" fmla="*/ 6120001 w 11625583"/>
              <a:gd name="connsiteY6001" fmla="*/ 140924 h 6380470"/>
              <a:gd name="connsiteX6002" fmla="*/ 5967339 w 11625583"/>
              <a:gd name="connsiteY6002" fmla="*/ 140924 h 6380470"/>
              <a:gd name="connsiteX6003" fmla="*/ 6032005 w 11625583"/>
              <a:gd name="connsiteY6003" fmla="*/ 205588 h 6380470"/>
              <a:gd name="connsiteX6004" fmla="*/ 5967339 w 11625583"/>
              <a:gd name="connsiteY6004" fmla="*/ 270252 h 6380470"/>
              <a:gd name="connsiteX6005" fmla="*/ 5902673 w 11625583"/>
              <a:gd name="connsiteY6005" fmla="*/ 205588 h 6380470"/>
              <a:gd name="connsiteX6006" fmla="*/ 5967339 w 11625583"/>
              <a:gd name="connsiteY6006" fmla="*/ 140924 h 6380470"/>
              <a:gd name="connsiteX6007" fmla="*/ 4875265 w 11625583"/>
              <a:gd name="connsiteY6007" fmla="*/ 140924 h 6380470"/>
              <a:gd name="connsiteX6008" fmla="*/ 4939942 w 11625583"/>
              <a:gd name="connsiteY6008" fmla="*/ 205588 h 6380470"/>
              <a:gd name="connsiteX6009" fmla="*/ 4875265 w 11625583"/>
              <a:gd name="connsiteY6009" fmla="*/ 270252 h 6380470"/>
              <a:gd name="connsiteX6010" fmla="*/ 4810599 w 11625583"/>
              <a:gd name="connsiteY6010" fmla="*/ 205588 h 6380470"/>
              <a:gd name="connsiteX6011" fmla="*/ 4875265 w 11625583"/>
              <a:gd name="connsiteY6011" fmla="*/ 140924 h 6380470"/>
              <a:gd name="connsiteX6012" fmla="*/ 4722614 w 11625583"/>
              <a:gd name="connsiteY6012" fmla="*/ 140924 h 6380470"/>
              <a:gd name="connsiteX6013" fmla="*/ 4787277 w 11625583"/>
              <a:gd name="connsiteY6013" fmla="*/ 205588 h 6380470"/>
              <a:gd name="connsiteX6014" fmla="*/ 4722614 w 11625583"/>
              <a:gd name="connsiteY6014" fmla="*/ 270252 h 6380470"/>
              <a:gd name="connsiteX6015" fmla="*/ 4657957 w 11625583"/>
              <a:gd name="connsiteY6015" fmla="*/ 205588 h 6380470"/>
              <a:gd name="connsiteX6016" fmla="*/ 4722614 w 11625583"/>
              <a:gd name="connsiteY6016" fmla="*/ 140924 h 6380470"/>
              <a:gd name="connsiteX6017" fmla="*/ 4566033 w 11625583"/>
              <a:gd name="connsiteY6017" fmla="*/ 140924 h 6380470"/>
              <a:gd name="connsiteX6018" fmla="*/ 4630719 w 11625583"/>
              <a:gd name="connsiteY6018" fmla="*/ 205590 h 6380470"/>
              <a:gd name="connsiteX6019" fmla="*/ 4566033 w 11625583"/>
              <a:gd name="connsiteY6019" fmla="*/ 270252 h 6380470"/>
              <a:gd name="connsiteX6020" fmla="*/ 4501349 w 11625583"/>
              <a:gd name="connsiteY6020" fmla="*/ 205590 h 6380470"/>
              <a:gd name="connsiteX6021" fmla="*/ 4566033 w 11625583"/>
              <a:gd name="connsiteY6021" fmla="*/ 140924 h 6380470"/>
              <a:gd name="connsiteX6022" fmla="*/ 4409471 w 11625583"/>
              <a:gd name="connsiteY6022" fmla="*/ 140924 h 6380470"/>
              <a:gd name="connsiteX6023" fmla="*/ 4474113 w 11625583"/>
              <a:gd name="connsiteY6023" fmla="*/ 205590 h 6380470"/>
              <a:gd name="connsiteX6024" fmla="*/ 4409471 w 11625583"/>
              <a:gd name="connsiteY6024" fmla="*/ 270252 h 6380470"/>
              <a:gd name="connsiteX6025" fmla="*/ 4344809 w 11625583"/>
              <a:gd name="connsiteY6025" fmla="*/ 205590 h 6380470"/>
              <a:gd name="connsiteX6026" fmla="*/ 4409471 w 11625583"/>
              <a:gd name="connsiteY6026" fmla="*/ 140924 h 6380470"/>
              <a:gd name="connsiteX6027" fmla="*/ 4256823 w 11625583"/>
              <a:gd name="connsiteY6027" fmla="*/ 140924 h 6380470"/>
              <a:gd name="connsiteX6028" fmla="*/ 4321471 w 11625583"/>
              <a:gd name="connsiteY6028" fmla="*/ 205590 h 6380470"/>
              <a:gd name="connsiteX6029" fmla="*/ 4256823 w 11625583"/>
              <a:gd name="connsiteY6029" fmla="*/ 270252 h 6380470"/>
              <a:gd name="connsiteX6030" fmla="*/ 4192125 w 11625583"/>
              <a:gd name="connsiteY6030" fmla="*/ 205590 h 6380470"/>
              <a:gd name="connsiteX6031" fmla="*/ 4256823 w 11625583"/>
              <a:gd name="connsiteY6031" fmla="*/ 140924 h 6380470"/>
              <a:gd name="connsiteX6032" fmla="*/ 8766087 w 11625583"/>
              <a:gd name="connsiteY6032" fmla="*/ 140923 h 6380470"/>
              <a:gd name="connsiteX6033" fmla="*/ 8830753 w 11625583"/>
              <a:gd name="connsiteY6033" fmla="*/ 205588 h 6380470"/>
              <a:gd name="connsiteX6034" fmla="*/ 8766087 w 11625583"/>
              <a:gd name="connsiteY6034" fmla="*/ 270252 h 6380470"/>
              <a:gd name="connsiteX6035" fmla="*/ 8701421 w 11625583"/>
              <a:gd name="connsiteY6035" fmla="*/ 205588 h 6380470"/>
              <a:gd name="connsiteX6036" fmla="*/ 8766087 w 11625583"/>
              <a:gd name="connsiteY6036" fmla="*/ 140923 h 6380470"/>
              <a:gd name="connsiteX6037" fmla="*/ 3172703 w 11625583"/>
              <a:gd name="connsiteY6037" fmla="*/ 0 h 6380470"/>
              <a:gd name="connsiteX6038" fmla="*/ 3237377 w 11625583"/>
              <a:gd name="connsiteY6038" fmla="*/ 64665 h 6380470"/>
              <a:gd name="connsiteX6039" fmla="*/ 3172703 w 11625583"/>
              <a:gd name="connsiteY6039" fmla="*/ 129330 h 6380470"/>
              <a:gd name="connsiteX6040" fmla="*/ 3108016 w 11625583"/>
              <a:gd name="connsiteY6040" fmla="*/ 64665 h 6380470"/>
              <a:gd name="connsiteX6041" fmla="*/ 3172703 w 11625583"/>
              <a:gd name="connsiteY6041" fmla="*/ 0 h 6380470"/>
              <a:gd name="connsiteX6042" fmla="*/ 3012181 w 11625583"/>
              <a:gd name="connsiteY6042" fmla="*/ 0 h 6380470"/>
              <a:gd name="connsiteX6043" fmla="*/ 3076850 w 11625583"/>
              <a:gd name="connsiteY6043" fmla="*/ 64665 h 6380470"/>
              <a:gd name="connsiteX6044" fmla="*/ 3012181 w 11625583"/>
              <a:gd name="connsiteY6044" fmla="*/ 129330 h 6380470"/>
              <a:gd name="connsiteX6045" fmla="*/ 2947522 w 11625583"/>
              <a:gd name="connsiteY6045" fmla="*/ 64665 h 6380470"/>
              <a:gd name="connsiteX6046" fmla="*/ 3012181 w 11625583"/>
              <a:gd name="connsiteY6046" fmla="*/ 0 h 6380470"/>
              <a:gd name="connsiteX6047" fmla="*/ 2855634 w 11625583"/>
              <a:gd name="connsiteY6047" fmla="*/ 0 h 6380470"/>
              <a:gd name="connsiteX6048" fmla="*/ 2920282 w 11625583"/>
              <a:gd name="connsiteY6048" fmla="*/ 64665 h 6380470"/>
              <a:gd name="connsiteX6049" fmla="*/ 2855634 w 11625583"/>
              <a:gd name="connsiteY6049" fmla="*/ 129330 h 6380470"/>
              <a:gd name="connsiteX6050" fmla="*/ 2790973 w 11625583"/>
              <a:gd name="connsiteY6050" fmla="*/ 64665 h 6380470"/>
              <a:gd name="connsiteX6051" fmla="*/ 2855634 w 11625583"/>
              <a:gd name="connsiteY6051" fmla="*/ 0 h 6380470"/>
              <a:gd name="connsiteX6052" fmla="*/ 4100255 w 11625583"/>
              <a:gd name="connsiteY6052" fmla="*/ 0 h 6380470"/>
              <a:gd name="connsiteX6053" fmla="*/ 4164923 w 11625583"/>
              <a:gd name="connsiteY6053" fmla="*/ 64665 h 6380470"/>
              <a:gd name="connsiteX6054" fmla="*/ 4100255 w 11625583"/>
              <a:gd name="connsiteY6054" fmla="*/ 129330 h 6380470"/>
              <a:gd name="connsiteX6055" fmla="*/ 4035594 w 11625583"/>
              <a:gd name="connsiteY6055" fmla="*/ 64665 h 6380470"/>
              <a:gd name="connsiteX6056" fmla="*/ 4100255 w 11625583"/>
              <a:gd name="connsiteY6056" fmla="*/ 0 h 6380470"/>
              <a:gd name="connsiteX6057" fmla="*/ 3947579 w 11625583"/>
              <a:gd name="connsiteY6057" fmla="*/ 0 h 6380470"/>
              <a:gd name="connsiteX6058" fmla="*/ 4012257 w 11625583"/>
              <a:gd name="connsiteY6058" fmla="*/ 64665 h 6380470"/>
              <a:gd name="connsiteX6059" fmla="*/ 3947579 w 11625583"/>
              <a:gd name="connsiteY6059" fmla="*/ 129330 h 6380470"/>
              <a:gd name="connsiteX6060" fmla="*/ 3883072 w 11625583"/>
              <a:gd name="connsiteY6060" fmla="*/ 64665 h 6380470"/>
              <a:gd name="connsiteX6061" fmla="*/ 3947579 w 11625583"/>
              <a:gd name="connsiteY6061" fmla="*/ 0 h 6380470"/>
              <a:gd name="connsiteX6062" fmla="*/ 3791164 w 11625583"/>
              <a:gd name="connsiteY6062" fmla="*/ 0 h 6380470"/>
              <a:gd name="connsiteX6063" fmla="*/ 3855828 w 11625583"/>
              <a:gd name="connsiteY6063" fmla="*/ 64665 h 6380470"/>
              <a:gd name="connsiteX6064" fmla="*/ 3791164 w 11625583"/>
              <a:gd name="connsiteY6064" fmla="*/ 129330 h 6380470"/>
              <a:gd name="connsiteX6065" fmla="*/ 3726486 w 11625583"/>
              <a:gd name="connsiteY6065" fmla="*/ 64665 h 6380470"/>
              <a:gd name="connsiteX6066" fmla="*/ 3791164 w 11625583"/>
              <a:gd name="connsiteY6066" fmla="*/ 0 h 6380470"/>
              <a:gd name="connsiteX6067" fmla="*/ 3321453 w 11625583"/>
              <a:gd name="connsiteY6067" fmla="*/ 0 h 6380470"/>
              <a:gd name="connsiteX6068" fmla="*/ 3386097 w 11625583"/>
              <a:gd name="connsiteY6068" fmla="*/ 64665 h 6380470"/>
              <a:gd name="connsiteX6069" fmla="*/ 3321453 w 11625583"/>
              <a:gd name="connsiteY6069" fmla="*/ 129330 h 6380470"/>
              <a:gd name="connsiteX6070" fmla="*/ 3256791 w 11625583"/>
              <a:gd name="connsiteY6070" fmla="*/ 64665 h 6380470"/>
              <a:gd name="connsiteX6071" fmla="*/ 3321453 w 11625583"/>
              <a:gd name="connsiteY6071" fmla="*/ 0 h 6380470"/>
              <a:gd name="connsiteX6072" fmla="*/ 4722614 w 11625583"/>
              <a:gd name="connsiteY6072" fmla="*/ 0 h 6380470"/>
              <a:gd name="connsiteX6073" fmla="*/ 4787277 w 11625583"/>
              <a:gd name="connsiteY6073" fmla="*/ 64665 h 6380470"/>
              <a:gd name="connsiteX6074" fmla="*/ 4722614 w 11625583"/>
              <a:gd name="connsiteY6074" fmla="*/ 129329 h 6380470"/>
              <a:gd name="connsiteX6075" fmla="*/ 4657957 w 11625583"/>
              <a:gd name="connsiteY6075" fmla="*/ 64665 h 6380470"/>
              <a:gd name="connsiteX6076" fmla="*/ 4722614 w 11625583"/>
              <a:gd name="connsiteY6076" fmla="*/ 0 h 6380470"/>
              <a:gd name="connsiteX6077" fmla="*/ 4566033 w 11625583"/>
              <a:gd name="connsiteY6077" fmla="*/ 0 h 6380470"/>
              <a:gd name="connsiteX6078" fmla="*/ 4630719 w 11625583"/>
              <a:gd name="connsiteY6078" fmla="*/ 64665 h 6380470"/>
              <a:gd name="connsiteX6079" fmla="*/ 4566033 w 11625583"/>
              <a:gd name="connsiteY6079" fmla="*/ 129329 h 6380470"/>
              <a:gd name="connsiteX6080" fmla="*/ 4501349 w 11625583"/>
              <a:gd name="connsiteY6080" fmla="*/ 64665 h 6380470"/>
              <a:gd name="connsiteX6081" fmla="*/ 4566033 w 11625583"/>
              <a:gd name="connsiteY6081" fmla="*/ 0 h 6380470"/>
              <a:gd name="connsiteX6082" fmla="*/ 4409471 w 11625583"/>
              <a:gd name="connsiteY6082" fmla="*/ 0 h 6380470"/>
              <a:gd name="connsiteX6083" fmla="*/ 4474113 w 11625583"/>
              <a:gd name="connsiteY6083" fmla="*/ 64665 h 6380470"/>
              <a:gd name="connsiteX6084" fmla="*/ 4409471 w 11625583"/>
              <a:gd name="connsiteY6084" fmla="*/ 129329 h 6380470"/>
              <a:gd name="connsiteX6085" fmla="*/ 4344809 w 11625583"/>
              <a:gd name="connsiteY6085" fmla="*/ 64665 h 6380470"/>
              <a:gd name="connsiteX6086" fmla="*/ 4409471 w 11625583"/>
              <a:gd name="connsiteY6086" fmla="*/ 0 h 6380470"/>
              <a:gd name="connsiteX6087" fmla="*/ 4256823 w 11625583"/>
              <a:gd name="connsiteY6087" fmla="*/ 0 h 6380470"/>
              <a:gd name="connsiteX6088" fmla="*/ 4321471 w 11625583"/>
              <a:gd name="connsiteY6088" fmla="*/ 64665 h 6380470"/>
              <a:gd name="connsiteX6089" fmla="*/ 4256823 w 11625583"/>
              <a:gd name="connsiteY6089" fmla="*/ 129330 h 6380470"/>
              <a:gd name="connsiteX6090" fmla="*/ 4192125 w 11625583"/>
              <a:gd name="connsiteY6090" fmla="*/ 64665 h 6380470"/>
              <a:gd name="connsiteX6091" fmla="*/ 4256823 w 11625583"/>
              <a:gd name="connsiteY6091" fmla="*/ 0 h 6380470"/>
              <a:gd name="connsiteX6092" fmla="*/ 8601685 w 11625583"/>
              <a:gd name="connsiteY6092" fmla="*/ 0 h 6380470"/>
              <a:gd name="connsiteX6093" fmla="*/ 8666351 w 11625583"/>
              <a:gd name="connsiteY6093" fmla="*/ 64665 h 6380470"/>
              <a:gd name="connsiteX6094" fmla="*/ 8601685 w 11625583"/>
              <a:gd name="connsiteY6094" fmla="*/ 129329 h 6380470"/>
              <a:gd name="connsiteX6095" fmla="*/ 8537019 w 11625583"/>
              <a:gd name="connsiteY6095" fmla="*/ 64665 h 6380470"/>
              <a:gd name="connsiteX6096" fmla="*/ 8601685 w 11625583"/>
              <a:gd name="connsiteY6096" fmla="*/ 0 h 6380470"/>
              <a:gd name="connsiteX6097" fmla="*/ 5031854 w 11625583"/>
              <a:gd name="connsiteY6097" fmla="*/ 0 h 6380470"/>
              <a:gd name="connsiteX6098" fmla="*/ 5096512 w 11625583"/>
              <a:gd name="connsiteY6098" fmla="*/ 64665 h 6380470"/>
              <a:gd name="connsiteX6099" fmla="*/ 5031854 w 11625583"/>
              <a:gd name="connsiteY6099" fmla="*/ 129329 h 6380470"/>
              <a:gd name="connsiteX6100" fmla="*/ 4967176 w 11625583"/>
              <a:gd name="connsiteY6100" fmla="*/ 64665 h 6380470"/>
              <a:gd name="connsiteX6101" fmla="*/ 5031854 w 11625583"/>
              <a:gd name="connsiteY6101" fmla="*/ 0 h 6380470"/>
              <a:gd name="connsiteX6102" fmla="*/ 4875265 w 11625583"/>
              <a:gd name="connsiteY6102" fmla="*/ 0 h 6380470"/>
              <a:gd name="connsiteX6103" fmla="*/ 4939942 w 11625583"/>
              <a:gd name="connsiteY6103" fmla="*/ 64665 h 6380470"/>
              <a:gd name="connsiteX6104" fmla="*/ 4875265 w 11625583"/>
              <a:gd name="connsiteY6104" fmla="*/ 129329 h 6380470"/>
              <a:gd name="connsiteX6105" fmla="*/ 4810599 w 11625583"/>
              <a:gd name="connsiteY6105" fmla="*/ 64665 h 6380470"/>
              <a:gd name="connsiteX6106" fmla="*/ 4875265 w 11625583"/>
              <a:gd name="connsiteY6106" fmla="*/ 0 h 6380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Lst>
            <a:rect l="l" t="t" r="r" b="b"/>
            <a:pathLst>
              <a:path w="11625583" h="6380470">
                <a:moveTo>
                  <a:pt x="3172506" y="6251138"/>
                </a:moveTo>
                <a:cubicBezTo>
                  <a:pt x="3208220" y="6251138"/>
                  <a:pt x="3237172" y="6280090"/>
                  <a:pt x="3237172" y="6315804"/>
                </a:cubicBezTo>
                <a:cubicBezTo>
                  <a:pt x="3237172" y="6351518"/>
                  <a:pt x="3208220" y="6380470"/>
                  <a:pt x="3172506" y="6380470"/>
                </a:cubicBezTo>
                <a:cubicBezTo>
                  <a:pt x="3136793" y="6380470"/>
                  <a:pt x="3107840" y="6351518"/>
                  <a:pt x="3107840" y="6315804"/>
                </a:cubicBezTo>
                <a:cubicBezTo>
                  <a:pt x="3107840" y="6280090"/>
                  <a:pt x="3136793" y="6251138"/>
                  <a:pt x="3172506" y="6251138"/>
                </a:cubicBezTo>
                <a:close/>
                <a:moveTo>
                  <a:pt x="3321253" y="6251137"/>
                </a:moveTo>
                <a:cubicBezTo>
                  <a:pt x="3356967" y="6251137"/>
                  <a:pt x="3385919" y="6280089"/>
                  <a:pt x="3385919" y="6315803"/>
                </a:cubicBezTo>
                <a:cubicBezTo>
                  <a:pt x="3385919" y="6351517"/>
                  <a:pt x="3356967" y="6380469"/>
                  <a:pt x="3321253" y="6380469"/>
                </a:cubicBezTo>
                <a:cubicBezTo>
                  <a:pt x="3285539" y="6380469"/>
                  <a:pt x="3256587" y="6351517"/>
                  <a:pt x="3256587" y="6315803"/>
                </a:cubicBezTo>
                <a:cubicBezTo>
                  <a:pt x="3256587" y="6280089"/>
                  <a:pt x="3285539" y="6251137"/>
                  <a:pt x="3321253" y="6251137"/>
                </a:cubicBezTo>
                <a:close/>
                <a:moveTo>
                  <a:pt x="3172507" y="6110222"/>
                </a:moveTo>
                <a:cubicBezTo>
                  <a:pt x="3208221" y="6110222"/>
                  <a:pt x="3237173" y="6139174"/>
                  <a:pt x="3237173" y="6174888"/>
                </a:cubicBezTo>
                <a:cubicBezTo>
                  <a:pt x="3237173" y="6210602"/>
                  <a:pt x="3208221" y="6239554"/>
                  <a:pt x="3172507" y="6239554"/>
                </a:cubicBezTo>
                <a:cubicBezTo>
                  <a:pt x="3136793" y="6239554"/>
                  <a:pt x="3107841" y="6210602"/>
                  <a:pt x="3107841" y="6174888"/>
                </a:cubicBezTo>
                <a:cubicBezTo>
                  <a:pt x="3107841" y="6139174"/>
                  <a:pt x="3136793" y="6110222"/>
                  <a:pt x="3172507" y="6110222"/>
                </a:cubicBezTo>
                <a:close/>
                <a:moveTo>
                  <a:pt x="3172507" y="5965390"/>
                </a:moveTo>
                <a:cubicBezTo>
                  <a:pt x="3208221" y="5965390"/>
                  <a:pt x="3237173" y="5994342"/>
                  <a:pt x="3237173" y="6030056"/>
                </a:cubicBezTo>
                <a:cubicBezTo>
                  <a:pt x="3237173" y="6065770"/>
                  <a:pt x="3208221" y="6094722"/>
                  <a:pt x="3172507" y="6094722"/>
                </a:cubicBezTo>
                <a:cubicBezTo>
                  <a:pt x="3136793" y="6094722"/>
                  <a:pt x="3107841" y="6065770"/>
                  <a:pt x="3107841" y="6030056"/>
                </a:cubicBezTo>
                <a:cubicBezTo>
                  <a:pt x="3107841" y="5994342"/>
                  <a:pt x="3136793" y="5965390"/>
                  <a:pt x="3172507" y="5965390"/>
                </a:cubicBezTo>
                <a:close/>
                <a:moveTo>
                  <a:pt x="3321254" y="5965389"/>
                </a:moveTo>
                <a:cubicBezTo>
                  <a:pt x="3356968" y="5965389"/>
                  <a:pt x="3385920" y="5994341"/>
                  <a:pt x="3385920" y="6030055"/>
                </a:cubicBezTo>
                <a:cubicBezTo>
                  <a:pt x="3385920" y="6065769"/>
                  <a:pt x="3356968" y="6094721"/>
                  <a:pt x="3321254" y="6094721"/>
                </a:cubicBezTo>
                <a:cubicBezTo>
                  <a:pt x="3285540" y="6094721"/>
                  <a:pt x="3256588" y="6065769"/>
                  <a:pt x="3256588" y="6030055"/>
                </a:cubicBezTo>
                <a:cubicBezTo>
                  <a:pt x="3256588" y="5994341"/>
                  <a:pt x="3285540" y="5965389"/>
                  <a:pt x="3321254" y="5965389"/>
                </a:cubicBezTo>
                <a:close/>
                <a:moveTo>
                  <a:pt x="10938540" y="5824473"/>
                </a:moveTo>
                <a:cubicBezTo>
                  <a:pt x="10974254" y="5824473"/>
                  <a:pt x="11003206" y="5853425"/>
                  <a:pt x="11003206" y="5889139"/>
                </a:cubicBezTo>
                <a:cubicBezTo>
                  <a:pt x="11003206" y="5924853"/>
                  <a:pt x="10974254" y="5953805"/>
                  <a:pt x="10938540" y="5953805"/>
                </a:cubicBezTo>
                <a:cubicBezTo>
                  <a:pt x="10902826" y="5953805"/>
                  <a:pt x="10873874" y="5924853"/>
                  <a:pt x="10873874" y="5889139"/>
                </a:cubicBezTo>
                <a:cubicBezTo>
                  <a:pt x="10873874" y="5853425"/>
                  <a:pt x="10902826" y="5824473"/>
                  <a:pt x="10938540" y="5824473"/>
                </a:cubicBezTo>
                <a:close/>
                <a:moveTo>
                  <a:pt x="3321254" y="5824473"/>
                </a:moveTo>
                <a:cubicBezTo>
                  <a:pt x="3356968" y="5824473"/>
                  <a:pt x="3385920" y="5853425"/>
                  <a:pt x="3385920" y="5889139"/>
                </a:cubicBezTo>
                <a:cubicBezTo>
                  <a:pt x="3385920" y="5924853"/>
                  <a:pt x="3356968" y="5953805"/>
                  <a:pt x="3321254" y="5953805"/>
                </a:cubicBezTo>
                <a:cubicBezTo>
                  <a:pt x="3285540" y="5953805"/>
                  <a:pt x="3256588" y="5924853"/>
                  <a:pt x="3256588" y="5889139"/>
                </a:cubicBezTo>
                <a:cubicBezTo>
                  <a:pt x="3256588" y="5853425"/>
                  <a:pt x="3285540" y="5824473"/>
                  <a:pt x="3321254" y="5824473"/>
                </a:cubicBezTo>
                <a:close/>
                <a:moveTo>
                  <a:pt x="3172507" y="5824473"/>
                </a:moveTo>
                <a:cubicBezTo>
                  <a:pt x="3208221" y="5824473"/>
                  <a:pt x="3237174" y="5853425"/>
                  <a:pt x="3237174" y="5889139"/>
                </a:cubicBezTo>
                <a:cubicBezTo>
                  <a:pt x="3237174" y="5924853"/>
                  <a:pt x="3208221" y="5953805"/>
                  <a:pt x="3172507" y="5953805"/>
                </a:cubicBezTo>
                <a:cubicBezTo>
                  <a:pt x="3136793" y="5953805"/>
                  <a:pt x="3107841" y="5924853"/>
                  <a:pt x="3107841" y="5889139"/>
                </a:cubicBezTo>
                <a:cubicBezTo>
                  <a:pt x="3107841" y="5853425"/>
                  <a:pt x="3136793" y="5824473"/>
                  <a:pt x="3172507" y="5824473"/>
                </a:cubicBezTo>
                <a:close/>
                <a:moveTo>
                  <a:pt x="11095113" y="5683557"/>
                </a:moveTo>
                <a:cubicBezTo>
                  <a:pt x="11130827" y="5683557"/>
                  <a:pt x="11159779" y="5712509"/>
                  <a:pt x="11159779" y="5748223"/>
                </a:cubicBezTo>
                <a:cubicBezTo>
                  <a:pt x="11159779" y="5783937"/>
                  <a:pt x="11130827" y="5812889"/>
                  <a:pt x="11095113" y="5812889"/>
                </a:cubicBezTo>
                <a:cubicBezTo>
                  <a:pt x="11059399" y="5812889"/>
                  <a:pt x="11030447" y="5783937"/>
                  <a:pt x="11030447" y="5748223"/>
                </a:cubicBezTo>
                <a:cubicBezTo>
                  <a:pt x="11030447" y="5712509"/>
                  <a:pt x="11059399" y="5683557"/>
                  <a:pt x="11095113" y="5683557"/>
                </a:cubicBezTo>
                <a:close/>
                <a:moveTo>
                  <a:pt x="10312246" y="5683557"/>
                </a:moveTo>
                <a:cubicBezTo>
                  <a:pt x="10347960" y="5683557"/>
                  <a:pt x="10376912" y="5712509"/>
                  <a:pt x="10376912" y="5748223"/>
                </a:cubicBezTo>
                <a:cubicBezTo>
                  <a:pt x="10376912" y="5783937"/>
                  <a:pt x="10347960" y="5812889"/>
                  <a:pt x="10312246" y="5812889"/>
                </a:cubicBezTo>
                <a:cubicBezTo>
                  <a:pt x="10276532" y="5812889"/>
                  <a:pt x="10247580" y="5783937"/>
                  <a:pt x="10247580" y="5748223"/>
                </a:cubicBezTo>
                <a:cubicBezTo>
                  <a:pt x="10247580" y="5712509"/>
                  <a:pt x="10276532" y="5683557"/>
                  <a:pt x="10312246" y="5683557"/>
                </a:cubicBezTo>
                <a:close/>
                <a:moveTo>
                  <a:pt x="3321255" y="5683557"/>
                </a:moveTo>
                <a:cubicBezTo>
                  <a:pt x="3356969" y="5683557"/>
                  <a:pt x="3385921" y="5712509"/>
                  <a:pt x="3385921" y="5748223"/>
                </a:cubicBezTo>
                <a:cubicBezTo>
                  <a:pt x="3385921" y="5783937"/>
                  <a:pt x="3356969" y="5812889"/>
                  <a:pt x="3321255" y="5812889"/>
                </a:cubicBezTo>
                <a:cubicBezTo>
                  <a:pt x="3285541" y="5812889"/>
                  <a:pt x="3256590" y="5783937"/>
                  <a:pt x="3256590" y="5748223"/>
                </a:cubicBezTo>
                <a:cubicBezTo>
                  <a:pt x="3256590" y="5712509"/>
                  <a:pt x="3285541" y="5683557"/>
                  <a:pt x="3321255" y="5683557"/>
                </a:cubicBezTo>
                <a:close/>
                <a:moveTo>
                  <a:pt x="3172508" y="5683557"/>
                </a:moveTo>
                <a:cubicBezTo>
                  <a:pt x="3208222" y="5683557"/>
                  <a:pt x="3237174" y="5712509"/>
                  <a:pt x="3237174" y="5748223"/>
                </a:cubicBezTo>
                <a:cubicBezTo>
                  <a:pt x="3237174" y="5783937"/>
                  <a:pt x="3208222" y="5812889"/>
                  <a:pt x="3172508" y="5812889"/>
                </a:cubicBezTo>
                <a:cubicBezTo>
                  <a:pt x="3136793" y="5812889"/>
                  <a:pt x="3107842" y="5783937"/>
                  <a:pt x="3107842" y="5748223"/>
                </a:cubicBezTo>
                <a:cubicBezTo>
                  <a:pt x="3107842" y="5712509"/>
                  <a:pt x="3136793" y="5683557"/>
                  <a:pt x="3172508" y="5683557"/>
                </a:cubicBezTo>
                <a:close/>
                <a:moveTo>
                  <a:pt x="11251686" y="5538729"/>
                </a:moveTo>
                <a:cubicBezTo>
                  <a:pt x="11287400" y="5538729"/>
                  <a:pt x="11316352" y="5567681"/>
                  <a:pt x="11316352" y="5603395"/>
                </a:cubicBezTo>
                <a:cubicBezTo>
                  <a:pt x="11316352" y="5639109"/>
                  <a:pt x="11287400" y="5668061"/>
                  <a:pt x="11251686" y="5668061"/>
                </a:cubicBezTo>
                <a:cubicBezTo>
                  <a:pt x="11215972" y="5668061"/>
                  <a:pt x="11187020" y="5639109"/>
                  <a:pt x="11187020" y="5603395"/>
                </a:cubicBezTo>
                <a:cubicBezTo>
                  <a:pt x="11187020" y="5567681"/>
                  <a:pt x="11215972" y="5538729"/>
                  <a:pt x="11251686" y="5538729"/>
                </a:cubicBezTo>
                <a:close/>
                <a:moveTo>
                  <a:pt x="3481742" y="5538728"/>
                </a:moveTo>
                <a:cubicBezTo>
                  <a:pt x="3517456" y="5538728"/>
                  <a:pt x="3546408" y="5567680"/>
                  <a:pt x="3546408" y="5603394"/>
                </a:cubicBezTo>
                <a:cubicBezTo>
                  <a:pt x="3546408" y="5639108"/>
                  <a:pt x="3517456" y="5668060"/>
                  <a:pt x="3481742" y="5668060"/>
                </a:cubicBezTo>
                <a:cubicBezTo>
                  <a:pt x="3446028" y="5668060"/>
                  <a:pt x="3417075" y="5639108"/>
                  <a:pt x="3417075" y="5603394"/>
                </a:cubicBezTo>
                <a:cubicBezTo>
                  <a:pt x="3417075" y="5567680"/>
                  <a:pt x="3446028" y="5538728"/>
                  <a:pt x="3481742" y="5538728"/>
                </a:cubicBezTo>
                <a:close/>
                <a:moveTo>
                  <a:pt x="3172511" y="5538728"/>
                </a:moveTo>
                <a:cubicBezTo>
                  <a:pt x="3208225" y="5538728"/>
                  <a:pt x="3237177" y="5567680"/>
                  <a:pt x="3237177" y="5603394"/>
                </a:cubicBezTo>
                <a:cubicBezTo>
                  <a:pt x="3237177" y="5639108"/>
                  <a:pt x="3208225" y="5668060"/>
                  <a:pt x="3172511" y="5668060"/>
                </a:cubicBezTo>
                <a:cubicBezTo>
                  <a:pt x="3136797" y="5668060"/>
                  <a:pt x="3107844" y="5639108"/>
                  <a:pt x="3107844" y="5603394"/>
                </a:cubicBezTo>
                <a:cubicBezTo>
                  <a:pt x="3107844" y="5567680"/>
                  <a:pt x="3136797" y="5538728"/>
                  <a:pt x="3172511" y="5538728"/>
                </a:cubicBezTo>
                <a:close/>
                <a:moveTo>
                  <a:pt x="10312248" y="5538726"/>
                </a:moveTo>
                <a:cubicBezTo>
                  <a:pt x="10347962" y="5538726"/>
                  <a:pt x="10376914" y="5567678"/>
                  <a:pt x="10376914" y="5603392"/>
                </a:cubicBezTo>
                <a:cubicBezTo>
                  <a:pt x="10376914" y="5639106"/>
                  <a:pt x="10347962" y="5668058"/>
                  <a:pt x="10312248" y="5668058"/>
                </a:cubicBezTo>
                <a:cubicBezTo>
                  <a:pt x="10276534" y="5668058"/>
                  <a:pt x="10247582" y="5639106"/>
                  <a:pt x="10247582" y="5603392"/>
                </a:cubicBezTo>
                <a:cubicBezTo>
                  <a:pt x="10247582" y="5567678"/>
                  <a:pt x="10276534" y="5538726"/>
                  <a:pt x="10312248" y="5538726"/>
                </a:cubicBezTo>
                <a:close/>
                <a:moveTo>
                  <a:pt x="10159588" y="5538726"/>
                </a:moveTo>
                <a:cubicBezTo>
                  <a:pt x="10195302" y="5538726"/>
                  <a:pt x="10224254" y="5567678"/>
                  <a:pt x="10224254" y="5603392"/>
                </a:cubicBezTo>
                <a:cubicBezTo>
                  <a:pt x="10224254" y="5639106"/>
                  <a:pt x="10195302" y="5668058"/>
                  <a:pt x="10159588" y="5668058"/>
                </a:cubicBezTo>
                <a:cubicBezTo>
                  <a:pt x="10123874" y="5668058"/>
                  <a:pt x="10094922" y="5639106"/>
                  <a:pt x="10094922" y="5603392"/>
                </a:cubicBezTo>
                <a:cubicBezTo>
                  <a:pt x="10094922" y="5567678"/>
                  <a:pt x="10123874" y="5538726"/>
                  <a:pt x="10159588" y="5538726"/>
                </a:cubicBezTo>
                <a:close/>
                <a:moveTo>
                  <a:pt x="3321256" y="5538726"/>
                </a:moveTo>
                <a:cubicBezTo>
                  <a:pt x="3356970" y="5538726"/>
                  <a:pt x="3385922" y="5567678"/>
                  <a:pt x="3385922" y="5603392"/>
                </a:cubicBezTo>
                <a:cubicBezTo>
                  <a:pt x="3385922" y="5639106"/>
                  <a:pt x="3356970" y="5668058"/>
                  <a:pt x="3321256" y="5668058"/>
                </a:cubicBezTo>
                <a:cubicBezTo>
                  <a:pt x="3285542" y="5668058"/>
                  <a:pt x="3256590" y="5639106"/>
                  <a:pt x="3256590" y="5603392"/>
                </a:cubicBezTo>
                <a:cubicBezTo>
                  <a:pt x="3256590" y="5567678"/>
                  <a:pt x="3285542" y="5538726"/>
                  <a:pt x="3321256" y="5538726"/>
                </a:cubicBezTo>
                <a:close/>
                <a:moveTo>
                  <a:pt x="11251688" y="5401725"/>
                </a:moveTo>
                <a:cubicBezTo>
                  <a:pt x="11287402" y="5401725"/>
                  <a:pt x="11316354" y="5430677"/>
                  <a:pt x="11316354" y="5466391"/>
                </a:cubicBezTo>
                <a:cubicBezTo>
                  <a:pt x="11316354" y="5502105"/>
                  <a:pt x="11287402" y="5531057"/>
                  <a:pt x="11251688" y="5531057"/>
                </a:cubicBezTo>
                <a:cubicBezTo>
                  <a:pt x="11215974" y="5531057"/>
                  <a:pt x="11187022" y="5502105"/>
                  <a:pt x="11187022" y="5466391"/>
                </a:cubicBezTo>
                <a:cubicBezTo>
                  <a:pt x="11187022" y="5430677"/>
                  <a:pt x="11215974" y="5401725"/>
                  <a:pt x="11251688" y="5401725"/>
                </a:cubicBezTo>
                <a:close/>
                <a:moveTo>
                  <a:pt x="10312248" y="5401725"/>
                </a:moveTo>
                <a:cubicBezTo>
                  <a:pt x="10347962" y="5401725"/>
                  <a:pt x="10376914" y="5430677"/>
                  <a:pt x="10376914" y="5466391"/>
                </a:cubicBezTo>
                <a:cubicBezTo>
                  <a:pt x="10376914" y="5502105"/>
                  <a:pt x="10347962" y="5531057"/>
                  <a:pt x="10312248" y="5531057"/>
                </a:cubicBezTo>
                <a:cubicBezTo>
                  <a:pt x="10276534" y="5531057"/>
                  <a:pt x="10247582" y="5502105"/>
                  <a:pt x="10247582" y="5466391"/>
                </a:cubicBezTo>
                <a:cubicBezTo>
                  <a:pt x="10247582" y="5430677"/>
                  <a:pt x="10276534" y="5401725"/>
                  <a:pt x="10312248" y="5401725"/>
                </a:cubicBezTo>
                <a:close/>
                <a:moveTo>
                  <a:pt x="10159588" y="5401725"/>
                </a:moveTo>
                <a:cubicBezTo>
                  <a:pt x="10195302" y="5401725"/>
                  <a:pt x="10224254" y="5430677"/>
                  <a:pt x="10224254" y="5466391"/>
                </a:cubicBezTo>
                <a:cubicBezTo>
                  <a:pt x="10224254" y="5502105"/>
                  <a:pt x="10195302" y="5531057"/>
                  <a:pt x="10159588" y="5531057"/>
                </a:cubicBezTo>
                <a:cubicBezTo>
                  <a:pt x="10123874" y="5531057"/>
                  <a:pt x="10094922" y="5502105"/>
                  <a:pt x="10094922" y="5466391"/>
                </a:cubicBezTo>
                <a:cubicBezTo>
                  <a:pt x="10094922" y="5430677"/>
                  <a:pt x="10123874" y="5401725"/>
                  <a:pt x="10159588" y="5401725"/>
                </a:cubicBezTo>
                <a:close/>
                <a:moveTo>
                  <a:pt x="10003016" y="5401725"/>
                </a:moveTo>
                <a:cubicBezTo>
                  <a:pt x="10038730" y="5401725"/>
                  <a:pt x="10067682" y="5430677"/>
                  <a:pt x="10067682" y="5466391"/>
                </a:cubicBezTo>
                <a:cubicBezTo>
                  <a:pt x="10067682" y="5502105"/>
                  <a:pt x="10038730" y="5531057"/>
                  <a:pt x="10003016" y="5531057"/>
                </a:cubicBezTo>
                <a:cubicBezTo>
                  <a:pt x="9967302" y="5531057"/>
                  <a:pt x="9938350" y="5502105"/>
                  <a:pt x="9938350" y="5466391"/>
                </a:cubicBezTo>
                <a:cubicBezTo>
                  <a:pt x="9938350" y="5430677"/>
                  <a:pt x="9967302" y="5401725"/>
                  <a:pt x="10003016" y="5401725"/>
                </a:cubicBezTo>
                <a:close/>
                <a:moveTo>
                  <a:pt x="6119999" y="5401725"/>
                </a:moveTo>
                <a:cubicBezTo>
                  <a:pt x="6155713" y="5401725"/>
                  <a:pt x="6184665" y="5430677"/>
                  <a:pt x="6184665" y="5466391"/>
                </a:cubicBezTo>
                <a:cubicBezTo>
                  <a:pt x="6184665" y="5502105"/>
                  <a:pt x="6155713" y="5531057"/>
                  <a:pt x="6119999" y="5531057"/>
                </a:cubicBezTo>
                <a:cubicBezTo>
                  <a:pt x="6084285" y="5531057"/>
                  <a:pt x="6055333" y="5502105"/>
                  <a:pt x="6055333" y="5466391"/>
                </a:cubicBezTo>
                <a:cubicBezTo>
                  <a:pt x="6055333" y="5430677"/>
                  <a:pt x="6084285" y="5401725"/>
                  <a:pt x="6119999" y="5401725"/>
                </a:cubicBezTo>
                <a:close/>
                <a:moveTo>
                  <a:pt x="3630488" y="5401725"/>
                </a:moveTo>
                <a:cubicBezTo>
                  <a:pt x="3666202" y="5401725"/>
                  <a:pt x="3695154" y="5430677"/>
                  <a:pt x="3695154" y="5466391"/>
                </a:cubicBezTo>
                <a:cubicBezTo>
                  <a:pt x="3695154" y="5502105"/>
                  <a:pt x="3666202" y="5531057"/>
                  <a:pt x="3630488" y="5531057"/>
                </a:cubicBezTo>
                <a:cubicBezTo>
                  <a:pt x="3594774" y="5531057"/>
                  <a:pt x="3565822" y="5502105"/>
                  <a:pt x="3565822" y="5466391"/>
                </a:cubicBezTo>
                <a:cubicBezTo>
                  <a:pt x="3565822" y="5430677"/>
                  <a:pt x="3594774" y="5401725"/>
                  <a:pt x="3630488" y="5401725"/>
                </a:cubicBezTo>
                <a:close/>
                <a:moveTo>
                  <a:pt x="3481743" y="5401725"/>
                </a:moveTo>
                <a:cubicBezTo>
                  <a:pt x="3517457" y="5401725"/>
                  <a:pt x="3546410" y="5430677"/>
                  <a:pt x="3546410" y="5466391"/>
                </a:cubicBezTo>
                <a:cubicBezTo>
                  <a:pt x="3546410" y="5502105"/>
                  <a:pt x="3517457" y="5531057"/>
                  <a:pt x="3481743" y="5531057"/>
                </a:cubicBezTo>
                <a:cubicBezTo>
                  <a:pt x="3446029" y="5531057"/>
                  <a:pt x="3417077" y="5502105"/>
                  <a:pt x="3417077" y="5466391"/>
                </a:cubicBezTo>
                <a:cubicBezTo>
                  <a:pt x="3417077" y="5430677"/>
                  <a:pt x="3446029" y="5401725"/>
                  <a:pt x="3481743" y="5401725"/>
                </a:cubicBezTo>
                <a:close/>
                <a:moveTo>
                  <a:pt x="3321258" y="5401725"/>
                </a:moveTo>
                <a:cubicBezTo>
                  <a:pt x="3356971" y="5401725"/>
                  <a:pt x="3385924" y="5430677"/>
                  <a:pt x="3385924" y="5466391"/>
                </a:cubicBezTo>
                <a:cubicBezTo>
                  <a:pt x="3385924" y="5502105"/>
                  <a:pt x="3356971" y="5531057"/>
                  <a:pt x="3321258" y="5531057"/>
                </a:cubicBezTo>
                <a:cubicBezTo>
                  <a:pt x="3285544" y="5531057"/>
                  <a:pt x="3256592" y="5502105"/>
                  <a:pt x="3256592" y="5466391"/>
                </a:cubicBezTo>
                <a:cubicBezTo>
                  <a:pt x="3256592" y="5430677"/>
                  <a:pt x="3285544" y="5401725"/>
                  <a:pt x="3321258" y="5401725"/>
                </a:cubicBezTo>
                <a:close/>
                <a:moveTo>
                  <a:pt x="3172512" y="5401725"/>
                </a:moveTo>
                <a:cubicBezTo>
                  <a:pt x="3208226" y="5401725"/>
                  <a:pt x="3237179" y="5430677"/>
                  <a:pt x="3237179" y="5466391"/>
                </a:cubicBezTo>
                <a:cubicBezTo>
                  <a:pt x="3237179" y="5502105"/>
                  <a:pt x="3208226" y="5531057"/>
                  <a:pt x="3172512" y="5531057"/>
                </a:cubicBezTo>
                <a:cubicBezTo>
                  <a:pt x="3136798" y="5531057"/>
                  <a:pt x="3107846" y="5502105"/>
                  <a:pt x="3107846" y="5466391"/>
                </a:cubicBezTo>
                <a:cubicBezTo>
                  <a:pt x="3107846" y="5430677"/>
                  <a:pt x="3136798" y="5401725"/>
                  <a:pt x="3172512" y="5401725"/>
                </a:cubicBezTo>
                <a:close/>
                <a:moveTo>
                  <a:pt x="9850358" y="5256896"/>
                </a:moveTo>
                <a:cubicBezTo>
                  <a:pt x="9886072" y="5256896"/>
                  <a:pt x="9915024" y="5285848"/>
                  <a:pt x="9915024" y="5321562"/>
                </a:cubicBezTo>
                <a:cubicBezTo>
                  <a:pt x="9915024" y="5357276"/>
                  <a:pt x="9886072" y="5386228"/>
                  <a:pt x="9850358" y="5386228"/>
                </a:cubicBezTo>
                <a:cubicBezTo>
                  <a:pt x="9814644" y="5386228"/>
                  <a:pt x="9785692" y="5357276"/>
                  <a:pt x="9785692" y="5321562"/>
                </a:cubicBezTo>
                <a:cubicBezTo>
                  <a:pt x="9785692" y="5285848"/>
                  <a:pt x="9814644" y="5256896"/>
                  <a:pt x="9850358" y="5256896"/>
                </a:cubicBezTo>
                <a:close/>
                <a:moveTo>
                  <a:pt x="9227977" y="5256896"/>
                </a:moveTo>
                <a:cubicBezTo>
                  <a:pt x="9263691" y="5256896"/>
                  <a:pt x="9292643" y="5285848"/>
                  <a:pt x="9292643" y="5321562"/>
                </a:cubicBezTo>
                <a:cubicBezTo>
                  <a:pt x="9292643" y="5357276"/>
                  <a:pt x="9263691" y="5386228"/>
                  <a:pt x="9227977" y="5386228"/>
                </a:cubicBezTo>
                <a:cubicBezTo>
                  <a:pt x="9192263" y="5386228"/>
                  <a:pt x="9163311" y="5357276"/>
                  <a:pt x="9163311" y="5321562"/>
                </a:cubicBezTo>
                <a:cubicBezTo>
                  <a:pt x="9163311" y="5285848"/>
                  <a:pt x="9192263" y="5256896"/>
                  <a:pt x="9227977" y="5256896"/>
                </a:cubicBezTo>
                <a:close/>
                <a:moveTo>
                  <a:pt x="6429231" y="5256896"/>
                </a:moveTo>
                <a:cubicBezTo>
                  <a:pt x="6464945" y="5256896"/>
                  <a:pt x="6493897" y="5285848"/>
                  <a:pt x="6493897" y="5321562"/>
                </a:cubicBezTo>
                <a:cubicBezTo>
                  <a:pt x="6493897" y="5357276"/>
                  <a:pt x="6464945" y="5386228"/>
                  <a:pt x="6429231" y="5386228"/>
                </a:cubicBezTo>
                <a:cubicBezTo>
                  <a:pt x="6393517" y="5386228"/>
                  <a:pt x="6364565" y="5357276"/>
                  <a:pt x="6364565" y="5321562"/>
                </a:cubicBezTo>
                <a:cubicBezTo>
                  <a:pt x="6364565" y="5285848"/>
                  <a:pt x="6393517" y="5256896"/>
                  <a:pt x="6429231" y="5256896"/>
                </a:cubicBezTo>
                <a:close/>
                <a:moveTo>
                  <a:pt x="6276572" y="5256896"/>
                </a:moveTo>
                <a:cubicBezTo>
                  <a:pt x="6312286" y="5256896"/>
                  <a:pt x="6341238" y="5285848"/>
                  <a:pt x="6341238" y="5321562"/>
                </a:cubicBezTo>
                <a:cubicBezTo>
                  <a:pt x="6341238" y="5357276"/>
                  <a:pt x="6312286" y="5386228"/>
                  <a:pt x="6276572" y="5386228"/>
                </a:cubicBezTo>
                <a:cubicBezTo>
                  <a:pt x="6240858" y="5386228"/>
                  <a:pt x="6211906" y="5357276"/>
                  <a:pt x="6211906" y="5321562"/>
                </a:cubicBezTo>
                <a:cubicBezTo>
                  <a:pt x="6211906" y="5285848"/>
                  <a:pt x="6240858" y="5256896"/>
                  <a:pt x="6276572" y="5256896"/>
                </a:cubicBezTo>
                <a:close/>
                <a:moveTo>
                  <a:pt x="3790976" y="5256896"/>
                </a:moveTo>
                <a:cubicBezTo>
                  <a:pt x="3826690" y="5256896"/>
                  <a:pt x="3855643" y="5285848"/>
                  <a:pt x="3855643" y="5321562"/>
                </a:cubicBezTo>
                <a:cubicBezTo>
                  <a:pt x="3855643" y="5357276"/>
                  <a:pt x="3826690" y="5386228"/>
                  <a:pt x="3790976" y="5386228"/>
                </a:cubicBezTo>
                <a:cubicBezTo>
                  <a:pt x="3755262" y="5386228"/>
                  <a:pt x="3726310" y="5357276"/>
                  <a:pt x="3726310" y="5321562"/>
                </a:cubicBezTo>
                <a:cubicBezTo>
                  <a:pt x="3726310" y="5285848"/>
                  <a:pt x="3755262" y="5256896"/>
                  <a:pt x="3790976" y="5256896"/>
                </a:cubicBezTo>
                <a:close/>
                <a:moveTo>
                  <a:pt x="3481745" y="5256896"/>
                </a:moveTo>
                <a:cubicBezTo>
                  <a:pt x="3517459" y="5256896"/>
                  <a:pt x="3546411" y="5285848"/>
                  <a:pt x="3546411" y="5321562"/>
                </a:cubicBezTo>
                <a:cubicBezTo>
                  <a:pt x="3546411" y="5357276"/>
                  <a:pt x="3517459" y="5386228"/>
                  <a:pt x="3481745" y="5386228"/>
                </a:cubicBezTo>
                <a:cubicBezTo>
                  <a:pt x="3446032" y="5386228"/>
                  <a:pt x="3417080" y="5357276"/>
                  <a:pt x="3417080" y="5321562"/>
                </a:cubicBezTo>
                <a:cubicBezTo>
                  <a:pt x="3417080" y="5285848"/>
                  <a:pt x="3446032" y="5256896"/>
                  <a:pt x="3481745" y="5256896"/>
                </a:cubicBezTo>
                <a:close/>
                <a:moveTo>
                  <a:pt x="3172514" y="5256896"/>
                </a:moveTo>
                <a:cubicBezTo>
                  <a:pt x="3208229" y="5256896"/>
                  <a:pt x="3237180" y="5285848"/>
                  <a:pt x="3237180" y="5321562"/>
                </a:cubicBezTo>
                <a:cubicBezTo>
                  <a:pt x="3237180" y="5357276"/>
                  <a:pt x="3208229" y="5386228"/>
                  <a:pt x="3172514" y="5386228"/>
                </a:cubicBezTo>
                <a:cubicBezTo>
                  <a:pt x="3136800" y="5386228"/>
                  <a:pt x="3107847" y="5357276"/>
                  <a:pt x="3107847" y="5321562"/>
                </a:cubicBezTo>
                <a:cubicBezTo>
                  <a:pt x="3107847" y="5285848"/>
                  <a:pt x="3136800" y="5256896"/>
                  <a:pt x="3172514" y="5256896"/>
                </a:cubicBezTo>
                <a:close/>
                <a:moveTo>
                  <a:pt x="10312248" y="5256895"/>
                </a:moveTo>
                <a:cubicBezTo>
                  <a:pt x="10347962" y="5256895"/>
                  <a:pt x="10376914" y="5285847"/>
                  <a:pt x="10376914" y="5321561"/>
                </a:cubicBezTo>
                <a:cubicBezTo>
                  <a:pt x="10376914" y="5357275"/>
                  <a:pt x="10347962" y="5386227"/>
                  <a:pt x="10312248" y="5386227"/>
                </a:cubicBezTo>
                <a:cubicBezTo>
                  <a:pt x="10276534" y="5386227"/>
                  <a:pt x="10247582" y="5357275"/>
                  <a:pt x="10247582" y="5321561"/>
                </a:cubicBezTo>
                <a:cubicBezTo>
                  <a:pt x="10247582" y="5285847"/>
                  <a:pt x="10276534" y="5256895"/>
                  <a:pt x="10312248" y="5256895"/>
                </a:cubicBezTo>
                <a:close/>
                <a:moveTo>
                  <a:pt x="10159588" y="5256895"/>
                </a:moveTo>
                <a:cubicBezTo>
                  <a:pt x="10195302" y="5256895"/>
                  <a:pt x="10224254" y="5285847"/>
                  <a:pt x="10224254" y="5321561"/>
                </a:cubicBezTo>
                <a:cubicBezTo>
                  <a:pt x="10224254" y="5357275"/>
                  <a:pt x="10195302" y="5386227"/>
                  <a:pt x="10159588" y="5386227"/>
                </a:cubicBezTo>
                <a:cubicBezTo>
                  <a:pt x="10123874" y="5386227"/>
                  <a:pt x="10094922" y="5357275"/>
                  <a:pt x="10094922" y="5321561"/>
                </a:cubicBezTo>
                <a:cubicBezTo>
                  <a:pt x="10094922" y="5285847"/>
                  <a:pt x="10123874" y="5256895"/>
                  <a:pt x="10159588" y="5256895"/>
                </a:cubicBezTo>
                <a:close/>
                <a:moveTo>
                  <a:pt x="10003016" y="5256895"/>
                </a:moveTo>
                <a:cubicBezTo>
                  <a:pt x="10038730" y="5256895"/>
                  <a:pt x="10067682" y="5285847"/>
                  <a:pt x="10067682" y="5321561"/>
                </a:cubicBezTo>
                <a:cubicBezTo>
                  <a:pt x="10067682" y="5357275"/>
                  <a:pt x="10038730" y="5386227"/>
                  <a:pt x="10003016" y="5386227"/>
                </a:cubicBezTo>
                <a:cubicBezTo>
                  <a:pt x="9967302" y="5386227"/>
                  <a:pt x="9938350" y="5357275"/>
                  <a:pt x="9938350" y="5321561"/>
                </a:cubicBezTo>
                <a:cubicBezTo>
                  <a:pt x="9938350" y="5285847"/>
                  <a:pt x="9967302" y="5256895"/>
                  <a:pt x="10003016" y="5256895"/>
                </a:cubicBezTo>
                <a:close/>
                <a:moveTo>
                  <a:pt x="9384550" y="5256895"/>
                </a:moveTo>
                <a:cubicBezTo>
                  <a:pt x="9420264" y="5256895"/>
                  <a:pt x="9449216" y="5285847"/>
                  <a:pt x="9449216" y="5321561"/>
                </a:cubicBezTo>
                <a:cubicBezTo>
                  <a:pt x="9449216" y="5357275"/>
                  <a:pt x="9420264" y="5386227"/>
                  <a:pt x="9384550" y="5386227"/>
                </a:cubicBezTo>
                <a:cubicBezTo>
                  <a:pt x="9348836" y="5386227"/>
                  <a:pt x="9319884" y="5357275"/>
                  <a:pt x="9319884" y="5321561"/>
                </a:cubicBezTo>
                <a:cubicBezTo>
                  <a:pt x="9319884" y="5285847"/>
                  <a:pt x="9348836" y="5256895"/>
                  <a:pt x="9384550" y="5256895"/>
                </a:cubicBezTo>
                <a:close/>
                <a:moveTo>
                  <a:pt x="6119999" y="5256895"/>
                </a:moveTo>
                <a:cubicBezTo>
                  <a:pt x="6155713" y="5256895"/>
                  <a:pt x="6184665" y="5285847"/>
                  <a:pt x="6184665" y="5321561"/>
                </a:cubicBezTo>
                <a:cubicBezTo>
                  <a:pt x="6184665" y="5357275"/>
                  <a:pt x="6155713" y="5386227"/>
                  <a:pt x="6119999" y="5386227"/>
                </a:cubicBezTo>
                <a:cubicBezTo>
                  <a:pt x="6084285" y="5386227"/>
                  <a:pt x="6055333" y="5357275"/>
                  <a:pt x="6055333" y="5321561"/>
                </a:cubicBezTo>
                <a:cubicBezTo>
                  <a:pt x="6055333" y="5285847"/>
                  <a:pt x="6084285" y="5256895"/>
                  <a:pt x="6119999" y="5256895"/>
                </a:cubicBezTo>
                <a:close/>
                <a:moveTo>
                  <a:pt x="3630491" y="5256895"/>
                </a:moveTo>
                <a:cubicBezTo>
                  <a:pt x="3666205" y="5256895"/>
                  <a:pt x="3695156" y="5285847"/>
                  <a:pt x="3695156" y="5321561"/>
                </a:cubicBezTo>
                <a:cubicBezTo>
                  <a:pt x="3695156" y="5357275"/>
                  <a:pt x="3666205" y="5386227"/>
                  <a:pt x="3630491" y="5386227"/>
                </a:cubicBezTo>
                <a:cubicBezTo>
                  <a:pt x="3594776" y="5386227"/>
                  <a:pt x="3565825" y="5357275"/>
                  <a:pt x="3565825" y="5321561"/>
                </a:cubicBezTo>
                <a:cubicBezTo>
                  <a:pt x="3565825" y="5285847"/>
                  <a:pt x="3594776" y="5256895"/>
                  <a:pt x="3630491" y="5256895"/>
                </a:cubicBezTo>
                <a:close/>
                <a:moveTo>
                  <a:pt x="3321260" y="5256895"/>
                </a:moveTo>
                <a:cubicBezTo>
                  <a:pt x="3356974" y="5256895"/>
                  <a:pt x="3385925" y="5285847"/>
                  <a:pt x="3385925" y="5321561"/>
                </a:cubicBezTo>
                <a:cubicBezTo>
                  <a:pt x="3385925" y="5357275"/>
                  <a:pt x="3356974" y="5386227"/>
                  <a:pt x="3321260" y="5386227"/>
                </a:cubicBezTo>
                <a:cubicBezTo>
                  <a:pt x="3285546" y="5386227"/>
                  <a:pt x="3256594" y="5357275"/>
                  <a:pt x="3256594" y="5321561"/>
                </a:cubicBezTo>
                <a:cubicBezTo>
                  <a:pt x="3256594" y="5285847"/>
                  <a:pt x="3285546" y="5256895"/>
                  <a:pt x="3321260" y="5256895"/>
                </a:cubicBezTo>
                <a:close/>
                <a:moveTo>
                  <a:pt x="10468821" y="5115980"/>
                </a:moveTo>
                <a:cubicBezTo>
                  <a:pt x="10504535" y="5115980"/>
                  <a:pt x="10533487" y="5144932"/>
                  <a:pt x="10533487" y="5180646"/>
                </a:cubicBezTo>
                <a:cubicBezTo>
                  <a:pt x="10533487" y="5216360"/>
                  <a:pt x="10504535" y="5245312"/>
                  <a:pt x="10468821" y="5245312"/>
                </a:cubicBezTo>
                <a:cubicBezTo>
                  <a:pt x="10433107" y="5245312"/>
                  <a:pt x="10404155" y="5216360"/>
                  <a:pt x="10404155" y="5180646"/>
                </a:cubicBezTo>
                <a:cubicBezTo>
                  <a:pt x="10404155" y="5144932"/>
                  <a:pt x="10433107" y="5115980"/>
                  <a:pt x="10468821" y="5115980"/>
                </a:cubicBezTo>
                <a:close/>
                <a:moveTo>
                  <a:pt x="9850358" y="5115980"/>
                </a:moveTo>
                <a:cubicBezTo>
                  <a:pt x="9886072" y="5115980"/>
                  <a:pt x="9915024" y="5144932"/>
                  <a:pt x="9915024" y="5180646"/>
                </a:cubicBezTo>
                <a:cubicBezTo>
                  <a:pt x="9915024" y="5216360"/>
                  <a:pt x="9886072" y="5245312"/>
                  <a:pt x="9850358" y="5245312"/>
                </a:cubicBezTo>
                <a:cubicBezTo>
                  <a:pt x="9814644" y="5245312"/>
                  <a:pt x="9785692" y="5216360"/>
                  <a:pt x="9785692" y="5180646"/>
                </a:cubicBezTo>
                <a:cubicBezTo>
                  <a:pt x="9785692" y="5144932"/>
                  <a:pt x="9814644" y="5115980"/>
                  <a:pt x="9850358" y="5115980"/>
                </a:cubicBezTo>
                <a:close/>
                <a:moveTo>
                  <a:pt x="9227977" y="5115980"/>
                </a:moveTo>
                <a:cubicBezTo>
                  <a:pt x="9263691" y="5115980"/>
                  <a:pt x="9292643" y="5144932"/>
                  <a:pt x="9292643" y="5180646"/>
                </a:cubicBezTo>
                <a:cubicBezTo>
                  <a:pt x="9292643" y="5216360"/>
                  <a:pt x="9263691" y="5245312"/>
                  <a:pt x="9227977" y="5245312"/>
                </a:cubicBezTo>
                <a:cubicBezTo>
                  <a:pt x="9192263" y="5245312"/>
                  <a:pt x="9163311" y="5216360"/>
                  <a:pt x="9163311" y="5180646"/>
                </a:cubicBezTo>
                <a:cubicBezTo>
                  <a:pt x="9163311" y="5144932"/>
                  <a:pt x="9192263" y="5115980"/>
                  <a:pt x="9227977" y="5115980"/>
                </a:cubicBezTo>
                <a:close/>
                <a:moveTo>
                  <a:pt x="6429231" y="5115980"/>
                </a:moveTo>
                <a:cubicBezTo>
                  <a:pt x="6464945" y="5115980"/>
                  <a:pt x="6493897" y="5144932"/>
                  <a:pt x="6493897" y="5180646"/>
                </a:cubicBezTo>
                <a:cubicBezTo>
                  <a:pt x="6493897" y="5216360"/>
                  <a:pt x="6464945" y="5245312"/>
                  <a:pt x="6429231" y="5245312"/>
                </a:cubicBezTo>
                <a:cubicBezTo>
                  <a:pt x="6393517" y="5245312"/>
                  <a:pt x="6364565" y="5216360"/>
                  <a:pt x="6364565" y="5180646"/>
                </a:cubicBezTo>
                <a:cubicBezTo>
                  <a:pt x="6364565" y="5144932"/>
                  <a:pt x="6393517" y="5115980"/>
                  <a:pt x="6429231" y="5115980"/>
                </a:cubicBezTo>
                <a:close/>
                <a:moveTo>
                  <a:pt x="6276572" y="5115980"/>
                </a:moveTo>
                <a:cubicBezTo>
                  <a:pt x="6312286" y="5115980"/>
                  <a:pt x="6341238" y="5144932"/>
                  <a:pt x="6341238" y="5180646"/>
                </a:cubicBezTo>
                <a:cubicBezTo>
                  <a:pt x="6341238" y="5216360"/>
                  <a:pt x="6312286" y="5245312"/>
                  <a:pt x="6276572" y="5245312"/>
                </a:cubicBezTo>
                <a:cubicBezTo>
                  <a:pt x="6240858" y="5245312"/>
                  <a:pt x="6211906" y="5216360"/>
                  <a:pt x="6211906" y="5180646"/>
                </a:cubicBezTo>
                <a:cubicBezTo>
                  <a:pt x="6211906" y="5144932"/>
                  <a:pt x="6240858" y="5115980"/>
                  <a:pt x="6276572" y="5115980"/>
                </a:cubicBezTo>
                <a:close/>
                <a:moveTo>
                  <a:pt x="5967339" y="5115980"/>
                </a:moveTo>
                <a:cubicBezTo>
                  <a:pt x="6003053" y="5115980"/>
                  <a:pt x="6032005" y="5144932"/>
                  <a:pt x="6032005" y="5180646"/>
                </a:cubicBezTo>
                <a:cubicBezTo>
                  <a:pt x="6032005" y="5216360"/>
                  <a:pt x="6003053" y="5245312"/>
                  <a:pt x="5967339" y="5245312"/>
                </a:cubicBezTo>
                <a:cubicBezTo>
                  <a:pt x="5931625" y="5245312"/>
                  <a:pt x="5902673" y="5216360"/>
                  <a:pt x="5902673" y="5180646"/>
                </a:cubicBezTo>
                <a:cubicBezTo>
                  <a:pt x="5902673" y="5144932"/>
                  <a:pt x="5931625" y="5115980"/>
                  <a:pt x="5967339" y="5115980"/>
                </a:cubicBezTo>
                <a:close/>
                <a:moveTo>
                  <a:pt x="3790979" y="5115980"/>
                </a:moveTo>
                <a:cubicBezTo>
                  <a:pt x="3826693" y="5115980"/>
                  <a:pt x="3855646" y="5144932"/>
                  <a:pt x="3855646" y="5180646"/>
                </a:cubicBezTo>
                <a:cubicBezTo>
                  <a:pt x="3855646" y="5216360"/>
                  <a:pt x="3826693" y="5245312"/>
                  <a:pt x="3790979" y="5245312"/>
                </a:cubicBezTo>
                <a:cubicBezTo>
                  <a:pt x="3755264" y="5245312"/>
                  <a:pt x="3726312" y="5216360"/>
                  <a:pt x="3726312" y="5180646"/>
                </a:cubicBezTo>
                <a:cubicBezTo>
                  <a:pt x="3726312" y="5144932"/>
                  <a:pt x="3755264" y="5115980"/>
                  <a:pt x="3790979" y="5115980"/>
                </a:cubicBezTo>
                <a:close/>
                <a:moveTo>
                  <a:pt x="3481748" y="5115980"/>
                </a:moveTo>
                <a:cubicBezTo>
                  <a:pt x="3517461" y="5115980"/>
                  <a:pt x="3546415" y="5144932"/>
                  <a:pt x="3546415" y="5180646"/>
                </a:cubicBezTo>
                <a:cubicBezTo>
                  <a:pt x="3546415" y="5216360"/>
                  <a:pt x="3517461" y="5245312"/>
                  <a:pt x="3481748" y="5245312"/>
                </a:cubicBezTo>
                <a:cubicBezTo>
                  <a:pt x="3446034" y="5245312"/>
                  <a:pt x="3417082" y="5216360"/>
                  <a:pt x="3417082" y="5180646"/>
                </a:cubicBezTo>
                <a:cubicBezTo>
                  <a:pt x="3417082" y="5144932"/>
                  <a:pt x="3446034" y="5115980"/>
                  <a:pt x="3481748" y="5115980"/>
                </a:cubicBezTo>
                <a:close/>
                <a:moveTo>
                  <a:pt x="3172518" y="5115980"/>
                </a:moveTo>
                <a:cubicBezTo>
                  <a:pt x="3208232" y="5115980"/>
                  <a:pt x="3237185" y="5144932"/>
                  <a:pt x="3237185" y="5180646"/>
                </a:cubicBezTo>
                <a:cubicBezTo>
                  <a:pt x="3237185" y="5216360"/>
                  <a:pt x="3208232" y="5245312"/>
                  <a:pt x="3172518" y="5245312"/>
                </a:cubicBezTo>
                <a:cubicBezTo>
                  <a:pt x="3136803" y="5245312"/>
                  <a:pt x="3107851" y="5216360"/>
                  <a:pt x="3107851" y="5180646"/>
                </a:cubicBezTo>
                <a:cubicBezTo>
                  <a:pt x="3107851" y="5144932"/>
                  <a:pt x="3136803" y="5115980"/>
                  <a:pt x="3172518" y="5115980"/>
                </a:cubicBezTo>
                <a:close/>
                <a:moveTo>
                  <a:pt x="10312248" y="5115979"/>
                </a:moveTo>
                <a:cubicBezTo>
                  <a:pt x="10347962" y="5115979"/>
                  <a:pt x="10376914" y="5144931"/>
                  <a:pt x="10376914" y="5180645"/>
                </a:cubicBezTo>
                <a:cubicBezTo>
                  <a:pt x="10376914" y="5216359"/>
                  <a:pt x="10347962" y="5245311"/>
                  <a:pt x="10312248" y="5245311"/>
                </a:cubicBezTo>
                <a:cubicBezTo>
                  <a:pt x="10276534" y="5245311"/>
                  <a:pt x="10247582" y="5216359"/>
                  <a:pt x="10247582" y="5180645"/>
                </a:cubicBezTo>
                <a:cubicBezTo>
                  <a:pt x="10247582" y="5144931"/>
                  <a:pt x="10276534" y="5115979"/>
                  <a:pt x="10312248" y="5115979"/>
                </a:cubicBezTo>
                <a:close/>
                <a:moveTo>
                  <a:pt x="10159588" y="5115979"/>
                </a:moveTo>
                <a:cubicBezTo>
                  <a:pt x="10195302" y="5115979"/>
                  <a:pt x="10224254" y="5144931"/>
                  <a:pt x="10224254" y="5180645"/>
                </a:cubicBezTo>
                <a:cubicBezTo>
                  <a:pt x="10224254" y="5216359"/>
                  <a:pt x="10195302" y="5245311"/>
                  <a:pt x="10159588" y="5245311"/>
                </a:cubicBezTo>
                <a:cubicBezTo>
                  <a:pt x="10123874" y="5245311"/>
                  <a:pt x="10094922" y="5216359"/>
                  <a:pt x="10094922" y="5180645"/>
                </a:cubicBezTo>
                <a:cubicBezTo>
                  <a:pt x="10094922" y="5144931"/>
                  <a:pt x="10123874" y="5115979"/>
                  <a:pt x="10159588" y="5115979"/>
                </a:cubicBezTo>
                <a:close/>
                <a:moveTo>
                  <a:pt x="10003016" y="5115979"/>
                </a:moveTo>
                <a:cubicBezTo>
                  <a:pt x="10038730" y="5115979"/>
                  <a:pt x="10067682" y="5144931"/>
                  <a:pt x="10067682" y="5180645"/>
                </a:cubicBezTo>
                <a:cubicBezTo>
                  <a:pt x="10067682" y="5216359"/>
                  <a:pt x="10038730" y="5245311"/>
                  <a:pt x="10003016" y="5245311"/>
                </a:cubicBezTo>
                <a:cubicBezTo>
                  <a:pt x="9967302" y="5245311"/>
                  <a:pt x="9938350" y="5216359"/>
                  <a:pt x="9938350" y="5180645"/>
                </a:cubicBezTo>
                <a:cubicBezTo>
                  <a:pt x="9938350" y="5144931"/>
                  <a:pt x="9967302" y="5115979"/>
                  <a:pt x="10003016" y="5115979"/>
                </a:cubicBezTo>
                <a:close/>
                <a:moveTo>
                  <a:pt x="9693783" y="5115979"/>
                </a:moveTo>
                <a:cubicBezTo>
                  <a:pt x="9729497" y="5115979"/>
                  <a:pt x="9758449" y="5144931"/>
                  <a:pt x="9758449" y="5180645"/>
                </a:cubicBezTo>
                <a:cubicBezTo>
                  <a:pt x="9758449" y="5216359"/>
                  <a:pt x="9729497" y="5245311"/>
                  <a:pt x="9693783" y="5245311"/>
                </a:cubicBezTo>
                <a:cubicBezTo>
                  <a:pt x="9658069" y="5245311"/>
                  <a:pt x="9629117" y="5216359"/>
                  <a:pt x="9629117" y="5180645"/>
                </a:cubicBezTo>
                <a:cubicBezTo>
                  <a:pt x="9629117" y="5144931"/>
                  <a:pt x="9658069" y="5115979"/>
                  <a:pt x="9693783" y="5115979"/>
                </a:cubicBezTo>
                <a:close/>
                <a:moveTo>
                  <a:pt x="9541125" y="5115979"/>
                </a:moveTo>
                <a:cubicBezTo>
                  <a:pt x="9576839" y="5115979"/>
                  <a:pt x="9605791" y="5144931"/>
                  <a:pt x="9605791" y="5180645"/>
                </a:cubicBezTo>
                <a:cubicBezTo>
                  <a:pt x="9605791" y="5216359"/>
                  <a:pt x="9576839" y="5245311"/>
                  <a:pt x="9541125" y="5245311"/>
                </a:cubicBezTo>
                <a:cubicBezTo>
                  <a:pt x="9505411" y="5245311"/>
                  <a:pt x="9476459" y="5216359"/>
                  <a:pt x="9476459" y="5180645"/>
                </a:cubicBezTo>
                <a:cubicBezTo>
                  <a:pt x="9476459" y="5144931"/>
                  <a:pt x="9505411" y="5115979"/>
                  <a:pt x="9541125" y="5115979"/>
                </a:cubicBezTo>
                <a:close/>
                <a:moveTo>
                  <a:pt x="9384550" y="5115979"/>
                </a:moveTo>
                <a:cubicBezTo>
                  <a:pt x="9420264" y="5115979"/>
                  <a:pt x="9449216" y="5144931"/>
                  <a:pt x="9449216" y="5180645"/>
                </a:cubicBezTo>
                <a:cubicBezTo>
                  <a:pt x="9449216" y="5216359"/>
                  <a:pt x="9420264" y="5245311"/>
                  <a:pt x="9384550" y="5245311"/>
                </a:cubicBezTo>
                <a:cubicBezTo>
                  <a:pt x="9348836" y="5245311"/>
                  <a:pt x="9319884" y="5216359"/>
                  <a:pt x="9319884" y="5180645"/>
                </a:cubicBezTo>
                <a:cubicBezTo>
                  <a:pt x="9319884" y="5144931"/>
                  <a:pt x="9348836" y="5115979"/>
                  <a:pt x="9384550" y="5115979"/>
                </a:cubicBezTo>
                <a:close/>
                <a:moveTo>
                  <a:pt x="6119999" y="5115979"/>
                </a:moveTo>
                <a:cubicBezTo>
                  <a:pt x="6155713" y="5115979"/>
                  <a:pt x="6184665" y="5144931"/>
                  <a:pt x="6184665" y="5180645"/>
                </a:cubicBezTo>
                <a:cubicBezTo>
                  <a:pt x="6184665" y="5216359"/>
                  <a:pt x="6155713" y="5245311"/>
                  <a:pt x="6119999" y="5245311"/>
                </a:cubicBezTo>
                <a:cubicBezTo>
                  <a:pt x="6084285" y="5245311"/>
                  <a:pt x="6055333" y="5216359"/>
                  <a:pt x="6055333" y="5180645"/>
                </a:cubicBezTo>
                <a:cubicBezTo>
                  <a:pt x="6055333" y="5144931"/>
                  <a:pt x="6084285" y="5115979"/>
                  <a:pt x="6119999" y="5115979"/>
                </a:cubicBezTo>
                <a:close/>
                <a:moveTo>
                  <a:pt x="3630493" y="5115979"/>
                </a:moveTo>
                <a:cubicBezTo>
                  <a:pt x="3666207" y="5115979"/>
                  <a:pt x="3695158" y="5144931"/>
                  <a:pt x="3695158" y="5180645"/>
                </a:cubicBezTo>
                <a:cubicBezTo>
                  <a:pt x="3695158" y="5216359"/>
                  <a:pt x="3666207" y="5245311"/>
                  <a:pt x="3630493" y="5245311"/>
                </a:cubicBezTo>
                <a:cubicBezTo>
                  <a:pt x="3594778" y="5245311"/>
                  <a:pt x="3565827" y="5216359"/>
                  <a:pt x="3565827" y="5180645"/>
                </a:cubicBezTo>
                <a:cubicBezTo>
                  <a:pt x="3565827" y="5144931"/>
                  <a:pt x="3594778" y="5115979"/>
                  <a:pt x="3630493" y="5115979"/>
                </a:cubicBezTo>
                <a:close/>
                <a:moveTo>
                  <a:pt x="3321262" y="5115979"/>
                </a:moveTo>
                <a:cubicBezTo>
                  <a:pt x="3356978" y="5115979"/>
                  <a:pt x="3385929" y="5144931"/>
                  <a:pt x="3385929" y="5180645"/>
                </a:cubicBezTo>
                <a:cubicBezTo>
                  <a:pt x="3385929" y="5216359"/>
                  <a:pt x="3356978" y="5245311"/>
                  <a:pt x="3321262" y="5245311"/>
                </a:cubicBezTo>
                <a:cubicBezTo>
                  <a:pt x="3285549" y="5245311"/>
                  <a:pt x="3256596" y="5216359"/>
                  <a:pt x="3256596" y="5180645"/>
                </a:cubicBezTo>
                <a:cubicBezTo>
                  <a:pt x="3256596" y="5144931"/>
                  <a:pt x="3285549" y="5115979"/>
                  <a:pt x="3321262" y="5115979"/>
                </a:cubicBezTo>
                <a:close/>
                <a:moveTo>
                  <a:pt x="10468821" y="4975063"/>
                </a:moveTo>
                <a:cubicBezTo>
                  <a:pt x="10504535" y="4975063"/>
                  <a:pt x="10533487" y="5004015"/>
                  <a:pt x="10533487" y="5039729"/>
                </a:cubicBezTo>
                <a:cubicBezTo>
                  <a:pt x="10533487" y="5075443"/>
                  <a:pt x="10504535" y="5104395"/>
                  <a:pt x="10468821" y="5104395"/>
                </a:cubicBezTo>
                <a:cubicBezTo>
                  <a:pt x="10433107" y="5104395"/>
                  <a:pt x="10404155" y="5075443"/>
                  <a:pt x="10404155" y="5039729"/>
                </a:cubicBezTo>
                <a:cubicBezTo>
                  <a:pt x="10404155" y="5004015"/>
                  <a:pt x="10433107" y="4975063"/>
                  <a:pt x="10468821" y="4975063"/>
                </a:cubicBezTo>
                <a:close/>
                <a:moveTo>
                  <a:pt x="10312248" y="4975063"/>
                </a:moveTo>
                <a:cubicBezTo>
                  <a:pt x="10347962" y="4975063"/>
                  <a:pt x="10376914" y="5004015"/>
                  <a:pt x="10376914" y="5039729"/>
                </a:cubicBezTo>
                <a:cubicBezTo>
                  <a:pt x="10376914" y="5075443"/>
                  <a:pt x="10347962" y="5104395"/>
                  <a:pt x="10312248" y="5104395"/>
                </a:cubicBezTo>
                <a:cubicBezTo>
                  <a:pt x="10276534" y="5104395"/>
                  <a:pt x="10247582" y="5075443"/>
                  <a:pt x="10247582" y="5039729"/>
                </a:cubicBezTo>
                <a:cubicBezTo>
                  <a:pt x="10247582" y="5004015"/>
                  <a:pt x="10276534" y="4975063"/>
                  <a:pt x="10312248" y="4975063"/>
                </a:cubicBezTo>
                <a:close/>
                <a:moveTo>
                  <a:pt x="10159588" y="4975063"/>
                </a:moveTo>
                <a:cubicBezTo>
                  <a:pt x="10195302" y="4975063"/>
                  <a:pt x="10224254" y="5004015"/>
                  <a:pt x="10224254" y="5039729"/>
                </a:cubicBezTo>
                <a:cubicBezTo>
                  <a:pt x="10224254" y="5075443"/>
                  <a:pt x="10195302" y="5104395"/>
                  <a:pt x="10159588" y="5104395"/>
                </a:cubicBezTo>
                <a:cubicBezTo>
                  <a:pt x="10123874" y="5104395"/>
                  <a:pt x="10094922" y="5075443"/>
                  <a:pt x="10094922" y="5039729"/>
                </a:cubicBezTo>
                <a:cubicBezTo>
                  <a:pt x="10094922" y="5004015"/>
                  <a:pt x="10123874" y="4975063"/>
                  <a:pt x="10159588" y="4975063"/>
                </a:cubicBezTo>
                <a:close/>
                <a:moveTo>
                  <a:pt x="10003016" y="4975063"/>
                </a:moveTo>
                <a:cubicBezTo>
                  <a:pt x="10038730" y="4975063"/>
                  <a:pt x="10067682" y="5004015"/>
                  <a:pt x="10067682" y="5039729"/>
                </a:cubicBezTo>
                <a:cubicBezTo>
                  <a:pt x="10067682" y="5075443"/>
                  <a:pt x="10038730" y="5104395"/>
                  <a:pt x="10003016" y="5104395"/>
                </a:cubicBezTo>
                <a:cubicBezTo>
                  <a:pt x="9967302" y="5104395"/>
                  <a:pt x="9938350" y="5075443"/>
                  <a:pt x="9938350" y="5039729"/>
                </a:cubicBezTo>
                <a:cubicBezTo>
                  <a:pt x="9938350" y="5004015"/>
                  <a:pt x="9967302" y="4975063"/>
                  <a:pt x="10003016" y="4975063"/>
                </a:cubicBezTo>
                <a:close/>
                <a:moveTo>
                  <a:pt x="9850358" y="4975063"/>
                </a:moveTo>
                <a:cubicBezTo>
                  <a:pt x="9886072" y="4975063"/>
                  <a:pt x="9915024" y="5004015"/>
                  <a:pt x="9915024" y="5039729"/>
                </a:cubicBezTo>
                <a:cubicBezTo>
                  <a:pt x="9915024" y="5075443"/>
                  <a:pt x="9886072" y="5104395"/>
                  <a:pt x="9850358" y="5104395"/>
                </a:cubicBezTo>
                <a:cubicBezTo>
                  <a:pt x="9814644" y="5104395"/>
                  <a:pt x="9785692" y="5075443"/>
                  <a:pt x="9785692" y="5039729"/>
                </a:cubicBezTo>
                <a:cubicBezTo>
                  <a:pt x="9785692" y="5004015"/>
                  <a:pt x="9814644" y="4975063"/>
                  <a:pt x="9850358" y="4975063"/>
                </a:cubicBezTo>
                <a:close/>
                <a:moveTo>
                  <a:pt x="9693783" y="4975063"/>
                </a:moveTo>
                <a:cubicBezTo>
                  <a:pt x="9729497" y="4975063"/>
                  <a:pt x="9758449" y="5004015"/>
                  <a:pt x="9758449" y="5039729"/>
                </a:cubicBezTo>
                <a:cubicBezTo>
                  <a:pt x="9758449" y="5075443"/>
                  <a:pt x="9729497" y="5104395"/>
                  <a:pt x="9693783" y="5104395"/>
                </a:cubicBezTo>
                <a:cubicBezTo>
                  <a:pt x="9658069" y="5104395"/>
                  <a:pt x="9629117" y="5075443"/>
                  <a:pt x="9629117" y="5039729"/>
                </a:cubicBezTo>
                <a:cubicBezTo>
                  <a:pt x="9629117" y="5004015"/>
                  <a:pt x="9658069" y="4975063"/>
                  <a:pt x="9693783" y="4975063"/>
                </a:cubicBezTo>
                <a:close/>
                <a:moveTo>
                  <a:pt x="9541125" y="4975063"/>
                </a:moveTo>
                <a:cubicBezTo>
                  <a:pt x="9576839" y="4975063"/>
                  <a:pt x="9605791" y="5004015"/>
                  <a:pt x="9605791" y="5039729"/>
                </a:cubicBezTo>
                <a:cubicBezTo>
                  <a:pt x="9605791" y="5075443"/>
                  <a:pt x="9576839" y="5104395"/>
                  <a:pt x="9541125" y="5104395"/>
                </a:cubicBezTo>
                <a:cubicBezTo>
                  <a:pt x="9505411" y="5104395"/>
                  <a:pt x="9476459" y="5075443"/>
                  <a:pt x="9476459" y="5039729"/>
                </a:cubicBezTo>
                <a:cubicBezTo>
                  <a:pt x="9476459" y="5004015"/>
                  <a:pt x="9505411" y="4975063"/>
                  <a:pt x="9541125" y="4975063"/>
                </a:cubicBezTo>
                <a:close/>
                <a:moveTo>
                  <a:pt x="9384550" y="4975063"/>
                </a:moveTo>
                <a:cubicBezTo>
                  <a:pt x="9420264" y="4975063"/>
                  <a:pt x="9449216" y="5004015"/>
                  <a:pt x="9449216" y="5039729"/>
                </a:cubicBezTo>
                <a:cubicBezTo>
                  <a:pt x="9449216" y="5075443"/>
                  <a:pt x="9420264" y="5104395"/>
                  <a:pt x="9384550" y="5104395"/>
                </a:cubicBezTo>
                <a:cubicBezTo>
                  <a:pt x="9348836" y="5104395"/>
                  <a:pt x="9319884" y="5075443"/>
                  <a:pt x="9319884" y="5039729"/>
                </a:cubicBezTo>
                <a:cubicBezTo>
                  <a:pt x="9319884" y="5004015"/>
                  <a:pt x="9348836" y="4975063"/>
                  <a:pt x="9384550" y="4975063"/>
                </a:cubicBezTo>
                <a:close/>
                <a:moveTo>
                  <a:pt x="9227977" y="4975063"/>
                </a:moveTo>
                <a:cubicBezTo>
                  <a:pt x="9263691" y="4975063"/>
                  <a:pt x="9292643" y="5004015"/>
                  <a:pt x="9292643" y="5039729"/>
                </a:cubicBezTo>
                <a:cubicBezTo>
                  <a:pt x="9292643" y="5075443"/>
                  <a:pt x="9263691" y="5104395"/>
                  <a:pt x="9227977" y="5104395"/>
                </a:cubicBezTo>
                <a:cubicBezTo>
                  <a:pt x="9192263" y="5104395"/>
                  <a:pt x="9163311" y="5075443"/>
                  <a:pt x="9163311" y="5039729"/>
                </a:cubicBezTo>
                <a:cubicBezTo>
                  <a:pt x="9163311" y="5004015"/>
                  <a:pt x="9192263" y="4975063"/>
                  <a:pt x="9227977" y="4975063"/>
                </a:cubicBezTo>
                <a:close/>
                <a:moveTo>
                  <a:pt x="7055523" y="4975063"/>
                </a:moveTo>
                <a:cubicBezTo>
                  <a:pt x="7091237" y="4975063"/>
                  <a:pt x="7120189" y="5004015"/>
                  <a:pt x="7120189" y="5039729"/>
                </a:cubicBezTo>
                <a:cubicBezTo>
                  <a:pt x="7120189" y="5075443"/>
                  <a:pt x="7091237" y="5104395"/>
                  <a:pt x="7055523" y="5104395"/>
                </a:cubicBezTo>
                <a:cubicBezTo>
                  <a:pt x="7019809" y="5104395"/>
                  <a:pt x="6990857" y="5075443"/>
                  <a:pt x="6990857" y="5039729"/>
                </a:cubicBezTo>
                <a:cubicBezTo>
                  <a:pt x="6990857" y="5004015"/>
                  <a:pt x="7019809" y="4975063"/>
                  <a:pt x="7055523" y="4975063"/>
                </a:cubicBezTo>
                <a:close/>
                <a:moveTo>
                  <a:pt x="6585804" y="4975063"/>
                </a:moveTo>
                <a:cubicBezTo>
                  <a:pt x="6621518" y="4975063"/>
                  <a:pt x="6650470" y="5004015"/>
                  <a:pt x="6650470" y="5039729"/>
                </a:cubicBezTo>
                <a:cubicBezTo>
                  <a:pt x="6650470" y="5075443"/>
                  <a:pt x="6621518" y="5104395"/>
                  <a:pt x="6585804" y="5104395"/>
                </a:cubicBezTo>
                <a:cubicBezTo>
                  <a:pt x="6550090" y="5104395"/>
                  <a:pt x="6521138" y="5075443"/>
                  <a:pt x="6521138" y="5039729"/>
                </a:cubicBezTo>
                <a:cubicBezTo>
                  <a:pt x="6521138" y="5004015"/>
                  <a:pt x="6550090" y="4975063"/>
                  <a:pt x="6585804" y="4975063"/>
                </a:cubicBezTo>
                <a:close/>
                <a:moveTo>
                  <a:pt x="6429231" y="4975063"/>
                </a:moveTo>
                <a:cubicBezTo>
                  <a:pt x="6464945" y="4975063"/>
                  <a:pt x="6493897" y="5004015"/>
                  <a:pt x="6493897" y="5039729"/>
                </a:cubicBezTo>
                <a:cubicBezTo>
                  <a:pt x="6493897" y="5075443"/>
                  <a:pt x="6464945" y="5104395"/>
                  <a:pt x="6429231" y="5104395"/>
                </a:cubicBezTo>
                <a:cubicBezTo>
                  <a:pt x="6393517" y="5104395"/>
                  <a:pt x="6364565" y="5075443"/>
                  <a:pt x="6364565" y="5039729"/>
                </a:cubicBezTo>
                <a:cubicBezTo>
                  <a:pt x="6364565" y="5004015"/>
                  <a:pt x="6393517" y="4975063"/>
                  <a:pt x="6429231" y="4975063"/>
                </a:cubicBezTo>
                <a:close/>
                <a:moveTo>
                  <a:pt x="6276572" y="4975063"/>
                </a:moveTo>
                <a:cubicBezTo>
                  <a:pt x="6312286" y="4975063"/>
                  <a:pt x="6341238" y="5004015"/>
                  <a:pt x="6341238" y="5039729"/>
                </a:cubicBezTo>
                <a:cubicBezTo>
                  <a:pt x="6341238" y="5075443"/>
                  <a:pt x="6312286" y="5104395"/>
                  <a:pt x="6276572" y="5104395"/>
                </a:cubicBezTo>
                <a:cubicBezTo>
                  <a:pt x="6240858" y="5104395"/>
                  <a:pt x="6211906" y="5075443"/>
                  <a:pt x="6211906" y="5039729"/>
                </a:cubicBezTo>
                <a:cubicBezTo>
                  <a:pt x="6211906" y="5004015"/>
                  <a:pt x="6240858" y="4975063"/>
                  <a:pt x="6276572" y="4975063"/>
                </a:cubicBezTo>
                <a:close/>
                <a:moveTo>
                  <a:pt x="6119999" y="4975063"/>
                </a:moveTo>
                <a:cubicBezTo>
                  <a:pt x="6155713" y="4975063"/>
                  <a:pt x="6184665" y="5004015"/>
                  <a:pt x="6184665" y="5039729"/>
                </a:cubicBezTo>
                <a:cubicBezTo>
                  <a:pt x="6184665" y="5075443"/>
                  <a:pt x="6155713" y="5104395"/>
                  <a:pt x="6119999" y="5104395"/>
                </a:cubicBezTo>
                <a:cubicBezTo>
                  <a:pt x="6084285" y="5104395"/>
                  <a:pt x="6055333" y="5075443"/>
                  <a:pt x="6055333" y="5039729"/>
                </a:cubicBezTo>
                <a:cubicBezTo>
                  <a:pt x="6055333" y="5004015"/>
                  <a:pt x="6084285" y="4975063"/>
                  <a:pt x="6119999" y="4975063"/>
                </a:cubicBezTo>
                <a:close/>
                <a:moveTo>
                  <a:pt x="5967339" y="4975063"/>
                </a:moveTo>
                <a:cubicBezTo>
                  <a:pt x="6003053" y="4975063"/>
                  <a:pt x="6032005" y="5004015"/>
                  <a:pt x="6032005" y="5039729"/>
                </a:cubicBezTo>
                <a:cubicBezTo>
                  <a:pt x="6032005" y="5075443"/>
                  <a:pt x="6003053" y="5104395"/>
                  <a:pt x="5967339" y="5104395"/>
                </a:cubicBezTo>
                <a:cubicBezTo>
                  <a:pt x="5931625" y="5104395"/>
                  <a:pt x="5902673" y="5075443"/>
                  <a:pt x="5902673" y="5039729"/>
                </a:cubicBezTo>
                <a:cubicBezTo>
                  <a:pt x="5902673" y="5004015"/>
                  <a:pt x="5931625" y="4975063"/>
                  <a:pt x="5967339" y="4975063"/>
                </a:cubicBezTo>
                <a:close/>
                <a:moveTo>
                  <a:pt x="3947550" y="4975063"/>
                </a:moveTo>
                <a:cubicBezTo>
                  <a:pt x="3983262" y="4975063"/>
                  <a:pt x="4012217" y="5004015"/>
                  <a:pt x="4012217" y="5039729"/>
                </a:cubicBezTo>
                <a:cubicBezTo>
                  <a:pt x="4012217" y="5075443"/>
                  <a:pt x="3983262" y="5104395"/>
                  <a:pt x="3947550" y="5104395"/>
                </a:cubicBezTo>
                <a:cubicBezTo>
                  <a:pt x="3911844" y="5104395"/>
                  <a:pt x="3882891" y="5075443"/>
                  <a:pt x="3882891" y="5039729"/>
                </a:cubicBezTo>
                <a:cubicBezTo>
                  <a:pt x="3882891" y="5004015"/>
                  <a:pt x="3911844" y="4975063"/>
                  <a:pt x="3947550" y="4975063"/>
                </a:cubicBezTo>
                <a:close/>
                <a:moveTo>
                  <a:pt x="3790982" y="4975063"/>
                </a:moveTo>
                <a:cubicBezTo>
                  <a:pt x="3826696" y="4975063"/>
                  <a:pt x="3855648" y="5004015"/>
                  <a:pt x="3855648" y="5039729"/>
                </a:cubicBezTo>
                <a:cubicBezTo>
                  <a:pt x="3855648" y="5075443"/>
                  <a:pt x="3826696" y="5104395"/>
                  <a:pt x="3790982" y="5104395"/>
                </a:cubicBezTo>
                <a:cubicBezTo>
                  <a:pt x="3755268" y="5104395"/>
                  <a:pt x="3726315" y="5075443"/>
                  <a:pt x="3726315" y="5039729"/>
                </a:cubicBezTo>
                <a:cubicBezTo>
                  <a:pt x="3726315" y="5004015"/>
                  <a:pt x="3755268" y="4975063"/>
                  <a:pt x="3790982" y="4975063"/>
                </a:cubicBezTo>
                <a:close/>
                <a:moveTo>
                  <a:pt x="3630497" y="4975063"/>
                </a:moveTo>
                <a:cubicBezTo>
                  <a:pt x="3666211" y="4975063"/>
                  <a:pt x="3695163" y="5004015"/>
                  <a:pt x="3695163" y="5039729"/>
                </a:cubicBezTo>
                <a:cubicBezTo>
                  <a:pt x="3695163" y="5075443"/>
                  <a:pt x="3666211" y="5104395"/>
                  <a:pt x="3630497" y="5104395"/>
                </a:cubicBezTo>
                <a:cubicBezTo>
                  <a:pt x="3594783" y="5104395"/>
                  <a:pt x="3565829" y="5075443"/>
                  <a:pt x="3565829" y="5039729"/>
                </a:cubicBezTo>
                <a:cubicBezTo>
                  <a:pt x="3565829" y="5004015"/>
                  <a:pt x="3594783" y="4975063"/>
                  <a:pt x="3630497" y="4975063"/>
                </a:cubicBezTo>
                <a:close/>
                <a:moveTo>
                  <a:pt x="3481751" y="4975063"/>
                </a:moveTo>
                <a:cubicBezTo>
                  <a:pt x="3517466" y="4975063"/>
                  <a:pt x="3546417" y="5004015"/>
                  <a:pt x="3546417" y="5039729"/>
                </a:cubicBezTo>
                <a:cubicBezTo>
                  <a:pt x="3546417" y="5075443"/>
                  <a:pt x="3517466" y="5104395"/>
                  <a:pt x="3481751" y="5104395"/>
                </a:cubicBezTo>
                <a:cubicBezTo>
                  <a:pt x="3446039" y="5104395"/>
                  <a:pt x="3417085" y="5075443"/>
                  <a:pt x="3417085" y="5039729"/>
                </a:cubicBezTo>
                <a:cubicBezTo>
                  <a:pt x="3417085" y="5004015"/>
                  <a:pt x="3446039" y="4975063"/>
                  <a:pt x="3481751" y="4975063"/>
                </a:cubicBezTo>
                <a:close/>
                <a:moveTo>
                  <a:pt x="3321267" y="4975063"/>
                </a:moveTo>
                <a:cubicBezTo>
                  <a:pt x="3356981" y="4975063"/>
                  <a:pt x="3385932" y="5004015"/>
                  <a:pt x="3385932" y="5039729"/>
                </a:cubicBezTo>
                <a:cubicBezTo>
                  <a:pt x="3385932" y="5075443"/>
                  <a:pt x="3356981" y="5104395"/>
                  <a:pt x="3321267" y="5104395"/>
                </a:cubicBezTo>
                <a:cubicBezTo>
                  <a:pt x="3285552" y="5104395"/>
                  <a:pt x="3256602" y="5075443"/>
                  <a:pt x="3256602" y="5039729"/>
                </a:cubicBezTo>
                <a:cubicBezTo>
                  <a:pt x="3256602" y="5004015"/>
                  <a:pt x="3285552" y="4975063"/>
                  <a:pt x="3321267" y="4975063"/>
                </a:cubicBezTo>
                <a:close/>
                <a:moveTo>
                  <a:pt x="3172521" y="4975063"/>
                </a:moveTo>
                <a:cubicBezTo>
                  <a:pt x="3208235" y="4975063"/>
                  <a:pt x="3237188" y="5004015"/>
                  <a:pt x="3237188" y="5039729"/>
                </a:cubicBezTo>
                <a:cubicBezTo>
                  <a:pt x="3237188" y="5075443"/>
                  <a:pt x="3208235" y="5104395"/>
                  <a:pt x="3172521" y="5104395"/>
                </a:cubicBezTo>
                <a:cubicBezTo>
                  <a:pt x="3136806" y="5104395"/>
                  <a:pt x="3107854" y="5075443"/>
                  <a:pt x="3107854" y="5039729"/>
                </a:cubicBezTo>
                <a:cubicBezTo>
                  <a:pt x="3107854" y="5004015"/>
                  <a:pt x="3136806" y="4975063"/>
                  <a:pt x="3172521" y="4975063"/>
                </a:cubicBezTo>
                <a:close/>
                <a:moveTo>
                  <a:pt x="9850358" y="4830235"/>
                </a:moveTo>
                <a:cubicBezTo>
                  <a:pt x="9886072" y="4830235"/>
                  <a:pt x="9915024" y="4859187"/>
                  <a:pt x="9915024" y="4894901"/>
                </a:cubicBezTo>
                <a:cubicBezTo>
                  <a:pt x="9915024" y="4930615"/>
                  <a:pt x="9886072" y="4959567"/>
                  <a:pt x="9850358" y="4959567"/>
                </a:cubicBezTo>
                <a:cubicBezTo>
                  <a:pt x="9814644" y="4959567"/>
                  <a:pt x="9785692" y="4930615"/>
                  <a:pt x="9785692" y="4894901"/>
                </a:cubicBezTo>
                <a:cubicBezTo>
                  <a:pt x="9785692" y="4859187"/>
                  <a:pt x="9814644" y="4830235"/>
                  <a:pt x="9850358" y="4830235"/>
                </a:cubicBezTo>
                <a:close/>
                <a:moveTo>
                  <a:pt x="6429231" y="4830235"/>
                </a:moveTo>
                <a:cubicBezTo>
                  <a:pt x="6464945" y="4830235"/>
                  <a:pt x="6493897" y="4859187"/>
                  <a:pt x="6493897" y="4894901"/>
                </a:cubicBezTo>
                <a:cubicBezTo>
                  <a:pt x="6493897" y="4930615"/>
                  <a:pt x="6464945" y="4959567"/>
                  <a:pt x="6429231" y="4959567"/>
                </a:cubicBezTo>
                <a:cubicBezTo>
                  <a:pt x="6393517" y="4959567"/>
                  <a:pt x="6364565" y="4930615"/>
                  <a:pt x="6364565" y="4894901"/>
                </a:cubicBezTo>
                <a:cubicBezTo>
                  <a:pt x="6364565" y="4859187"/>
                  <a:pt x="6393517" y="4830235"/>
                  <a:pt x="6429231" y="4830235"/>
                </a:cubicBezTo>
                <a:close/>
                <a:moveTo>
                  <a:pt x="6276571" y="4830235"/>
                </a:moveTo>
                <a:cubicBezTo>
                  <a:pt x="6312285" y="4830235"/>
                  <a:pt x="6341237" y="4859187"/>
                  <a:pt x="6341237" y="4894901"/>
                </a:cubicBezTo>
                <a:cubicBezTo>
                  <a:pt x="6341237" y="4930615"/>
                  <a:pt x="6312285" y="4959567"/>
                  <a:pt x="6276571" y="4959567"/>
                </a:cubicBezTo>
                <a:cubicBezTo>
                  <a:pt x="6240857" y="4959567"/>
                  <a:pt x="6211905" y="4930615"/>
                  <a:pt x="6211905" y="4894901"/>
                </a:cubicBezTo>
                <a:cubicBezTo>
                  <a:pt x="6211905" y="4859187"/>
                  <a:pt x="6240857" y="4830235"/>
                  <a:pt x="6276571" y="4830235"/>
                </a:cubicBezTo>
                <a:close/>
                <a:moveTo>
                  <a:pt x="5967339" y="4830235"/>
                </a:moveTo>
                <a:cubicBezTo>
                  <a:pt x="6003053" y="4830235"/>
                  <a:pt x="6032005" y="4859187"/>
                  <a:pt x="6032005" y="4894901"/>
                </a:cubicBezTo>
                <a:cubicBezTo>
                  <a:pt x="6032005" y="4930615"/>
                  <a:pt x="6003053" y="4959567"/>
                  <a:pt x="5967339" y="4959567"/>
                </a:cubicBezTo>
                <a:cubicBezTo>
                  <a:pt x="5931625" y="4959567"/>
                  <a:pt x="5902673" y="4930615"/>
                  <a:pt x="5902673" y="4894901"/>
                </a:cubicBezTo>
                <a:cubicBezTo>
                  <a:pt x="5902673" y="4859187"/>
                  <a:pt x="5931625" y="4830235"/>
                  <a:pt x="5967339" y="4830235"/>
                </a:cubicBezTo>
                <a:close/>
                <a:moveTo>
                  <a:pt x="3947550" y="4830235"/>
                </a:moveTo>
                <a:cubicBezTo>
                  <a:pt x="3983262" y="4830235"/>
                  <a:pt x="4012217" y="4859187"/>
                  <a:pt x="4012217" y="4894901"/>
                </a:cubicBezTo>
                <a:cubicBezTo>
                  <a:pt x="4012217" y="4930615"/>
                  <a:pt x="3983262" y="4959567"/>
                  <a:pt x="3947550" y="4959567"/>
                </a:cubicBezTo>
                <a:cubicBezTo>
                  <a:pt x="3911847" y="4959567"/>
                  <a:pt x="3882895" y="4930615"/>
                  <a:pt x="3882895" y="4894901"/>
                </a:cubicBezTo>
                <a:cubicBezTo>
                  <a:pt x="3882895" y="4859187"/>
                  <a:pt x="3911847" y="4830235"/>
                  <a:pt x="3947550" y="4830235"/>
                </a:cubicBezTo>
                <a:close/>
                <a:moveTo>
                  <a:pt x="3790985" y="4830235"/>
                </a:moveTo>
                <a:cubicBezTo>
                  <a:pt x="3826700" y="4830235"/>
                  <a:pt x="3855652" y="4859187"/>
                  <a:pt x="3855652" y="4894901"/>
                </a:cubicBezTo>
                <a:cubicBezTo>
                  <a:pt x="3855652" y="4930615"/>
                  <a:pt x="3826700" y="4959567"/>
                  <a:pt x="3790985" y="4959567"/>
                </a:cubicBezTo>
                <a:cubicBezTo>
                  <a:pt x="3755271" y="4959567"/>
                  <a:pt x="3726319" y="4930615"/>
                  <a:pt x="3726319" y="4894901"/>
                </a:cubicBezTo>
                <a:cubicBezTo>
                  <a:pt x="3726319" y="4859187"/>
                  <a:pt x="3755271" y="4830235"/>
                  <a:pt x="3790985" y="4830235"/>
                </a:cubicBezTo>
                <a:close/>
                <a:moveTo>
                  <a:pt x="3481754" y="4830235"/>
                </a:moveTo>
                <a:cubicBezTo>
                  <a:pt x="3517468" y="4830235"/>
                  <a:pt x="3546420" y="4859187"/>
                  <a:pt x="3546420" y="4894901"/>
                </a:cubicBezTo>
                <a:cubicBezTo>
                  <a:pt x="3546420" y="4930615"/>
                  <a:pt x="3517468" y="4959567"/>
                  <a:pt x="3481754" y="4959567"/>
                </a:cubicBezTo>
                <a:cubicBezTo>
                  <a:pt x="3446041" y="4959567"/>
                  <a:pt x="3417090" y="4930615"/>
                  <a:pt x="3417090" y="4894901"/>
                </a:cubicBezTo>
                <a:cubicBezTo>
                  <a:pt x="3417090" y="4859187"/>
                  <a:pt x="3446041" y="4830235"/>
                  <a:pt x="3481754" y="4830235"/>
                </a:cubicBezTo>
                <a:close/>
                <a:moveTo>
                  <a:pt x="10312248" y="4830234"/>
                </a:moveTo>
                <a:cubicBezTo>
                  <a:pt x="10347962" y="4830234"/>
                  <a:pt x="10376914" y="4859186"/>
                  <a:pt x="10376914" y="4894900"/>
                </a:cubicBezTo>
                <a:cubicBezTo>
                  <a:pt x="10376914" y="4930614"/>
                  <a:pt x="10347962" y="4959566"/>
                  <a:pt x="10312248" y="4959566"/>
                </a:cubicBezTo>
                <a:cubicBezTo>
                  <a:pt x="10276534" y="4959566"/>
                  <a:pt x="10247582" y="4930614"/>
                  <a:pt x="10247582" y="4894900"/>
                </a:cubicBezTo>
                <a:cubicBezTo>
                  <a:pt x="10247582" y="4859186"/>
                  <a:pt x="10276534" y="4830234"/>
                  <a:pt x="10312248" y="4830234"/>
                </a:cubicBezTo>
                <a:close/>
                <a:moveTo>
                  <a:pt x="10159588" y="4830234"/>
                </a:moveTo>
                <a:cubicBezTo>
                  <a:pt x="10195302" y="4830234"/>
                  <a:pt x="10224254" y="4859186"/>
                  <a:pt x="10224254" y="4894900"/>
                </a:cubicBezTo>
                <a:cubicBezTo>
                  <a:pt x="10224254" y="4930614"/>
                  <a:pt x="10195302" y="4959566"/>
                  <a:pt x="10159588" y="4959566"/>
                </a:cubicBezTo>
                <a:cubicBezTo>
                  <a:pt x="10123874" y="4959566"/>
                  <a:pt x="10094922" y="4930614"/>
                  <a:pt x="10094922" y="4894900"/>
                </a:cubicBezTo>
                <a:cubicBezTo>
                  <a:pt x="10094922" y="4859186"/>
                  <a:pt x="10123874" y="4830234"/>
                  <a:pt x="10159588" y="4830234"/>
                </a:cubicBezTo>
                <a:close/>
                <a:moveTo>
                  <a:pt x="10003016" y="4830234"/>
                </a:moveTo>
                <a:cubicBezTo>
                  <a:pt x="10038730" y="4830234"/>
                  <a:pt x="10067682" y="4859186"/>
                  <a:pt x="10067682" y="4894900"/>
                </a:cubicBezTo>
                <a:cubicBezTo>
                  <a:pt x="10067682" y="4930614"/>
                  <a:pt x="10038730" y="4959566"/>
                  <a:pt x="10003016" y="4959566"/>
                </a:cubicBezTo>
                <a:cubicBezTo>
                  <a:pt x="9967302" y="4959566"/>
                  <a:pt x="9938350" y="4930614"/>
                  <a:pt x="9938350" y="4894900"/>
                </a:cubicBezTo>
                <a:cubicBezTo>
                  <a:pt x="9938350" y="4859186"/>
                  <a:pt x="9967302" y="4830234"/>
                  <a:pt x="10003016" y="4830234"/>
                </a:cubicBezTo>
                <a:close/>
                <a:moveTo>
                  <a:pt x="9693783" y="4830234"/>
                </a:moveTo>
                <a:cubicBezTo>
                  <a:pt x="9729497" y="4830234"/>
                  <a:pt x="9758449" y="4859186"/>
                  <a:pt x="9758449" y="4894900"/>
                </a:cubicBezTo>
                <a:cubicBezTo>
                  <a:pt x="9758449" y="4930614"/>
                  <a:pt x="9729497" y="4959566"/>
                  <a:pt x="9693783" y="4959566"/>
                </a:cubicBezTo>
                <a:cubicBezTo>
                  <a:pt x="9658069" y="4959566"/>
                  <a:pt x="9629117" y="4930614"/>
                  <a:pt x="9629117" y="4894900"/>
                </a:cubicBezTo>
                <a:cubicBezTo>
                  <a:pt x="9629117" y="4859186"/>
                  <a:pt x="9658069" y="4830234"/>
                  <a:pt x="9693783" y="4830234"/>
                </a:cubicBezTo>
                <a:close/>
                <a:moveTo>
                  <a:pt x="9541123" y="4830234"/>
                </a:moveTo>
                <a:cubicBezTo>
                  <a:pt x="9576837" y="4830234"/>
                  <a:pt x="9605789" y="4859186"/>
                  <a:pt x="9605789" y="4894900"/>
                </a:cubicBezTo>
                <a:cubicBezTo>
                  <a:pt x="9605789" y="4930614"/>
                  <a:pt x="9576837" y="4959566"/>
                  <a:pt x="9541123" y="4959566"/>
                </a:cubicBezTo>
                <a:cubicBezTo>
                  <a:pt x="9505409" y="4959566"/>
                  <a:pt x="9476457" y="4930614"/>
                  <a:pt x="9476457" y="4894900"/>
                </a:cubicBezTo>
                <a:cubicBezTo>
                  <a:pt x="9476457" y="4859186"/>
                  <a:pt x="9505409" y="4830234"/>
                  <a:pt x="9541123" y="4830234"/>
                </a:cubicBezTo>
                <a:close/>
                <a:moveTo>
                  <a:pt x="9384550" y="4830234"/>
                </a:moveTo>
                <a:cubicBezTo>
                  <a:pt x="9420264" y="4830234"/>
                  <a:pt x="9449216" y="4859186"/>
                  <a:pt x="9449216" y="4894900"/>
                </a:cubicBezTo>
                <a:cubicBezTo>
                  <a:pt x="9449216" y="4930614"/>
                  <a:pt x="9420264" y="4959566"/>
                  <a:pt x="9384550" y="4959566"/>
                </a:cubicBezTo>
                <a:cubicBezTo>
                  <a:pt x="9348836" y="4959566"/>
                  <a:pt x="9319884" y="4930614"/>
                  <a:pt x="9319884" y="4894900"/>
                </a:cubicBezTo>
                <a:cubicBezTo>
                  <a:pt x="9319884" y="4859186"/>
                  <a:pt x="9348836" y="4830234"/>
                  <a:pt x="9384550" y="4830234"/>
                </a:cubicBezTo>
                <a:close/>
                <a:moveTo>
                  <a:pt x="7055523" y="4830234"/>
                </a:moveTo>
                <a:cubicBezTo>
                  <a:pt x="7091237" y="4830234"/>
                  <a:pt x="7120189" y="4859186"/>
                  <a:pt x="7120189" y="4894900"/>
                </a:cubicBezTo>
                <a:cubicBezTo>
                  <a:pt x="7120189" y="4930614"/>
                  <a:pt x="7091237" y="4959566"/>
                  <a:pt x="7055523" y="4959566"/>
                </a:cubicBezTo>
                <a:cubicBezTo>
                  <a:pt x="7019809" y="4959566"/>
                  <a:pt x="6990857" y="4930614"/>
                  <a:pt x="6990857" y="4894900"/>
                </a:cubicBezTo>
                <a:cubicBezTo>
                  <a:pt x="6990857" y="4859186"/>
                  <a:pt x="7019809" y="4830234"/>
                  <a:pt x="7055523" y="4830234"/>
                </a:cubicBezTo>
                <a:close/>
                <a:moveTo>
                  <a:pt x="6585804" y="4830234"/>
                </a:moveTo>
                <a:cubicBezTo>
                  <a:pt x="6621518" y="4830234"/>
                  <a:pt x="6650470" y="4859186"/>
                  <a:pt x="6650470" y="4894900"/>
                </a:cubicBezTo>
                <a:cubicBezTo>
                  <a:pt x="6650470" y="4930614"/>
                  <a:pt x="6621518" y="4959566"/>
                  <a:pt x="6585804" y="4959566"/>
                </a:cubicBezTo>
                <a:cubicBezTo>
                  <a:pt x="6550090" y="4959566"/>
                  <a:pt x="6521138" y="4930614"/>
                  <a:pt x="6521138" y="4894900"/>
                </a:cubicBezTo>
                <a:cubicBezTo>
                  <a:pt x="6521138" y="4859186"/>
                  <a:pt x="6550090" y="4830234"/>
                  <a:pt x="6585804" y="4830234"/>
                </a:cubicBezTo>
                <a:close/>
                <a:moveTo>
                  <a:pt x="6119999" y="4830234"/>
                </a:moveTo>
                <a:cubicBezTo>
                  <a:pt x="6155713" y="4830234"/>
                  <a:pt x="6184665" y="4859186"/>
                  <a:pt x="6184665" y="4894900"/>
                </a:cubicBezTo>
                <a:cubicBezTo>
                  <a:pt x="6184665" y="4930614"/>
                  <a:pt x="6155713" y="4959566"/>
                  <a:pt x="6119999" y="4959566"/>
                </a:cubicBezTo>
                <a:cubicBezTo>
                  <a:pt x="6084285" y="4959566"/>
                  <a:pt x="6055333" y="4930614"/>
                  <a:pt x="6055333" y="4894900"/>
                </a:cubicBezTo>
                <a:cubicBezTo>
                  <a:pt x="6055333" y="4859186"/>
                  <a:pt x="6084285" y="4830234"/>
                  <a:pt x="6119999" y="4830234"/>
                </a:cubicBezTo>
                <a:close/>
                <a:moveTo>
                  <a:pt x="4100209" y="4830234"/>
                </a:moveTo>
                <a:cubicBezTo>
                  <a:pt x="4135921" y="4830234"/>
                  <a:pt x="4164876" y="4859186"/>
                  <a:pt x="4164876" y="4894900"/>
                </a:cubicBezTo>
                <a:cubicBezTo>
                  <a:pt x="4164876" y="4930614"/>
                  <a:pt x="4135921" y="4959566"/>
                  <a:pt x="4100209" y="4959566"/>
                </a:cubicBezTo>
                <a:cubicBezTo>
                  <a:pt x="4064494" y="4959566"/>
                  <a:pt x="4035544" y="4930614"/>
                  <a:pt x="4035544" y="4894900"/>
                </a:cubicBezTo>
                <a:cubicBezTo>
                  <a:pt x="4035544" y="4859186"/>
                  <a:pt x="4064494" y="4830234"/>
                  <a:pt x="4100209" y="4830234"/>
                </a:cubicBezTo>
                <a:close/>
                <a:moveTo>
                  <a:pt x="3630500" y="4830234"/>
                </a:moveTo>
                <a:cubicBezTo>
                  <a:pt x="3666214" y="4830234"/>
                  <a:pt x="3695166" y="4859186"/>
                  <a:pt x="3695166" y="4894900"/>
                </a:cubicBezTo>
                <a:cubicBezTo>
                  <a:pt x="3695166" y="4930614"/>
                  <a:pt x="3666214" y="4959566"/>
                  <a:pt x="3630500" y="4959566"/>
                </a:cubicBezTo>
                <a:cubicBezTo>
                  <a:pt x="3594785" y="4959566"/>
                  <a:pt x="3565834" y="4930614"/>
                  <a:pt x="3565834" y="4894900"/>
                </a:cubicBezTo>
                <a:cubicBezTo>
                  <a:pt x="3565834" y="4859186"/>
                  <a:pt x="3594785" y="4830234"/>
                  <a:pt x="3630500" y="4830234"/>
                </a:cubicBezTo>
                <a:close/>
                <a:moveTo>
                  <a:pt x="3321271" y="4830234"/>
                </a:moveTo>
                <a:cubicBezTo>
                  <a:pt x="3356985" y="4830234"/>
                  <a:pt x="3385935" y="4859186"/>
                  <a:pt x="3385935" y="4894900"/>
                </a:cubicBezTo>
                <a:cubicBezTo>
                  <a:pt x="3385935" y="4930614"/>
                  <a:pt x="3356985" y="4959566"/>
                  <a:pt x="3321271" y="4959566"/>
                </a:cubicBezTo>
                <a:cubicBezTo>
                  <a:pt x="3285557" y="4959566"/>
                  <a:pt x="3256604" y="4930614"/>
                  <a:pt x="3256604" y="4894900"/>
                </a:cubicBezTo>
                <a:cubicBezTo>
                  <a:pt x="3256604" y="4859186"/>
                  <a:pt x="3285557" y="4830234"/>
                  <a:pt x="3321271" y="4830234"/>
                </a:cubicBezTo>
                <a:close/>
                <a:moveTo>
                  <a:pt x="10159588" y="4685405"/>
                </a:moveTo>
                <a:cubicBezTo>
                  <a:pt x="10195302" y="4685405"/>
                  <a:pt x="10224254" y="4714357"/>
                  <a:pt x="10224254" y="4750071"/>
                </a:cubicBezTo>
                <a:cubicBezTo>
                  <a:pt x="10224254" y="4785785"/>
                  <a:pt x="10195302" y="4814737"/>
                  <a:pt x="10159588" y="4814737"/>
                </a:cubicBezTo>
                <a:cubicBezTo>
                  <a:pt x="10123874" y="4814737"/>
                  <a:pt x="10094922" y="4785785"/>
                  <a:pt x="10094922" y="4750071"/>
                </a:cubicBezTo>
                <a:cubicBezTo>
                  <a:pt x="10094922" y="4714357"/>
                  <a:pt x="10123874" y="4685405"/>
                  <a:pt x="10159588" y="4685405"/>
                </a:cubicBezTo>
                <a:close/>
                <a:moveTo>
                  <a:pt x="10003016" y="4685405"/>
                </a:moveTo>
                <a:cubicBezTo>
                  <a:pt x="10038730" y="4685405"/>
                  <a:pt x="10067682" y="4714357"/>
                  <a:pt x="10067682" y="4750071"/>
                </a:cubicBezTo>
                <a:cubicBezTo>
                  <a:pt x="10067682" y="4785785"/>
                  <a:pt x="10038730" y="4814737"/>
                  <a:pt x="10003016" y="4814737"/>
                </a:cubicBezTo>
                <a:cubicBezTo>
                  <a:pt x="9967302" y="4814737"/>
                  <a:pt x="9938350" y="4785785"/>
                  <a:pt x="9938350" y="4750071"/>
                </a:cubicBezTo>
                <a:cubicBezTo>
                  <a:pt x="9938350" y="4714357"/>
                  <a:pt x="9967302" y="4685405"/>
                  <a:pt x="10003016" y="4685405"/>
                </a:cubicBezTo>
                <a:close/>
                <a:moveTo>
                  <a:pt x="9850358" y="4685405"/>
                </a:moveTo>
                <a:cubicBezTo>
                  <a:pt x="9886072" y="4685405"/>
                  <a:pt x="9915024" y="4714357"/>
                  <a:pt x="9915024" y="4750071"/>
                </a:cubicBezTo>
                <a:cubicBezTo>
                  <a:pt x="9915024" y="4785785"/>
                  <a:pt x="9886072" y="4814737"/>
                  <a:pt x="9850358" y="4814737"/>
                </a:cubicBezTo>
                <a:cubicBezTo>
                  <a:pt x="9814644" y="4814737"/>
                  <a:pt x="9785692" y="4785785"/>
                  <a:pt x="9785692" y="4750071"/>
                </a:cubicBezTo>
                <a:cubicBezTo>
                  <a:pt x="9785692" y="4714357"/>
                  <a:pt x="9814644" y="4685405"/>
                  <a:pt x="9850358" y="4685405"/>
                </a:cubicBezTo>
                <a:close/>
                <a:moveTo>
                  <a:pt x="9693783" y="4685405"/>
                </a:moveTo>
                <a:cubicBezTo>
                  <a:pt x="9729497" y="4685405"/>
                  <a:pt x="9758449" y="4714357"/>
                  <a:pt x="9758449" y="4750071"/>
                </a:cubicBezTo>
                <a:cubicBezTo>
                  <a:pt x="9758449" y="4785785"/>
                  <a:pt x="9729497" y="4814737"/>
                  <a:pt x="9693783" y="4814737"/>
                </a:cubicBezTo>
                <a:cubicBezTo>
                  <a:pt x="9658069" y="4814737"/>
                  <a:pt x="9629117" y="4785785"/>
                  <a:pt x="9629117" y="4750071"/>
                </a:cubicBezTo>
                <a:cubicBezTo>
                  <a:pt x="9629117" y="4714357"/>
                  <a:pt x="9658069" y="4685405"/>
                  <a:pt x="9693783" y="4685405"/>
                </a:cubicBezTo>
                <a:close/>
                <a:moveTo>
                  <a:pt x="9541123" y="4685405"/>
                </a:moveTo>
                <a:cubicBezTo>
                  <a:pt x="9576837" y="4685405"/>
                  <a:pt x="9605789" y="4714357"/>
                  <a:pt x="9605789" y="4750071"/>
                </a:cubicBezTo>
                <a:cubicBezTo>
                  <a:pt x="9605789" y="4785785"/>
                  <a:pt x="9576837" y="4814737"/>
                  <a:pt x="9541123" y="4814737"/>
                </a:cubicBezTo>
                <a:cubicBezTo>
                  <a:pt x="9505409" y="4814737"/>
                  <a:pt x="9476457" y="4785785"/>
                  <a:pt x="9476457" y="4750071"/>
                </a:cubicBezTo>
                <a:cubicBezTo>
                  <a:pt x="9476457" y="4714357"/>
                  <a:pt x="9505409" y="4685405"/>
                  <a:pt x="9541123" y="4685405"/>
                </a:cubicBezTo>
                <a:close/>
                <a:moveTo>
                  <a:pt x="7055523" y="4685405"/>
                </a:moveTo>
                <a:cubicBezTo>
                  <a:pt x="7091237" y="4685405"/>
                  <a:pt x="7120189" y="4714357"/>
                  <a:pt x="7120189" y="4750071"/>
                </a:cubicBezTo>
                <a:cubicBezTo>
                  <a:pt x="7120189" y="4785785"/>
                  <a:pt x="7091237" y="4814737"/>
                  <a:pt x="7055523" y="4814737"/>
                </a:cubicBezTo>
                <a:cubicBezTo>
                  <a:pt x="7019809" y="4814737"/>
                  <a:pt x="6990857" y="4785785"/>
                  <a:pt x="6990857" y="4750071"/>
                </a:cubicBezTo>
                <a:cubicBezTo>
                  <a:pt x="6990857" y="4714357"/>
                  <a:pt x="7019809" y="4685405"/>
                  <a:pt x="7055523" y="4685405"/>
                </a:cubicBezTo>
                <a:close/>
                <a:moveTo>
                  <a:pt x="6742377" y="4685405"/>
                </a:moveTo>
                <a:cubicBezTo>
                  <a:pt x="6778091" y="4685405"/>
                  <a:pt x="6807043" y="4714357"/>
                  <a:pt x="6807043" y="4750071"/>
                </a:cubicBezTo>
                <a:cubicBezTo>
                  <a:pt x="6807043" y="4785785"/>
                  <a:pt x="6778091" y="4814737"/>
                  <a:pt x="6742377" y="4814737"/>
                </a:cubicBezTo>
                <a:cubicBezTo>
                  <a:pt x="6706663" y="4814737"/>
                  <a:pt x="6677711" y="4785785"/>
                  <a:pt x="6677711" y="4750071"/>
                </a:cubicBezTo>
                <a:cubicBezTo>
                  <a:pt x="6677711" y="4714357"/>
                  <a:pt x="6706663" y="4685405"/>
                  <a:pt x="6742377" y="4685405"/>
                </a:cubicBezTo>
                <a:close/>
                <a:moveTo>
                  <a:pt x="6585804" y="4685405"/>
                </a:moveTo>
                <a:cubicBezTo>
                  <a:pt x="6621518" y="4685405"/>
                  <a:pt x="6650470" y="4714357"/>
                  <a:pt x="6650470" y="4750071"/>
                </a:cubicBezTo>
                <a:cubicBezTo>
                  <a:pt x="6650470" y="4785785"/>
                  <a:pt x="6621518" y="4814737"/>
                  <a:pt x="6585804" y="4814737"/>
                </a:cubicBezTo>
                <a:cubicBezTo>
                  <a:pt x="6550090" y="4814737"/>
                  <a:pt x="6521138" y="4785785"/>
                  <a:pt x="6521138" y="4750071"/>
                </a:cubicBezTo>
                <a:cubicBezTo>
                  <a:pt x="6521138" y="4714357"/>
                  <a:pt x="6550090" y="4685405"/>
                  <a:pt x="6585804" y="4685405"/>
                </a:cubicBezTo>
                <a:close/>
                <a:moveTo>
                  <a:pt x="6429231" y="4685405"/>
                </a:moveTo>
                <a:cubicBezTo>
                  <a:pt x="6464945" y="4685405"/>
                  <a:pt x="6493897" y="4714357"/>
                  <a:pt x="6493897" y="4750071"/>
                </a:cubicBezTo>
                <a:cubicBezTo>
                  <a:pt x="6493897" y="4785785"/>
                  <a:pt x="6464945" y="4814737"/>
                  <a:pt x="6429231" y="4814737"/>
                </a:cubicBezTo>
                <a:cubicBezTo>
                  <a:pt x="6393517" y="4814737"/>
                  <a:pt x="6364565" y="4785785"/>
                  <a:pt x="6364565" y="4750071"/>
                </a:cubicBezTo>
                <a:cubicBezTo>
                  <a:pt x="6364565" y="4714357"/>
                  <a:pt x="6393517" y="4685405"/>
                  <a:pt x="6429231" y="4685405"/>
                </a:cubicBezTo>
                <a:close/>
                <a:moveTo>
                  <a:pt x="6276571" y="4685405"/>
                </a:moveTo>
                <a:cubicBezTo>
                  <a:pt x="6312285" y="4685405"/>
                  <a:pt x="6341237" y="4714357"/>
                  <a:pt x="6341237" y="4750071"/>
                </a:cubicBezTo>
                <a:cubicBezTo>
                  <a:pt x="6341237" y="4785785"/>
                  <a:pt x="6312285" y="4814737"/>
                  <a:pt x="6276571" y="4814737"/>
                </a:cubicBezTo>
                <a:cubicBezTo>
                  <a:pt x="6240857" y="4814737"/>
                  <a:pt x="6211905" y="4785785"/>
                  <a:pt x="6211905" y="4750071"/>
                </a:cubicBezTo>
                <a:cubicBezTo>
                  <a:pt x="6211905" y="4714357"/>
                  <a:pt x="6240857" y="4685405"/>
                  <a:pt x="6276571" y="4685405"/>
                </a:cubicBezTo>
                <a:close/>
                <a:moveTo>
                  <a:pt x="6119999" y="4685405"/>
                </a:moveTo>
                <a:cubicBezTo>
                  <a:pt x="6155713" y="4685405"/>
                  <a:pt x="6184665" y="4714357"/>
                  <a:pt x="6184665" y="4750071"/>
                </a:cubicBezTo>
                <a:cubicBezTo>
                  <a:pt x="6184665" y="4785785"/>
                  <a:pt x="6155713" y="4814737"/>
                  <a:pt x="6119999" y="4814737"/>
                </a:cubicBezTo>
                <a:cubicBezTo>
                  <a:pt x="6084285" y="4814737"/>
                  <a:pt x="6055333" y="4785785"/>
                  <a:pt x="6055333" y="4750071"/>
                </a:cubicBezTo>
                <a:cubicBezTo>
                  <a:pt x="6055333" y="4714357"/>
                  <a:pt x="6084285" y="4685405"/>
                  <a:pt x="6119999" y="4685405"/>
                </a:cubicBezTo>
                <a:close/>
                <a:moveTo>
                  <a:pt x="5967339" y="4685405"/>
                </a:moveTo>
                <a:cubicBezTo>
                  <a:pt x="6003053" y="4685405"/>
                  <a:pt x="6032005" y="4714357"/>
                  <a:pt x="6032005" y="4750071"/>
                </a:cubicBezTo>
                <a:cubicBezTo>
                  <a:pt x="6032005" y="4785785"/>
                  <a:pt x="6003053" y="4814737"/>
                  <a:pt x="5967339" y="4814737"/>
                </a:cubicBezTo>
                <a:cubicBezTo>
                  <a:pt x="5931625" y="4814737"/>
                  <a:pt x="5902673" y="4785785"/>
                  <a:pt x="5902673" y="4750071"/>
                </a:cubicBezTo>
                <a:cubicBezTo>
                  <a:pt x="5902673" y="4714357"/>
                  <a:pt x="5931625" y="4685405"/>
                  <a:pt x="5967339" y="4685405"/>
                </a:cubicBezTo>
                <a:close/>
                <a:moveTo>
                  <a:pt x="4100211" y="4685405"/>
                </a:moveTo>
                <a:cubicBezTo>
                  <a:pt x="4135925" y="4685405"/>
                  <a:pt x="4164876" y="4714357"/>
                  <a:pt x="4164876" y="4750071"/>
                </a:cubicBezTo>
                <a:cubicBezTo>
                  <a:pt x="4164876" y="4785785"/>
                  <a:pt x="4135925" y="4814737"/>
                  <a:pt x="4100211" y="4814737"/>
                </a:cubicBezTo>
                <a:cubicBezTo>
                  <a:pt x="4064497" y="4814737"/>
                  <a:pt x="4035544" y="4785785"/>
                  <a:pt x="4035544" y="4750071"/>
                </a:cubicBezTo>
                <a:cubicBezTo>
                  <a:pt x="4035544" y="4714357"/>
                  <a:pt x="4064497" y="4685405"/>
                  <a:pt x="4100211" y="4685405"/>
                </a:cubicBezTo>
                <a:close/>
                <a:moveTo>
                  <a:pt x="3947550" y="4685405"/>
                </a:moveTo>
                <a:cubicBezTo>
                  <a:pt x="3983265" y="4685405"/>
                  <a:pt x="4012217" y="4714357"/>
                  <a:pt x="4012217" y="4750071"/>
                </a:cubicBezTo>
                <a:cubicBezTo>
                  <a:pt x="4012217" y="4785785"/>
                  <a:pt x="3983265" y="4814737"/>
                  <a:pt x="3947550" y="4814737"/>
                </a:cubicBezTo>
                <a:cubicBezTo>
                  <a:pt x="3911849" y="4814737"/>
                  <a:pt x="3882897" y="4785785"/>
                  <a:pt x="3882897" y="4750071"/>
                </a:cubicBezTo>
                <a:cubicBezTo>
                  <a:pt x="3882897" y="4714357"/>
                  <a:pt x="3911849" y="4685405"/>
                  <a:pt x="3947550" y="4685405"/>
                </a:cubicBezTo>
                <a:close/>
                <a:moveTo>
                  <a:pt x="3790989" y="4685405"/>
                </a:moveTo>
                <a:cubicBezTo>
                  <a:pt x="3826702" y="4685405"/>
                  <a:pt x="3855655" y="4714357"/>
                  <a:pt x="3855655" y="4750071"/>
                </a:cubicBezTo>
                <a:cubicBezTo>
                  <a:pt x="3855655" y="4785785"/>
                  <a:pt x="3826702" y="4814737"/>
                  <a:pt x="3790989" y="4814737"/>
                </a:cubicBezTo>
                <a:cubicBezTo>
                  <a:pt x="3755274" y="4814737"/>
                  <a:pt x="3726321" y="4785785"/>
                  <a:pt x="3726321" y="4750071"/>
                </a:cubicBezTo>
                <a:cubicBezTo>
                  <a:pt x="3726321" y="4714357"/>
                  <a:pt x="3755274" y="4685405"/>
                  <a:pt x="3790989" y="4685405"/>
                </a:cubicBezTo>
                <a:close/>
                <a:moveTo>
                  <a:pt x="3630503" y="4685405"/>
                </a:moveTo>
                <a:cubicBezTo>
                  <a:pt x="3666218" y="4685405"/>
                  <a:pt x="3695169" y="4714357"/>
                  <a:pt x="3695169" y="4750071"/>
                </a:cubicBezTo>
                <a:cubicBezTo>
                  <a:pt x="3695169" y="4785785"/>
                  <a:pt x="3666218" y="4814737"/>
                  <a:pt x="3630503" y="4814737"/>
                </a:cubicBezTo>
                <a:cubicBezTo>
                  <a:pt x="3594787" y="4814737"/>
                  <a:pt x="3565836" y="4785785"/>
                  <a:pt x="3565836" y="4750071"/>
                </a:cubicBezTo>
                <a:cubicBezTo>
                  <a:pt x="3565836" y="4714357"/>
                  <a:pt x="3594787" y="4685405"/>
                  <a:pt x="3630503" y="4685405"/>
                </a:cubicBezTo>
                <a:close/>
                <a:moveTo>
                  <a:pt x="3481758" y="4685405"/>
                </a:moveTo>
                <a:cubicBezTo>
                  <a:pt x="3517472" y="4685405"/>
                  <a:pt x="3546424" y="4714357"/>
                  <a:pt x="3546424" y="4750071"/>
                </a:cubicBezTo>
                <a:cubicBezTo>
                  <a:pt x="3546424" y="4785785"/>
                  <a:pt x="3517472" y="4814737"/>
                  <a:pt x="3481758" y="4814737"/>
                </a:cubicBezTo>
                <a:cubicBezTo>
                  <a:pt x="3446044" y="4814737"/>
                  <a:pt x="3417092" y="4785785"/>
                  <a:pt x="3417092" y="4750071"/>
                </a:cubicBezTo>
                <a:cubicBezTo>
                  <a:pt x="3417092" y="4714357"/>
                  <a:pt x="3446044" y="4685405"/>
                  <a:pt x="3481758" y="4685405"/>
                </a:cubicBezTo>
                <a:close/>
                <a:moveTo>
                  <a:pt x="3321273" y="4685405"/>
                </a:moveTo>
                <a:cubicBezTo>
                  <a:pt x="3356988" y="4685405"/>
                  <a:pt x="3385938" y="4714357"/>
                  <a:pt x="3385938" y="4750071"/>
                </a:cubicBezTo>
                <a:cubicBezTo>
                  <a:pt x="3385938" y="4785785"/>
                  <a:pt x="3356988" y="4814737"/>
                  <a:pt x="3321273" y="4814737"/>
                </a:cubicBezTo>
                <a:cubicBezTo>
                  <a:pt x="3285559" y="4814737"/>
                  <a:pt x="3256607" y="4785785"/>
                  <a:pt x="3256607" y="4750071"/>
                </a:cubicBezTo>
                <a:cubicBezTo>
                  <a:pt x="3256607" y="4714357"/>
                  <a:pt x="3285559" y="4685405"/>
                  <a:pt x="3321273" y="4685405"/>
                </a:cubicBezTo>
                <a:close/>
                <a:moveTo>
                  <a:pt x="10159588" y="4536658"/>
                </a:moveTo>
                <a:cubicBezTo>
                  <a:pt x="10195302" y="4536658"/>
                  <a:pt x="10224254" y="4565610"/>
                  <a:pt x="10224254" y="4601324"/>
                </a:cubicBezTo>
                <a:cubicBezTo>
                  <a:pt x="10224254" y="4637038"/>
                  <a:pt x="10195302" y="4665990"/>
                  <a:pt x="10159588" y="4665990"/>
                </a:cubicBezTo>
                <a:cubicBezTo>
                  <a:pt x="10123874" y="4665990"/>
                  <a:pt x="10094922" y="4637038"/>
                  <a:pt x="10094922" y="4601324"/>
                </a:cubicBezTo>
                <a:cubicBezTo>
                  <a:pt x="10094922" y="4565610"/>
                  <a:pt x="10123874" y="4536658"/>
                  <a:pt x="10159588" y="4536658"/>
                </a:cubicBezTo>
                <a:close/>
                <a:moveTo>
                  <a:pt x="9693783" y="4536658"/>
                </a:moveTo>
                <a:cubicBezTo>
                  <a:pt x="9729497" y="4536658"/>
                  <a:pt x="9758449" y="4565610"/>
                  <a:pt x="9758449" y="4601324"/>
                </a:cubicBezTo>
                <a:cubicBezTo>
                  <a:pt x="9758449" y="4637038"/>
                  <a:pt x="9729497" y="4665990"/>
                  <a:pt x="9693783" y="4665990"/>
                </a:cubicBezTo>
                <a:cubicBezTo>
                  <a:pt x="9658069" y="4665990"/>
                  <a:pt x="9629117" y="4637038"/>
                  <a:pt x="9629117" y="4601324"/>
                </a:cubicBezTo>
                <a:cubicBezTo>
                  <a:pt x="9629117" y="4565610"/>
                  <a:pt x="9658069" y="4536658"/>
                  <a:pt x="9693783" y="4536658"/>
                </a:cubicBezTo>
                <a:close/>
                <a:moveTo>
                  <a:pt x="7055523" y="4536658"/>
                </a:moveTo>
                <a:cubicBezTo>
                  <a:pt x="7091237" y="4536658"/>
                  <a:pt x="7120189" y="4565610"/>
                  <a:pt x="7120189" y="4601324"/>
                </a:cubicBezTo>
                <a:cubicBezTo>
                  <a:pt x="7120189" y="4637038"/>
                  <a:pt x="7091237" y="4665990"/>
                  <a:pt x="7055523" y="4665990"/>
                </a:cubicBezTo>
                <a:cubicBezTo>
                  <a:pt x="7019809" y="4665990"/>
                  <a:pt x="6990857" y="4637038"/>
                  <a:pt x="6990857" y="4601324"/>
                </a:cubicBezTo>
                <a:cubicBezTo>
                  <a:pt x="6990857" y="4565610"/>
                  <a:pt x="7019809" y="4536658"/>
                  <a:pt x="7055523" y="4536658"/>
                </a:cubicBezTo>
                <a:close/>
                <a:moveTo>
                  <a:pt x="9850358" y="4407486"/>
                </a:moveTo>
                <a:cubicBezTo>
                  <a:pt x="9886072" y="4407486"/>
                  <a:pt x="9915024" y="4436438"/>
                  <a:pt x="9915024" y="4472152"/>
                </a:cubicBezTo>
                <a:cubicBezTo>
                  <a:pt x="9915024" y="4498938"/>
                  <a:pt x="9898738" y="4521920"/>
                  <a:pt x="9875529" y="4531736"/>
                </a:cubicBezTo>
                <a:lnTo>
                  <a:pt x="9850754" y="4536738"/>
                </a:lnTo>
                <a:lnTo>
                  <a:pt x="9875529" y="4541740"/>
                </a:lnTo>
                <a:cubicBezTo>
                  <a:pt x="9898738" y="4551557"/>
                  <a:pt x="9915024" y="4574539"/>
                  <a:pt x="9915024" y="4601324"/>
                </a:cubicBezTo>
                <a:cubicBezTo>
                  <a:pt x="9915024" y="4637038"/>
                  <a:pt x="9886072" y="4665990"/>
                  <a:pt x="9850358" y="4665990"/>
                </a:cubicBezTo>
                <a:cubicBezTo>
                  <a:pt x="9814644" y="4665990"/>
                  <a:pt x="9785692" y="4637038"/>
                  <a:pt x="9785692" y="4601324"/>
                </a:cubicBezTo>
                <a:cubicBezTo>
                  <a:pt x="9785692" y="4574539"/>
                  <a:pt x="9801977" y="4551557"/>
                  <a:pt x="9825187" y="4541740"/>
                </a:cubicBezTo>
                <a:lnTo>
                  <a:pt x="9849962" y="4536738"/>
                </a:lnTo>
                <a:lnTo>
                  <a:pt x="9825187" y="4531736"/>
                </a:lnTo>
                <a:cubicBezTo>
                  <a:pt x="9801977" y="4521920"/>
                  <a:pt x="9785692" y="4498938"/>
                  <a:pt x="9785692" y="4472152"/>
                </a:cubicBezTo>
                <a:cubicBezTo>
                  <a:pt x="9785692" y="4436438"/>
                  <a:pt x="9814644" y="4407486"/>
                  <a:pt x="9850358" y="4407486"/>
                </a:cubicBezTo>
                <a:close/>
                <a:moveTo>
                  <a:pt x="6742377" y="4407486"/>
                </a:moveTo>
                <a:cubicBezTo>
                  <a:pt x="6778091" y="4407486"/>
                  <a:pt x="6807043" y="4436438"/>
                  <a:pt x="6807043" y="4472152"/>
                </a:cubicBezTo>
                <a:cubicBezTo>
                  <a:pt x="6807043" y="4498938"/>
                  <a:pt x="6790758" y="4521920"/>
                  <a:pt x="6767548" y="4531736"/>
                </a:cubicBezTo>
                <a:lnTo>
                  <a:pt x="6742773" y="4536738"/>
                </a:lnTo>
                <a:lnTo>
                  <a:pt x="6767548" y="4541740"/>
                </a:lnTo>
                <a:cubicBezTo>
                  <a:pt x="6790758" y="4551557"/>
                  <a:pt x="6807043" y="4574539"/>
                  <a:pt x="6807043" y="4601324"/>
                </a:cubicBezTo>
                <a:cubicBezTo>
                  <a:pt x="6807043" y="4637038"/>
                  <a:pt x="6778091" y="4665990"/>
                  <a:pt x="6742377" y="4665990"/>
                </a:cubicBezTo>
                <a:cubicBezTo>
                  <a:pt x="6706663" y="4665990"/>
                  <a:pt x="6677711" y="4637038"/>
                  <a:pt x="6677711" y="4601324"/>
                </a:cubicBezTo>
                <a:cubicBezTo>
                  <a:pt x="6677711" y="4574539"/>
                  <a:pt x="6693997" y="4551557"/>
                  <a:pt x="6717206" y="4541740"/>
                </a:cubicBezTo>
                <a:lnTo>
                  <a:pt x="6741981" y="4536738"/>
                </a:lnTo>
                <a:lnTo>
                  <a:pt x="6717206" y="4531736"/>
                </a:lnTo>
                <a:cubicBezTo>
                  <a:pt x="6693997" y="4521920"/>
                  <a:pt x="6677711" y="4498938"/>
                  <a:pt x="6677711" y="4472152"/>
                </a:cubicBezTo>
                <a:cubicBezTo>
                  <a:pt x="6677711" y="4436438"/>
                  <a:pt x="6706663" y="4407486"/>
                  <a:pt x="6742377" y="4407486"/>
                </a:cubicBezTo>
                <a:close/>
                <a:moveTo>
                  <a:pt x="6429231" y="4407486"/>
                </a:moveTo>
                <a:cubicBezTo>
                  <a:pt x="6464945" y="4407486"/>
                  <a:pt x="6493897" y="4436438"/>
                  <a:pt x="6493897" y="4472152"/>
                </a:cubicBezTo>
                <a:cubicBezTo>
                  <a:pt x="6493897" y="4498938"/>
                  <a:pt x="6477612" y="4521920"/>
                  <a:pt x="6454402" y="4531736"/>
                </a:cubicBezTo>
                <a:lnTo>
                  <a:pt x="6429628" y="4536738"/>
                </a:lnTo>
                <a:lnTo>
                  <a:pt x="6454402" y="4541740"/>
                </a:lnTo>
                <a:cubicBezTo>
                  <a:pt x="6477612" y="4551557"/>
                  <a:pt x="6493897" y="4574539"/>
                  <a:pt x="6493897" y="4601324"/>
                </a:cubicBezTo>
                <a:cubicBezTo>
                  <a:pt x="6493897" y="4637038"/>
                  <a:pt x="6464945" y="4665990"/>
                  <a:pt x="6429231" y="4665990"/>
                </a:cubicBezTo>
                <a:cubicBezTo>
                  <a:pt x="6393517" y="4665990"/>
                  <a:pt x="6364565" y="4637038"/>
                  <a:pt x="6364565" y="4601324"/>
                </a:cubicBezTo>
                <a:cubicBezTo>
                  <a:pt x="6364565" y="4574539"/>
                  <a:pt x="6380851" y="4551557"/>
                  <a:pt x="6404060" y="4541740"/>
                </a:cubicBezTo>
                <a:lnTo>
                  <a:pt x="6428835" y="4536738"/>
                </a:lnTo>
                <a:lnTo>
                  <a:pt x="6404060" y="4531736"/>
                </a:lnTo>
                <a:cubicBezTo>
                  <a:pt x="6380851" y="4521920"/>
                  <a:pt x="6364565" y="4498938"/>
                  <a:pt x="6364565" y="4472152"/>
                </a:cubicBezTo>
                <a:cubicBezTo>
                  <a:pt x="6364565" y="4436438"/>
                  <a:pt x="6393517" y="4407486"/>
                  <a:pt x="6429231" y="4407486"/>
                </a:cubicBezTo>
                <a:close/>
                <a:moveTo>
                  <a:pt x="6276571" y="4407486"/>
                </a:moveTo>
                <a:cubicBezTo>
                  <a:pt x="6312285" y="4407486"/>
                  <a:pt x="6341237" y="4436438"/>
                  <a:pt x="6341237" y="4472152"/>
                </a:cubicBezTo>
                <a:cubicBezTo>
                  <a:pt x="6341237" y="4498938"/>
                  <a:pt x="6324952" y="4521920"/>
                  <a:pt x="6301742" y="4531736"/>
                </a:cubicBezTo>
                <a:lnTo>
                  <a:pt x="6276968" y="4536738"/>
                </a:lnTo>
                <a:lnTo>
                  <a:pt x="6301742" y="4541740"/>
                </a:lnTo>
                <a:cubicBezTo>
                  <a:pt x="6324952" y="4551557"/>
                  <a:pt x="6341237" y="4574539"/>
                  <a:pt x="6341237" y="4601324"/>
                </a:cubicBezTo>
                <a:cubicBezTo>
                  <a:pt x="6341237" y="4637038"/>
                  <a:pt x="6312285" y="4665990"/>
                  <a:pt x="6276571" y="4665990"/>
                </a:cubicBezTo>
                <a:cubicBezTo>
                  <a:pt x="6240857" y="4665990"/>
                  <a:pt x="6211905" y="4637038"/>
                  <a:pt x="6211905" y="4601324"/>
                </a:cubicBezTo>
                <a:cubicBezTo>
                  <a:pt x="6211905" y="4574539"/>
                  <a:pt x="6228191" y="4551557"/>
                  <a:pt x="6251400" y="4541740"/>
                </a:cubicBezTo>
                <a:lnTo>
                  <a:pt x="6276175" y="4536738"/>
                </a:lnTo>
                <a:lnTo>
                  <a:pt x="6251400" y="4531736"/>
                </a:lnTo>
                <a:cubicBezTo>
                  <a:pt x="6228191" y="4521920"/>
                  <a:pt x="6211905" y="4498938"/>
                  <a:pt x="6211905" y="4472152"/>
                </a:cubicBezTo>
                <a:cubicBezTo>
                  <a:pt x="6211905" y="4436438"/>
                  <a:pt x="6240857" y="4407486"/>
                  <a:pt x="6276571" y="4407486"/>
                </a:cubicBezTo>
                <a:close/>
                <a:moveTo>
                  <a:pt x="5967339" y="4407486"/>
                </a:moveTo>
                <a:cubicBezTo>
                  <a:pt x="6003053" y="4407486"/>
                  <a:pt x="6032005" y="4436438"/>
                  <a:pt x="6032005" y="4472152"/>
                </a:cubicBezTo>
                <a:cubicBezTo>
                  <a:pt x="6032005" y="4498938"/>
                  <a:pt x="6015720" y="4521920"/>
                  <a:pt x="5992510" y="4531736"/>
                </a:cubicBezTo>
                <a:lnTo>
                  <a:pt x="5967736" y="4536738"/>
                </a:lnTo>
                <a:lnTo>
                  <a:pt x="5992510" y="4541740"/>
                </a:lnTo>
                <a:cubicBezTo>
                  <a:pt x="6015720" y="4551557"/>
                  <a:pt x="6032005" y="4574539"/>
                  <a:pt x="6032005" y="4601324"/>
                </a:cubicBezTo>
                <a:cubicBezTo>
                  <a:pt x="6032005" y="4637038"/>
                  <a:pt x="6003053" y="4665990"/>
                  <a:pt x="5967339" y="4665990"/>
                </a:cubicBezTo>
                <a:cubicBezTo>
                  <a:pt x="5931625" y="4665990"/>
                  <a:pt x="5902673" y="4637038"/>
                  <a:pt x="5902673" y="4601324"/>
                </a:cubicBezTo>
                <a:cubicBezTo>
                  <a:pt x="5902673" y="4574539"/>
                  <a:pt x="5918959" y="4551557"/>
                  <a:pt x="5942168" y="4541740"/>
                </a:cubicBezTo>
                <a:lnTo>
                  <a:pt x="5966943" y="4536738"/>
                </a:lnTo>
                <a:lnTo>
                  <a:pt x="5942168" y="4531736"/>
                </a:lnTo>
                <a:cubicBezTo>
                  <a:pt x="5918959" y="4521920"/>
                  <a:pt x="5902673" y="4498938"/>
                  <a:pt x="5902673" y="4472152"/>
                </a:cubicBezTo>
                <a:cubicBezTo>
                  <a:pt x="5902673" y="4436438"/>
                  <a:pt x="5931625" y="4407486"/>
                  <a:pt x="5967339" y="4407486"/>
                </a:cubicBezTo>
                <a:close/>
                <a:moveTo>
                  <a:pt x="4256781" y="4407486"/>
                </a:moveTo>
                <a:cubicBezTo>
                  <a:pt x="4292500" y="4407486"/>
                  <a:pt x="4321448" y="4436438"/>
                  <a:pt x="4321448" y="4472152"/>
                </a:cubicBezTo>
                <a:cubicBezTo>
                  <a:pt x="4321448" y="4507866"/>
                  <a:pt x="4292500" y="4536818"/>
                  <a:pt x="4256781" y="4536818"/>
                </a:cubicBezTo>
                <a:cubicBezTo>
                  <a:pt x="4221067" y="4536818"/>
                  <a:pt x="4192113" y="4507866"/>
                  <a:pt x="4192113" y="4472152"/>
                </a:cubicBezTo>
                <a:cubicBezTo>
                  <a:pt x="4192113" y="4436438"/>
                  <a:pt x="4221067" y="4407486"/>
                  <a:pt x="4256781" y="4407486"/>
                </a:cubicBezTo>
                <a:close/>
                <a:moveTo>
                  <a:pt x="3947550" y="4407486"/>
                </a:moveTo>
                <a:cubicBezTo>
                  <a:pt x="3983265" y="4407486"/>
                  <a:pt x="4012217" y="4436438"/>
                  <a:pt x="4012217" y="4472152"/>
                </a:cubicBezTo>
                <a:cubicBezTo>
                  <a:pt x="4012217" y="4498938"/>
                  <a:pt x="3995929" y="4521920"/>
                  <a:pt x="3972723" y="4531736"/>
                </a:cubicBezTo>
                <a:lnTo>
                  <a:pt x="3947944" y="4536738"/>
                </a:lnTo>
                <a:lnTo>
                  <a:pt x="3972720" y="4541740"/>
                </a:lnTo>
                <a:cubicBezTo>
                  <a:pt x="3995929" y="4551557"/>
                  <a:pt x="4012217" y="4574539"/>
                  <a:pt x="4012217" y="4601324"/>
                </a:cubicBezTo>
                <a:cubicBezTo>
                  <a:pt x="4012217" y="4637038"/>
                  <a:pt x="3983265" y="4665990"/>
                  <a:pt x="3947550" y="4665990"/>
                </a:cubicBezTo>
                <a:cubicBezTo>
                  <a:pt x="3911852" y="4665990"/>
                  <a:pt x="3882901" y="4637038"/>
                  <a:pt x="3882901" y="4601324"/>
                </a:cubicBezTo>
                <a:cubicBezTo>
                  <a:pt x="3882901" y="4574539"/>
                  <a:pt x="3899185" y="4551557"/>
                  <a:pt x="3922395" y="4541740"/>
                </a:cubicBezTo>
                <a:lnTo>
                  <a:pt x="3947151" y="4536738"/>
                </a:lnTo>
                <a:lnTo>
                  <a:pt x="3922397" y="4531736"/>
                </a:lnTo>
                <a:cubicBezTo>
                  <a:pt x="3899188" y="4521920"/>
                  <a:pt x="3882903" y="4498938"/>
                  <a:pt x="3882903" y="4472152"/>
                </a:cubicBezTo>
                <a:cubicBezTo>
                  <a:pt x="3882903" y="4436438"/>
                  <a:pt x="3911854" y="4407486"/>
                  <a:pt x="3947550" y="4407486"/>
                </a:cubicBezTo>
                <a:close/>
                <a:moveTo>
                  <a:pt x="3790995" y="4407486"/>
                </a:moveTo>
                <a:cubicBezTo>
                  <a:pt x="3826707" y="4407486"/>
                  <a:pt x="3855661" y="4436438"/>
                  <a:pt x="3855661" y="4472152"/>
                </a:cubicBezTo>
                <a:cubicBezTo>
                  <a:pt x="3855661" y="4498938"/>
                  <a:pt x="3839375" y="4521920"/>
                  <a:pt x="3816166" y="4531736"/>
                </a:cubicBezTo>
                <a:lnTo>
                  <a:pt x="3791389" y="4536739"/>
                </a:lnTo>
                <a:lnTo>
                  <a:pt x="3816163" y="4541740"/>
                </a:lnTo>
                <a:cubicBezTo>
                  <a:pt x="3839372" y="4551557"/>
                  <a:pt x="3855657" y="4574539"/>
                  <a:pt x="3855657" y="4601324"/>
                </a:cubicBezTo>
                <a:cubicBezTo>
                  <a:pt x="3855657" y="4637038"/>
                  <a:pt x="3826705" y="4665990"/>
                  <a:pt x="3790992" y="4665990"/>
                </a:cubicBezTo>
                <a:cubicBezTo>
                  <a:pt x="3755276" y="4665990"/>
                  <a:pt x="3726324" y="4637038"/>
                  <a:pt x="3726324" y="4601324"/>
                </a:cubicBezTo>
                <a:cubicBezTo>
                  <a:pt x="3726324" y="4574539"/>
                  <a:pt x="3742609" y="4551557"/>
                  <a:pt x="3765820" y="4541740"/>
                </a:cubicBezTo>
                <a:lnTo>
                  <a:pt x="3790597" y="4536738"/>
                </a:lnTo>
                <a:lnTo>
                  <a:pt x="3765822" y="4531736"/>
                </a:lnTo>
                <a:cubicBezTo>
                  <a:pt x="3742611" y="4521920"/>
                  <a:pt x="3726327" y="4498938"/>
                  <a:pt x="3726327" y="4472152"/>
                </a:cubicBezTo>
                <a:cubicBezTo>
                  <a:pt x="3726327" y="4436438"/>
                  <a:pt x="3755279" y="4407486"/>
                  <a:pt x="3790995" y="4407486"/>
                </a:cubicBezTo>
                <a:close/>
                <a:moveTo>
                  <a:pt x="3481760" y="4407486"/>
                </a:moveTo>
                <a:cubicBezTo>
                  <a:pt x="3517474" y="4407486"/>
                  <a:pt x="3546426" y="4436438"/>
                  <a:pt x="3546426" y="4472152"/>
                </a:cubicBezTo>
                <a:cubicBezTo>
                  <a:pt x="3546426" y="4498938"/>
                  <a:pt x="3530141" y="4521920"/>
                  <a:pt x="3506929" y="4531736"/>
                </a:cubicBezTo>
                <a:lnTo>
                  <a:pt x="3482156" y="4536738"/>
                </a:lnTo>
                <a:lnTo>
                  <a:pt x="3506929" y="4541740"/>
                </a:lnTo>
                <a:cubicBezTo>
                  <a:pt x="3530139" y="4551557"/>
                  <a:pt x="3546426" y="4574539"/>
                  <a:pt x="3546426" y="4601324"/>
                </a:cubicBezTo>
                <a:cubicBezTo>
                  <a:pt x="3546426" y="4637038"/>
                  <a:pt x="3517474" y="4665990"/>
                  <a:pt x="3481760" y="4665990"/>
                </a:cubicBezTo>
                <a:cubicBezTo>
                  <a:pt x="3446048" y="4665990"/>
                  <a:pt x="3417095" y="4637038"/>
                  <a:pt x="3417095" y="4601324"/>
                </a:cubicBezTo>
                <a:cubicBezTo>
                  <a:pt x="3417095" y="4574539"/>
                  <a:pt x="3433381" y="4551557"/>
                  <a:pt x="3456591" y="4541740"/>
                </a:cubicBezTo>
                <a:lnTo>
                  <a:pt x="3481364" y="4536738"/>
                </a:lnTo>
                <a:lnTo>
                  <a:pt x="3456591" y="4531736"/>
                </a:lnTo>
                <a:cubicBezTo>
                  <a:pt x="3433381" y="4521920"/>
                  <a:pt x="3417096" y="4498938"/>
                  <a:pt x="3417096" y="4472152"/>
                </a:cubicBezTo>
                <a:cubicBezTo>
                  <a:pt x="3417096" y="4436438"/>
                  <a:pt x="3446048" y="4407486"/>
                  <a:pt x="3481760" y="4407486"/>
                </a:cubicBezTo>
                <a:close/>
                <a:moveTo>
                  <a:pt x="3172530" y="4407486"/>
                </a:moveTo>
                <a:cubicBezTo>
                  <a:pt x="3208246" y="4407486"/>
                  <a:pt x="3237196" y="4436438"/>
                  <a:pt x="3237196" y="4472152"/>
                </a:cubicBezTo>
                <a:cubicBezTo>
                  <a:pt x="3237196" y="4498938"/>
                  <a:pt x="3220910" y="4521920"/>
                  <a:pt x="3197701" y="4531736"/>
                </a:cubicBezTo>
                <a:lnTo>
                  <a:pt x="3172927" y="4536738"/>
                </a:lnTo>
                <a:lnTo>
                  <a:pt x="3197703" y="4541740"/>
                </a:lnTo>
                <a:cubicBezTo>
                  <a:pt x="3220910" y="4551557"/>
                  <a:pt x="3237198" y="4574539"/>
                  <a:pt x="3237198" y="4601324"/>
                </a:cubicBezTo>
                <a:cubicBezTo>
                  <a:pt x="3237198" y="4637038"/>
                  <a:pt x="3208247" y="4665990"/>
                  <a:pt x="3172531" y="4665990"/>
                </a:cubicBezTo>
                <a:cubicBezTo>
                  <a:pt x="3136815" y="4665990"/>
                  <a:pt x="3107862" y="4637038"/>
                  <a:pt x="3107862" y="4601324"/>
                </a:cubicBezTo>
                <a:cubicBezTo>
                  <a:pt x="3107862" y="4574539"/>
                  <a:pt x="3124149" y="4551557"/>
                  <a:pt x="3147359" y="4541740"/>
                </a:cubicBezTo>
                <a:lnTo>
                  <a:pt x="3172134" y="4536738"/>
                </a:lnTo>
                <a:lnTo>
                  <a:pt x="3147357" y="4531736"/>
                </a:lnTo>
                <a:cubicBezTo>
                  <a:pt x="3124146" y="4521920"/>
                  <a:pt x="3107859" y="4498938"/>
                  <a:pt x="3107859" y="4472152"/>
                </a:cubicBezTo>
                <a:cubicBezTo>
                  <a:pt x="3107859" y="4436438"/>
                  <a:pt x="3136813" y="4407486"/>
                  <a:pt x="3172530" y="4407486"/>
                </a:cubicBezTo>
                <a:close/>
                <a:moveTo>
                  <a:pt x="6585804" y="4407484"/>
                </a:moveTo>
                <a:cubicBezTo>
                  <a:pt x="6621518" y="4407484"/>
                  <a:pt x="6650470" y="4436436"/>
                  <a:pt x="6650470" y="4472150"/>
                </a:cubicBezTo>
                <a:cubicBezTo>
                  <a:pt x="6650470" y="4498936"/>
                  <a:pt x="6634185" y="4521918"/>
                  <a:pt x="6610975" y="4531734"/>
                </a:cubicBezTo>
                <a:lnTo>
                  <a:pt x="6586196" y="4536737"/>
                </a:lnTo>
                <a:lnTo>
                  <a:pt x="6610975" y="4541740"/>
                </a:lnTo>
                <a:cubicBezTo>
                  <a:pt x="6634185" y="4551557"/>
                  <a:pt x="6650470" y="4574539"/>
                  <a:pt x="6650470" y="4601324"/>
                </a:cubicBezTo>
                <a:cubicBezTo>
                  <a:pt x="6650470" y="4637038"/>
                  <a:pt x="6621518" y="4665990"/>
                  <a:pt x="6585804" y="4665990"/>
                </a:cubicBezTo>
                <a:cubicBezTo>
                  <a:pt x="6550090" y="4665990"/>
                  <a:pt x="6521138" y="4637038"/>
                  <a:pt x="6521138" y="4601324"/>
                </a:cubicBezTo>
                <a:cubicBezTo>
                  <a:pt x="6521138" y="4574539"/>
                  <a:pt x="6537424" y="4551557"/>
                  <a:pt x="6560633" y="4541740"/>
                </a:cubicBezTo>
                <a:lnTo>
                  <a:pt x="6585413" y="4536737"/>
                </a:lnTo>
                <a:lnTo>
                  <a:pt x="6560633" y="4531734"/>
                </a:lnTo>
                <a:cubicBezTo>
                  <a:pt x="6537424" y="4521918"/>
                  <a:pt x="6521138" y="4498936"/>
                  <a:pt x="6521138" y="4472150"/>
                </a:cubicBezTo>
                <a:cubicBezTo>
                  <a:pt x="6521138" y="4436436"/>
                  <a:pt x="6550090" y="4407484"/>
                  <a:pt x="6585804" y="4407484"/>
                </a:cubicBezTo>
                <a:close/>
                <a:moveTo>
                  <a:pt x="6119999" y="4407484"/>
                </a:moveTo>
                <a:cubicBezTo>
                  <a:pt x="6155713" y="4407484"/>
                  <a:pt x="6184665" y="4436436"/>
                  <a:pt x="6184665" y="4472150"/>
                </a:cubicBezTo>
                <a:cubicBezTo>
                  <a:pt x="6184665" y="4498936"/>
                  <a:pt x="6168380" y="4521918"/>
                  <a:pt x="6145170" y="4531734"/>
                </a:cubicBezTo>
                <a:lnTo>
                  <a:pt x="6120391" y="4536737"/>
                </a:lnTo>
                <a:lnTo>
                  <a:pt x="6145170" y="4541740"/>
                </a:lnTo>
                <a:cubicBezTo>
                  <a:pt x="6168380" y="4551557"/>
                  <a:pt x="6184665" y="4574539"/>
                  <a:pt x="6184665" y="4601324"/>
                </a:cubicBezTo>
                <a:cubicBezTo>
                  <a:pt x="6184665" y="4637038"/>
                  <a:pt x="6155713" y="4665990"/>
                  <a:pt x="6119999" y="4665990"/>
                </a:cubicBezTo>
                <a:cubicBezTo>
                  <a:pt x="6084285" y="4665990"/>
                  <a:pt x="6055333" y="4637038"/>
                  <a:pt x="6055333" y="4601324"/>
                </a:cubicBezTo>
                <a:cubicBezTo>
                  <a:pt x="6055333" y="4574539"/>
                  <a:pt x="6071619" y="4551557"/>
                  <a:pt x="6094828" y="4541740"/>
                </a:cubicBezTo>
                <a:lnTo>
                  <a:pt x="6119608" y="4536737"/>
                </a:lnTo>
                <a:lnTo>
                  <a:pt x="6094828" y="4531734"/>
                </a:lnTo>
                <a:cubicBezTo>
                  <a:pt x="6071619" y="4521918"/>
                  <a:pt x="6055333" y="4498936"/>
                  <a:pt x="6055333" y="4472150"/>
                </a:cubicBezTo>
                <a:cubicBezTo>
                  <a:pt x="6055333" y="4436436"/>
                  <a:pt x="6084285" y="4407484"/>
                  <a:pt x="6119999" y="4407484"/>
                </a:cubicBezTo>
                <a:close/>
                <a:moveTo>
                  <a:pt x="4100213" y="4407484"/>
                </a:moveTo>
                <a:cubicBezTo>
                  <a:pt x="4135925" y="4407484"/>
                  <a:pt x="4164879" y="4436436"/>
                  <a:pt x="4164879" y="4472150"/>
                </a:cubicBezTo>
                <a:cubicBezTo>
                  <a:pt x="4164879" y="4498936"/>
                  <a:pt x="4148592" y="4521918"/>
                  <a:pt x="4125383" y="4531734"/>
                </a:cubicBezTo>
                <a:lnTo>
                  <a:pt x="4100603" y="4536737"/>
                </a:lnTo>
                <a:lnTo>
                  <a:pt x="4125383" y="4541740"/>
                </a:lnTo>
                <a:cubicBezTo>
                  <a:pt x="4148592" y="4551557"/>
                  <a:pt x="4164876" y="4574539"/>
                  <a:pt x="4164876" y="4601324"/>
                </a:cubicBezTo>
                <a:cubicBezTo>
                  <a:pt x="4164876" y="4637038"/>
                  <a:pt x="4135925" y="4665990"/>
                  <a:pt x="4100211" y="4665990"/>
                </a:cubicBezTo>
                <a:cubicBezTo>
                  <a:pt x="4064497" y="4665990"/>
                  <a:pt x="4035548" y="4637038"/>
                  <a:pt x="4035548" y="4601324"/>
                </a:cubicBezTo>
                <a:cubicBezTo>
                  <a:pt x="4035548" y="4574539"/>
                  <a:pt x="4051831" y="4551557"/>
                  <a:pt x="4075037" y="4541740"/>
                </a:cubicBezTo>
                <a:lnTo>
                  <a:pt x="4099820" y="4536737"/>
                </a:lnTo>
                <a:lnTo>
                  <a:pt x="4075039" y="4531734"/>
                </a:lnTo>
                <a:cubicBezTo>
                  <a:pt x="4051831" y="4521918"/>
                  <a:pt x="4035548" y="4498936"/>
                  <a:pt x="4035548" y="4472150"/>
                </a:cubicBezTo>
                <a:cubicBezTo>
                  <a:pt x="4035548" y="4436436"/>
                  <a:pt x="4064497" y="4407484"/>
                  <a:pt x="4100213" y="4407484"/>
                </a:cubicBezTo>
                <a:close/>
                <a:moveTo>
                  <a:pt x="3630508" y="4407484"/>
                </a:moveTo>
                <a:cubicBezTo>
                  <a:pt x="3666222" y="4407484"/>
                  <a:pt x="3695174" y="4436436"/>
                  <a:pt x="3695174" y="4472150"/>
                </a:cubicBezTo>
                <a:cubicBezTo>
                  <a:pt x="3695174" y="4498936"/>
                  <a:pt x="3678888" y="4521918"/>
                  <a:pt x="3655679" y="4531734"/>
                </a:cubicBezTo>
                <a:lnTo>
                  <a:pt x="3630899" y="4536738"/>
                </a:lnTo>
                <a:lnTo>
                  <a:pt x="3655677" y="4541740"/>
                </a:lnTo>
                <a:cubicBezTo>
                  <a:pt x="3678886" y="4551557"/>
                  <a:pt x="3695171" y="4574539"/>
                  <a:pt x="3695171" y="4601324"/>
                </a:cubicBezTo>
                <a:cubicBezTo>
                  <a:pt x="3695171" y="4637038"/>
                  <a:pt x="3666219" y="4665990"/>
                  <a:pt x="3630506" y="4665990"/>
                </a:cubicBezTo>
                <a:cubicBezTo>
                  <a:pt x="3594790" y="4665990"/>
                  <a:pt x="3565838" y="4637038"/>
                  <a:pt x="3565838" y="4601324"/>
                </a:cubicBezTo>
                <a:cubicBezTo>
                  <a:pt x="3565838" y="4574539"/>
                  <a:pt x="3582123" y="4551557"/>
                  <a:pt x="3605333" y="4541740"/>
                </a:cubicBezTo>
                <a:lnTo>
                  <a:pt x="3630116" y="4536737"/>
                </a:lnTo>
                <a:lnTo>
                  <a:pt x="3605335" y="4531734"/>
                </a:lnTo>
                <a:cubicBezTo>
                  <a:pt x="3582125" y="4521918"/>
                  <a:pt x="3565841" y="4498936"/>
                  <a:pt x="3565841" y="4472150"/>
                </a:cubicBezTo>
                <a:cubicBezTo>
                  <a:pt x="3565841" y="4436436"/>
                  <a:pt x="3594791" y="4407484"/>
                  <a:pt x="3630508" y="4407484"/>
                </a:cubicBezTo>
                <a:close/>
                <a:moveTo>
                  <a:pt x="3321277" y="4407484"/>
                </a:moveTo>
                <a:cubicBezTo>
                  <a:pt x="3356991" y="4407484"/>
                  <a:pt x="3385940" y="4436436"/>
                  <a:pt x="3385940" y="4472150"/>
                </a:cubicBezTo>
                <a:cubicBezTo>
                  <a:pt x="3385940" y="4498936"/>
                  <a:pt x="3369657" y="4521918"/>
                  <a:pt x="3346447" y="4531734"/>
                </a:cubicBezTo>
                <a:lnTo>
                  <a:pt x="3321669" y="4536737"/>
                </a:lnTo>
                <a:lnTo>
                  <a:pt x="3346446" y="4541740"/>
                </a:lnTo>
                <a:cubicBezTo>
                  <a:pt x="3369657" y="4551557"/>
                  <a:pt x="3385940" y="4574539"/>
                  <a:pt x="3385940" y="4601324"/>
                </a:cubicBezTo>
                <a:cubicBezTo>
                  <a:pt x="3385940" y="4637038"/>
                  <a:pt x="3356991" y="4665990"/>
                  <a:pt x="3321277" y="4665990"/>
                </a:cubicBezTo>
                <a:cubicBezTo>
                  <a:pt x="3285561" y="4665990"/>
                  <a:pt x="3256612" y="4637038"/>
                  <a:pt x="3256612" y="4601324"/>
                </a:cubicBezTo>
                <a:cubicBezTo>
                  <a:pt x="3256612" y="4574539"/>
                  <a:pt x="3272897" y="4551557"/>
                  <a:pt x="3296104" y="4541740"/>
                </a:cubicBezTo>
                <a:lnTo>
                  <a:pt x="3320887" y="4536737"/>
                </a:lnTo>
                <a:lnTo>
                  <a:pt x="3296104" y="4531734"/>
                </a:lnTo>
                <a:cubicBezTo>
                  <a:pt x="3272897" y="4521918"/>
                  <a:pt x="3256612" y="4498936"/>
                  <a:pt x="3256612" y="4472150"/>
                </a:cubicBezTo>
                <a:cubicBezTo>
                  <a:pt x="3256612" y="4436436"/>
                  <a:pt x="3285561" y="4407484"/>
                  <a:pt x="3321277" y="4407484"/>
                </a:cubicBezTo>
                <a:close/>
                <a:moveTo>
                  <a:pt x="3012037" y="4407484"/>
                </a:moveTo>
                <a:cubicBezTo>
                  <a:pt x="3047750" y="4407484"/>
                  <a:pt x="3076704" y="4436436"/>
                  <a:pt x="3076704" y="4472150"/>
                </a:cubicBezTo>
                <a:cubicBezTo>
                  <a:pt x="3076704" y="4507864"/>
                  <a:pt x="3047750" y="4536816"/>
                  <a:pt x="3012037" y="4536816"/>
                </a:cubicBezTo>
                <a:cubicBezTo>
                  <a:pt x="2976324" y="4536816"/>
                  <a:pt x="2947373" y="4507864"/>
                  <a:pt x="2947373" y="4472150"/>
                </a:cubicBezTo>
                <a:cubicBezTo>
                  <a:pt x="2947373" y="4436436"/>
                  <a:pt x="2976324" y="4407484"/>
                  <a:pt x="3012037" y="4407484"/>
                </a:cubicBezTo>
                <a:close/>
                <a:moveTo>
                  <a:pt x="10159586" y="4266568"/>
                </a:moveTo>
                <a:cubicBezTo>
                  <a:pt x="10195300" y="4266568"/>
                  <a:pt x="10224252" y="4295520"/>
                  <a:pt x="10224252" y="4331234"/>
                </a:cubicBezTo>
                <a:cubicBezTo>
                  <a:pt x="10224252" y="4366948"/>
                  <a:pt x="10195300" y="4395900"/>
                  <a:pt x="10159586" y="4395900"/>
                </a:cubicBezTo>
                <a:cubicBezTo>
                  <a:pt x="10123872" y="4395900"/>
                  <a:pt x="10094920" y="4366948"/>
                  <a:pt x="10094920" y="4331234"/>
                </a:cubicBezTo>
                <a:cubicBezTo>
                  <a:pt x="10094920" y="4295520"/>
                  <a:pt x="10123872" y="4266568"/>
                  <a:pt x="10159586" y="4266568"/>
                </a:cubicBezTo>
                <a:close/>
                <a:moveTo>
                  <a:pt x="9227976" y="4266568"/>
                </a:moveTo>
                <a:cubicBezTo>
                  <a:pt x="9263690" y="4266568"/>
                  <a:pt x="9292642" y="4295520"/>
                  <a:pt x="9292642" y="4331234"/>
                </a:cubicBezTo>
                <a:cubicBezTo>
                  <a:pt x="9292642" y="4366948"/>
                  <a:pt x="9263690" y="4395900"/>
                  <a:pt x="9227976" y="4395900"/>
                </a:cubicBezTo>
                <a:cubicBezTo>
                  <a:pt x="9192262" y="4395900"/>
                  <a:pt x="9163310" y="4366948"/>
                  <a:pt x="9163310" y="4331234"/>
                </a:cubicBezTo>
                <a:cubicBezTo>
                  <a:pt x="9163310" y="4295520"/>
                  <a:pt x="9192262" y="4266568"/>
                  <a:pt x="9227976" y="4266568"/>
                </a:cubicBezTo>
                <a:close/>
                <a:moveTo>
                  <a:pt x="9075316" y="4266568"/>
                </a:moveTo>
                <a:cubicBezTo>
                  <a:pt x="9111030" y="4266568"/>
                  <a:pt x="9139982" y="4295520"/>
                  <a:pt x="9139982" y="4331234"/>
                </a:cubicBezTo>
                <a:cubicBezTo>
                  <a:pt x="9139982" y="4366948"/>
                  <a:pt x="9111030" y="4395900"/>
                  <a:pt x="9075316" y="4395900"/>
                </a:cubicBezTo>
                <a:cubicBezTo>
                  <a:pt x="9039602" y="4395900"/>
                  <a:pt x="9010650" y="4366948"/>
                  <a:pt x="9010650" y="4331234"/>
                </a:cubicBezTo>
                <a:cubicBezTo>
                  <a:pt x="9010650" y="4295520"/>
                  <a:pt x="9039602" y="4266568"/>
                  <a:pt x="9075316" y="4266568"/>
                </a:cubicBezTo>
                <a:close/>
                <a:moveTo>
                  <a:pt x="6742375" y="4266568"/>
                </a:moveTo>
                <a:cubicBezTo>
                  <a:pt x="6778089" y="4266568"/>
                  <a:pt x="6807041" y="4295520"/>
                  <a:pt x="6807041" y="4331234"/>
                </a:cubicBezTo>
                <a:cubicBezTo>
                  <a:pt x="6807041" y="4366948"/>
                  <a:pt x="6778089" y="4395900"/>
                  <a:pt x="6742375" y="4395900"/>
                </a:cubicBezTo>
                <a:cubicBezTo>
                  <a:pt x="6706661" y="4395900"/>
                  <a:pt x="6677709" y="4366948"/>
                  <a:pt x="6677709" y="4331234"/>
                </a:cubicBezTo>
                <a:cubicBezTo>
                  <a:pt x="6677709" y="4295520"/>
                  <a:pt x="6706661" y="4266568"/>
                  <a:pt x="6742375" y="4266568"/>
                </a:cubicBezTo>
                <a:close/>
                <a:moveTo>
                  <a:pt x="6585802" y="4266568"/>
                </a:moveTo>
                <a:cubicBezTo>
                  <a:pt x="6621516" y="4266568"/>
                  <a:pt x="6650468" y="4295520"/>
                  <a:pt x="6650468" y="4331234"/>
                </a:cubicBezTo>
                <a:cubicBezTo>
                  <a:pt x="6650468" y="4366948"/>
                  <a:pt x="6621516" y="4395900"/>
                  <a:pt x="6585802" y="4395900"/>
                </a:cubicBezTo>
                <a:cubicBezTo>
                  <a:pt x="6550088" y="4395900"/>
                  <a:pt x="6521136" y="4366948"/>
                  <a:pt x="6521136" y="4331234"/>
                </a:cubicBezTo>
                <a:cubicBezTo>
                  <a:pt x="6521136" y="4295520"/>
                  <a:pt x="6550088" y="4266568"/>
                  <a:pt x="6585802" y="4266568"/>
                </a:cubicBezTo>
                <a:close/>
                <a:moveTo>
                  <a:pt x="6429228" y="4266568"/>
                </a:moveTo>
                <a:cubicBezTo>
                  <a:pt x="6464942" y="4266568"/>
                  <a:pt x="6493894" y="4295520"/>
                  <a:pt x="6493894" y="4331234"/>
                </a:cubicBezTo>
                <a:cubicBezTo>
                  <a:pt x="6493894" y="4366948"/>
                  <a:pt x="6464942" y="4395900"/>
                  <a:pt x="6429228" y="4395900"/>
                </a:cubicBezTo>
                <a:cubicBezTo>
                  <a:pt x="6393514" y="4395900"/>
                  <a:pt x="6364562" y="4366948"/>
                  <a:pt x="6364562" y="4331234"/>
                </a:cubicBezTo>
                <a:cubicBezTo>
                  <a:pt x="6364562" y="4295520"/>
                  <a:pt x="6393514" y="4266568"/>
                  <a:pt x="6429228" y="4266568"/>
                </a:cubicBezTo>
                <a:close/>
                <a:moveTo>
                  <a:pt x="6276569" y="4266568"/>
                </a:moveTo>
                <a:cubicBezTo>
                  <a:pt x="6312283" y="4266568"/>
                  <a:pt x="6341235" y="4295520"/>
                  <a:pt x="6341235" y="4331234"/>
                </a:cubicBezTo>
                <a:cubicBezTo>
                  <a:pt x="6341235" y="4366948"/>
                  <a:pt x="6312283" y="4395900"/>
                  <a:pt x="6276569" y="4395900"/>
                </a:cubicBezTo>
                <a:cubicBezTo>
                  <a:pt x="6240855" y="4395900"/>
                  <a:pt x="6211903" y="4366948"/>
                  <a:pt x="6211903" y="4331234"/>
                </a:cubicBezTo>
                <a:cubicBezTo>
                  <a:pt x="6211903" y="4295520"/>
                  <a:pt x="6240855" y="4266568"/>
                  <a:pt x="6276569" y="4266568"/>
                </a:cubicBezTo>
                <a:close/>
                <a:moveTo>
                  <a:pt x="6119998" y="4266568"/>
                </a:moveTo>
                <a:cubicBezTo>
                  <a:pt x="6155712" y="4266568"/>
                  <a:pt x="6184664" y="4295520"/>
                  <a:pt x="6184664" y="4331234"/>
                </a:cubicBezTo>
                <a:cubicBezTo>
                  <a:pt x="6184664" y="4366948"/>
                  <a:pt x="6155712" y="4395900"/>
                  <a:pt x="6119998" y="4395900"/>
                </a:cubicBezTo>
                <a:cubicBezTo>
                  <a:pt x="6084284" y="4395900"/>
                  <a:pt x="6055332" y="4366948"/>
                  <a:pt x="6055332" y="4331234"/>
                </a:cubicBezTo>
                <a:cubicBezTo>
                  <a:pt x="6055332" y="4295520"/>
                  <a:pt x="6084284" y="4266568"/>
                  <a:pt x="6119998" y="4266568"/>
                </a:cubicBezTo>
                <a:close/>
                <a:moveTo>
                  <a:pt x="5967338" y="4266568"/>
                </a:moveTo>
                <a:cubicBezTo>
                  <a:pt x="6003052" y="4266568"/>
                  <a:pt x="6032004" y="4295520"/>
                  <a:pt x="6032004" y="4331234"/>
                </a:cubicBezTo>
                <a:cubicBezTo>
                  <a:pt x="6032004" y="4366948"/>
                  <a:pt x="6003052" y="4395900"/>
                  <a:pt x="5967338" y="4395900"/>
                </a:cubicBezTo>
                <a:cubicBezTo>
                  <a:pt x="5931624" y="4395900"/>
                  <a:pt x="5902672" y="4366948"/>
                  <a:pt x="5902672" y="4331234"/>
                </a:cubicBezTo>
                <a:cubicBezTo>
                  <a:pt x="5902672" y="4295520"/>
                  <a:pt x="5931624" y="4266568"/>
                  <a:pt x="5967338" y="4266568"/>
                </a:cubicBezTo>
                <a:close/>
                <a:moveTo>
                  <a:pt x="4256780" y="4266568"/>
                </a:moveTo>
                <a:cubicBezTo>
                  <a:pt x="4292500" y="4266568"/>
                  <a:pt x="4321446" y="4295520"/>
                  <a:pt x="4321446" y="4331234"/>
                </a:cubicBezTo>
                <a:cubicBezTo>
                  <a:pt x="4321446" y="4366948"/>
                  <a:pt x="4292500" y="4395900"/>
                  <a:pt x="4256780" y="4395900"/>
                </a:cubicBezTo>
                <a:cubicBezTo>
                  <a:pt x="4221067" y="4395900"/>
                  <a:pt x="4192113" y="4366948"/>
                  <a:pt x="4192113" y="4331234"/>
                </a:cubicBezTo>
                <a:cubicBezTo>
                  <a:pt x="4192113" y="4295520"/>
                  <a:pt x="4221067" y="4266568"/>
                  <a:pt x="4256780" y="4266568"/>
                </a:cubicBezTo>
                <a:close/>
                <a:moveTo>
                  <a:pt x="4100211" y="4266568"/>
                </a:moveTo>
                <a:cubicBezTo>
                  <a:pt x="4135921" y="4266568"/>
                  <a:pt x="4164879" y="4295520"/>
                  <a:pt x="4164879" y="4331234"/>
                </a:cubicBezTo>
                <a:cubicBezTo>
                  <a:pt x="4164879" y="4366948"/>
                  <a:pt x="4135921" y="4395900"/>
                  <a:pt x="4100211" y="4395900"/>
                </a:cubicBezTo>
                <a:cubicBezTo>
                  <a:pt x="4064497" y="4395900"/>
                  <a:pt x="4035548" y="4366948"/>
                  <a:pt x="4035548" y="4331234"/>
                </a:cubicBezTo>
                <a:cubicBezTo>
                  <a:pt x="4035548" y="4295520"/>
                  <a:pt x="4064497" y="4266568"/>
                  <a:pt x="4100211" y="4266568"/>
                </a:cubicBezTo>
                <a:close/>
                <a:moveTo>
                  <a:pt x="3947545" y="4266568"/>
                </a:moveTo>
                <a:cubicBezTo>
                  <a:pt x="3983262" y="4266568"/>
                  <a:pt x="4012217" y="4295520"/>
                  <a:pt x="4012217" y="4331234"/>
                </a:cubicBezTo>
                <a:cubicBezTo>
                  <a:pt x="4012217" y="4366948"/>
                  <a:pt x="3983262" y="4395900"/>
                  <a:pt x="3947545" y="4395900"/>
                </a:cubicBezTo>
                <a:cubicBezTo>
                  <a:pt x="3911853" y="4395900"/>
                  <a:pt x="3882903" y="4366948"/>
                  <a:pt x="3882903" y="4331234"/>
                </a:cubicBezTo>
                <a:cubicBezTo>
                  <a:pt x="3882903" y="4295520"/>
                  <a:pt x="3911853" y="4266568"/>
                  <a:pt x="3947545" y="4266568"/>
                </a:cubicBezTo>
                <a:close/>
                <a:moveTo>
                  <a:pt x="3790995" y="4266568"/>
                </a:moveTo>
                <a:cubicBezTo>
                  <a:pt x="3826709" y="4266568"/>
                  <a:pt x="3855662" y="4295520"/>
                  <a:pt x="3855662" y="4331234"/>
                </a:cubicBezTo>
                <a:cubicBezTo>
                  <a:pt x="3855662" y="4366948"/>
                  <a:pt x="3826709" y="4395900"/>
                  <a:pt x="3790995" y="4395900"/>
                </a:cubicBezTo>
                <a:cubicBezTo>
                  <a:pt x="3755281" y="4395900"/>
                  <a:pt x="3726328" y="4366948"/>
                  <a:pt x="3726328" y="4331234"/>
                </a:cubicBezTo>
                <a:cubicBezTo>
                  <a:pt x="3726328" y="4295520"/>
                  <a:pt x="3755281" y="4266568"/>
                  <a:pt x="3790995" y="4266568"/>
                </a:cubicBezTo>
                <a:close/>
                <a:moveTo>
                  <a:pt x="3630508" y="4266568"/>
                </a:moveTo>
                <a:cubicBezTo>
                  <a:pt x="3666222" y="4266568"/>
                  <a:pt x="3695175" y="4295520"/>
                  <a:pt x="3695175" y="4331234"/>
                </a:cubicBezTo>
                <a:cubicBezTo>
                  <a:pt x="3695175" y="4366948"/>
                  <a:pt x="3666222" y="4395900"/>
                  <a:pt x="3630508" y="4395900"/>
                </a:cubicBezTo>
                <a:cubicBezTo>
                  <a:pt x="3594791" y="4395900"/>
                  <a:pt x="3565840" y="4366948"/>
                  <a:pt x="3565840" y="4331234"/>
                </a:cubicBezTo>
                <a:cubicBezTo>
                  <a:pt x="3565840" y="4295520"/>
                  <a:pt x="3594791" y="4266568"/>
                  <a:pt x="3630508" y="4266568"/>
                </a:cubicBezTo>
                <a:close/>
                <a:moveTo>
                  <a:pt x="3481762" y="4266568"/>
                </a:moveTo>
                <a:cubicBezTo>
                  <a:pt x="3517475" y="4266568"/>
                  <a:pt x="3546428" y="4295520"/>
                  <a:pt x="3546428" y="4331234"/>
                </a:cubicBezTo>
                <a:cubicBezTo>
                  <a:pt x="3546428" y="4366948"/>
                  <a:pt x="3517475" y="4395900"/>
                  <a:pt x="3481762" y="4395900"/>
                </a:cubicBezTo>
                <a:cubicBezTo>
                  <a:pt x="3446050" y="4395900"/>
                  <a:pt x="3417099" y="4366948"/>
                  <a:pt x="3417099" y="4331234"/>
                </a:cubicBezTo>
                <a:cubicBezTo>
                  <a:pt x="3417099" y="4295520"/>
                  <a:pt x="3446050" y="4266568"/>
                  <a:pt x="3481762" y="4266568"/>
                </a:cubicBezTo>
                <a:close/>
                <a:moveTo>
                  <a:pt x="3321282" y="4266568"/>
                </a:moveTo>
                <a:cubicBezTo>
                  <a:pt x="3356996" y="4266568"/>
                  <a:pt x="3385942" y="4295520"/>
                  <a:pt x="3385942" y="4331234"/>
                </a:cubicBezTo>
                <a:cubicBezTo>
                  <a:pt x="3385942" y="4366948"/>
                  <a:pt x="3356996" y="4395900"/>
                  <a:pt x="3321282" y="4395900"/>
                </a:cubicBezTo>
                <a:cubicBezTo>
                  <a:pt x="3285566" y="4395900"/>
                  <a:pt x="3256617" y="4366948"/>
                  <a:pt x="3256617" y="4331234"/>
                </a:cubicBezTo>
                <a:cubicBezTo>
                  <a:pt x="3256617" y="4295520"/>
                  <a:pt x="3285566" y="4266568"/>
                  <a:pt x="3321282" y="4266568"/>
                </a:cubicBezTo>
                <a:close/>
                <a:moveTo>
                  <a:pt x="3172532" y="4266568"/>
                </a:moveTo>
                <a:cubicBezTo>
                  <a:pt x="3208248" y="4266568"/>
                  <a:pt x="3237198" y="4295520"/>
                  <a:pt x="3237198" y="4331234"/>
                </a:cubicBezTo>
                <a:cubicBezTo>
                  <a:pt x="3237198" y="4366948"/>
                  <a:pt x="3208248" y="4395900"/>
                  <a:pt x="3172532" y="4395900"/>
                </a:cubicBezTo>
                <a:cubicBezTo>
                  <a:pt x="3136816" y="4395900"/>
                  <a:pt x="3107863" y="4366948"/>
                  <a:pt x="3107863" y="4331234"/>
                </a:cubicBezTo>
                <a:cubicBezTo>
                  <a:pt x="3107863" y="4295520"/>
                  <a:pt x="3136816" y="4266568"/>
                  <a:pt x="3172532" y="4266568"/>
                </a:cubicBezTo>
                <a:close/>
                <a:moveTo>
                  <a:pt x="3012039" y="4266568"/>
                </a:moveTo>
                <a:cubicBezTo>
                  <a:pt x="3047752" y="4266568"/>
                  <a:pt x="3076706" y="4295520"/>
                  <a:pt x="3076706" y="4331234"/>
                </a:cubicBezTo>
                <a:cubicBezTo>
                  <a:pt x="3076706" y="4366948"/>
                  <a:pt x="3047752" y="4395900"/>
                  <a:pt x="3012039" y="4395900"/>
                </a:cubicBezTo>
                <a:cubicBezTo>
                  <a:pt x="2976326" y="4395900"/>
                  <a:pt x="2947375" y="4366948"/>
                  <a:pt x="2947375" y="4331234"/>
                </a:cubicBezTo>
                <a:cubicBezTo>
                  <a:pt x="2947375" y="4295520"/>
                  <a:pt x="2976326" y="4266568"/>
                  <a:pt x="3012039" y="4266568"/>
                </a:cubicBezTo>
                <a:close/>
                <a:moveTo>
                  <a:pt x="10159586" y="4113910"/>
                </a:moveTo>
                <a:cubicBezTo>
                  <a:pt x="10195300" y="4113910"/>
                  <a:pt x="10224252" y="4142862"/>
                  <a:pt x="10224252" y="4178576"/>
                </a:cubicBezTo>
                <a:cubicBezTo>
                  <a:pt x="10224252" y="4214290"/>
                  <a:pt x="10195300" y="4243242"/>
                  <a:pt x="10159586" y="4243242"/>
                </a:cubicBezTo>
                <a:cubicBezTo>
                  <a:pt x="10123872" y="4243242"/>
                  <a:pt x="10094920" y="4214290"/>
                  <a:pt x="10094920" y="4178576"/>
                </a:cubicBezTo>
                <a:cubicBezTo>
                  <a:pt x="10094920" y="4142862"/>
                  <a:pt x="10123872" y="4113910"/>
                  <a:pt x="10159586" y="4113910"/>
                </a:cubicBezTo>
                <a:close/>
                <a:moveTo>
                  <a:pt x="10003015" y="4113910"/>
                </a:moveTo>
                <a:cubicBezTo>
                  <a:pt x="10038729" y="4113910"/>
                  <a:pt x="10067681" y="4142862"/>
                  <a:pt x="10067681" y="4178576"/>
                </a:cubicBezTo>
                <a:cubicBezTo>
                  <a:pt x="10067681" y="4214290"/>
                  <a:pt x="10038729" y="4243242"/>
                  <a:pt x="10003015" y="4243242"/>
                </a:cubicBezTo>
                <a:cubicBezTo>
                  <a:pt x="9967301" y="4243242"/>
                  <a:pt x="9938349" y="4214290"/>
                  <a:pt x="9938349" y="4178576"/>
                </a:cubicBezTo>
                <a:cubicBezTo>
                  <a:pt x="9938349" y="4142862"/>
                  <a:pt x="9967301" y="4113910"/>
                  <a:pt x="10003015" y="4113910"/>
                </a:cubicBezTo>
                <a:close/>
                <a:moveTo>
                  <a:pt x="9850355" y="4113910"/>
                </a:moveTo>
                <a:cubicBezTo>
                  <a:pt x="9886069" y="4113910"/>
                  <a:pt x="9915021" y="4142862"/>
                  <a:pt x="9915021" y="4178576"/>
                </a:cubicBezTo>
                <a:cubicBezTo>
                  <a:pt x="9915021" y="4214290"/>
                  <a:pt x="9886069" y="4243242"/>
                  <a:pt x="9850355" y="4243242"/>
                </a:cubicBezTo>
                <a:cubicBezTo>
                  <a:pt x="9814641" y="4243242"/>
                  <a:pt x="9785689" y="4214290"/>
                  <a:pt x="9785689" y="4178576"/>
                </a:cubicBezTo>
                <a:cubicBezTo>
                  <a:pt x="9785689" y="4142862"/>
                  <a:pt x="9814641" y="4113910"/>
                  <a:pt x="9850355" y="4113910"/>
                </a:cubicBezTo>
                <a:close/>
                <a:moveTo>
                  <a:pt x="9384549" y="4113910"/>
                </a:moveTo>
                <a:cubicBezTo>
                  <a:pt x="9420263" y="4113910"/>
                  <a:pt x="9449215" y="4142862"/>
                  <a:pt x="9449215" y="4178576"/>
                </a:cubicBezTo>
                <a:cubicBezTo>
                  <a:pt x="9449215" y="4214290"/>
                  <a:pt x="9420263" y="4243242"/>
                  <a:pt x="9384549" y="4243242"/>
                </a:cubicBezTo>
                <a:cubicBezTo>
                  <a:pt x="9348835" y="4243242"/>
                  <a:pt x="9319883" y="4214290"/>
                  <a:pt x="9319883" y="4178576"/>
                </a:cubicBezTo>
                <a:cubicBezTo>
                  <a:pt x="9319883" y="4142862"/>
                  <a:pt x="9348835" y="4113910"/>
                  <a:pt x="9384549" y="4113910"/>
                </a:cubicBezTo>
                <a:close/>
                <a:moveTo>
                  <a:pt x="8914828" y="4113910"/>
                </a:moveTo>
                <a:cubicBezTo>
                  <a:pt x="8950542" y="4113910"/>
                  <a:pt x="8979494" y="4142862"/>
                  <a:pt x="8979494" y="4178576"/>
                </a:cubicBezTo>
                <a:cubicBezTo>
                  <a:pt x="8979494" y="4214290"/>
                  <a:pt x="8950542" y="4243242"/>
                  <a:pt x="8914828" y="4243242"/>
                </a:cubicBezTo>
                <a:cubicBezTo>
                  <a:pt x="8879114" y="4243242"/>
                  <a:pt x="8850162" y="4214290"/>
                  <a:pt x="8850162" y="4178576"/>
                </a:cubicBezTo>
                <a:cubicBezTo>
                  <a:pt x="8850162" y="4142862"/>
                  <a:pt x="8879114" y="4113910"/>
                  <a:pt x="8914828" y="4113910"/>
                </a:cubicBezTo>
                <a:close/>
                <a:moveTo>
                  <a:pt x="6742375" y="4113910"/>
                </a:moveTo>
                <a:cubicBezTo>
                  <a:pt x="6778089" y="4113910"/>
                  <a:pt x="6807041" y="4142862"/>
                  <a:pt x="6807041" y="4178576"/>
                </a:cubicBezTo>
                <a:cubicBezTo>
                  <a:pt x="6807041" y="4214290"/>
                  <a:pt x="6778089" y="4243242"/>
                  <a:pt x="6742375" y="4243242"/>
                </a:cubicBezTo>
                <a:cubicBezTo>
                  <a:pt x="6706661" y="4243242"/>
                  <a:pt x="6677709" y="4214290"/>
                  <a:pt x="6677709" y="4178576"/>
                </a:cubicBezTo>
                <a:cubicBezTo>
                  <a:pt x="6677709" y="4142862"/>
                  <a:pt x="6706661" y="4113910"/>
                  <a:pt x="6742375" y="4113910"/>
                </a:cubicBezTo>
                <a:close/>
                <a:moveTo>
                  <a:pt x="6585802" y="4113910"/>
                </a:moveTo>
                <a:cubicBezTo>
                  <a:pt x="6621516" y="4113910"/>
                  <a:pt x="6650468" y="4142862"/>
                  <a:pt x="6650468" y="4178576"/>
                </a:cubicBezTo>
                <a:cubicBezTo>
                  <a:pt x="6650468" y="4214290"/>
                  <a:pt x="6621516" y="4243242"/>
                  <a:pt x="6585802" y="4243242"/>
                </a:cubicBezTo>
                <a:cubicBezTo>
                  <a:pt x="6550088" y="4243242"/>
                  <a:pt x="6521136" y="4214290"/>
                  <a:pt x="6521136" y="4178576"/>
                </a:cubicBezTo>
                <a:cubicBezTo>
                  <a:pt x="6521136" y="4142862"/>
                  <a:pt x="6550088" y="4113910"/>
                  <a:pt x="6585802" y="4113910"/>
                </a:cubicBezTo>
                <a:close/>
                <a:moveTo>
                  <a:pt x="6429228" y="4113910"/>
                </a:moveTo>
                <a:cubicBezTo>
                  <a:pt x="6464942" y="4113910"/>
                  <a:pt x="6493894" y="4142862"/>
                  <a:pt x="6493894" y="4178576"/>
                </a:cubicBezTo>
                <a:cubicBezTo>
                  <a:pt x="6493894" y="4214290"/>
                  <a:pt x="6464942" y="4243242"/>
                  <a:pt x="6429228" y="4243242"/>
                </a:cubicBezTo>
                <a:cubicBezTo>
                  <a:pt x="6393514" y="4243242"/>
                  <a:pt x="6364562" y="4214290"/>
                  <a:pt x="6364562" y="4178576"/>
                </a:cubicBezTo>
                <a:cubicBezTo>
                  <a:pt x="6364562" y="4142862"/>
                  <a:pt x="6393514" y="4113910"/>
                  <a:pt x="6429228" y="4113910"/>
                </a:cubicBezTo>
                <a:close/>
                <a:moveTo>
                  <a:pt x="6276569" y="4113910"/>
                </a:moveTo>
                <a:cubicBezTo>
                  <a:pt x="6312283" y="4113910"/>
                  <a:pt x="6341235" y="4142862"/>
                  <a:pt x="6341235" y="4178576"/>
                </a:cubicBezTo>
                <a:cubicBezTo>
                  <a:pt x="6341235" y="4214290"/>
                  <a:pt x="6312283" y="4243242"/>
                  <a:pt x="6276569" y="4243242"/>
                </a:cubicBezTo>
                <a:cubicBezTo>
                  <a:pt x="6240855" y="4243242"/>
                  <a:pt x="6211903" y="4214290"/>
                  <a:pt x="6211903" y="4178576"/>
                </a:cubicBezTo>
                <a:cubicBezTo>
                  <a:pt x="6211903" y="4142862"/>
                  <a:pt x="6240855" y="4113910"/>
                  <a:pt x="6276569" y="4113910"/>
                </a:cubicBezTo>
                <a:close/>
                <a:moveTo>
                  <a:pt x="6119998" y="4113910"/>
                </a:moveTo>
                <a:cubicBezTo>
                  <a:pt x="6155712" y="4113910"/>
                  <a:pt x="6184664" y="4142862"/>
                  <a:pt x="6184664" y="4178576"/>
                </a:cubicBezTo>
                <a:cubicBezTo>
                  <a:pt x="6184664" y="4214290"/>
                  <a:pt x="6155712" y="4243242"/>
                  <a:pt x="6119998" y="4243242"/>
                </a:cubicBezTo>
                <a:cubicBezTo>
                  <a:pt x="6084284" y="4243242"/>
                  <a:pt x="6055332" y="4214290"/>
                  <a:pt x="6055332" y="4178576"/>
                </a:cubicBezTo>
                <a:cubicBezTo>
                  <a:pt x="6055332" y="4142862"/>
                  <a:pt x="6084284" y="4113910"/>
                  <a:pt x="6119998" y="4113910"/>
                </a:cubicBezTo>
                <a:close/>
                <a:moveTo>
                  <a:pt x="5967338" y="4113910"/>
                </a:moveTo>
                <a:cubicBezTo>
                  <a:pt x="6003052" y="4113910"/>
                  <a:pt x="6032004" y="4142862"/>
                  <a:pt x="6032004" y="4178576"/>
                </a:cubicBezTo>
                <a:cubicBezTo>
                  <a:pt x="6032004" y="4214290"/>
                  <a:pt x="6003052" y="4243242"/>
                  <a:pt x="5967338" y="4243242"/>
                </a:cubicBezTo>
                <a:cubicBezTo>
                  <a:pt x="5931624" y="4243242"/>
                  <a:pt x="5902672" y="4214290"/>
                  <a:pt x="5902672" y="4178576"/>
                </a:cubicBezTo>
                <a:cubicBezTo>
                  <a:pt x="5902672" y="4142862"/>
                  <a:pt x="5931624" y="4113910"/>
                  <a:pt x="5967338" y="4113910"/>
                </a:cubicBezTo>
                <a:close/>
                <a:moveTo>
                  <a:pt x="4256780" y="4113910"/>
                </a:moveTo>
                <a:cubicBezTo>
                  <a:pt x="4292500" y="4113910"/>
                  <a:pt x="4321446" y="4142862"/>
                  <a:pt x="4321446" y="4178576"/>
                </a:cubicBezTo>
                <a:cubicBezTo>
                  <a:pt x="4321446" y="4214290"/>
                  <a:pt x="4292500" y="4243242"/>
                  <a:pt x="4256780" y="4243242"/>
                </a:cubicBezTo>
                <a:cubicBezTo>
                  <a:pt x="4221067" y="4243242"/>
                  <a:pt x="4192119" y="4214290"/>
                  <a:pt x="4192119" y="4178576"/>
                </a:cubicBezTo>
                <a:cubicBezTo>
                  <a:pt x="4192119" y="4142862"/>
                  <a:pt x="4221067" y="4113910"/>
                  <a:pt x="4256780" y="4113910"/>
                </a:cubicBezTo>
                <a:close/>
                <a:moveTo>
                  <a:pt x="4100213" y="4113910"/>
                </a:moveTo>
                <a:cubicBezTo>
                  <a:pt x="4135925" y="4113910"/>
                  <a:pt x="4164879" y="4142862"/>
                  <a:pt x="4164879" y="4178576"/>
                </a:cubicBezTo>
                <a:cubicBezTo>
                  <a:pt x="4164879" y="4214290"/>
                  <a:pt x="4135925" y="4243242"/>
                  <a:pt x="4100213" y="4243242"/>
                </a:cubicBezTo>
                <a:cubicBezTo>
                  <a:pt x="4064497" y="4243242"/>
                  <a:pt x="4035548" y="4214290"/>
                  <a:pt x="4035548" y="4178576"/>
                </a:cubicBezTo>
                <a:cubicBezTo>
                  <a:pt x="4035548" y="4142862"/>
                  <a:pt x="4064497" y="4113910"/>
                  <a:pt x="4100213" y="4113910"/>
                </a:cubicBezTo>
                <a:close/>
                <a:moveTo>
                  <a:pt x="3947550" y="4113910"/>
                </a:moveTo>
                <a:cubicBezTo>
                  <a:pt x="3983265" y="4113910"/>
                  <a:pt x="4012217" y="4142862"/>
                  <a:pt x="4012217" y="4178576"/>
                </a:cubicBezTo>
                <a:cubicBezTo>
                  <a:pt x="4012217" y="4214290"/>
                  <a:pt x="3983265" y="4243242"/>
                  <a:pt x="3947550" y="4243242"/>
                </a:cubicBezTo>
                <a:cubicBezTo>
                  <a:pt x="3911857" y="4243242"/>
                  <a:pt x="3882906" y="4214290"/>
                  <a:pt x="3882906" y="4178576"/>
                </a:cubicBezTo>
                <a:cubicBezTo>
                  <a:pt x="3882906" y="4142862"/>
                  <a:pt x="3911857" y="4113910"/>
                  <a:pt x="3947550" y="4113910"/>
                </a:cubicBezTo>
                <a:close/>
                <a:moveTo>
                  <a:pt x="3791000" y="4113910"/>
                </a:moveTo>
                <a:cubicBezTo>
                  <a:pt x="3826712" y="4113910"/>
                  <a:pt x="3855665" y="4142862"/>
                  <a:pt x="3855665" y="4178576"/>
                </a:cubicBezTo>
                <a:cubicBezTo>
                  <a:pt x="3855665" y="4214290"/>
                  <a:pt x="3826712" y="4243242"/>
                  <a:pt x="3791000" y="4243242"/>
                </a:cubicBezTo>
                <a:cubicBezTo>
                  <a:pt x="3755284" y="4243242"/>
                  <a:pt x="3726332" y="4214290"/>
                  <a:pt x="3726332" y="4178576"/>
                </a:cubicBezTo>
                <a:cubicBezTo>
                  <a:pt x="3726332" y="4142862"/>
                  <a:pt x="3755284" y="4113910"/>
                  <a:pt x="3791000" y="4113910"/>
                </a:cubicBezTo>
                <a:close/>
                <a:moveTo>
                  <a:pt x="3630513" y="4113910"/>
                </a:moveTo>
                <a:cubicBezTo>
                  <a:pt x="3666226" y="4113910"/>
                  <a:pt x="3695178" y="4142862"/>
                  <a:pt x="3695178" y="4178576"/>
                </a:cubicBezTo>
                <a:cubicBezTo>
                  <a:pt x="3695178" y="4214290"/>
                  <a:pt x="3666226" y="4243242"/>
                  <a:pt x="3630513" y="4243242"/>
                </a:cubicBezTo>
                <a:cubicBezTo>
                  <a:pt x="3594796" y="4243242"/>
                  <a:pt x="3565843" y="4214290"/>
                  <a:pt x="3565843" y="4178576"/>
                </a:cubicBezTo>
                <a:cubicBezTo>
                  <a:pt x="3565843" y="4142862"/>
                  <a:pt x="3594796" y="4113910"/>
                  <a:pt x="3630513" y="4113910"/>
                </a:cubicBezTo>
                <a:close/>
                <a:moveTo>
                  <a:pt x="3481765" y="4113910"/>
                </a:moveTo>
                <a:cubicBezTo>
                  <a:pt x="3517478" y="4113910"/>
                  <a:pt x="3546432" y="4142862"/>
                  <a:pt x="3546432" y="4178576"/>
                </a:cubicBezTo>
                <a:cubicBezTo>
                  <a:pt x="3546432" y="4214290"/>
                  <a:pt x="3517478" y="4243242"/>
                  <a:pt x="3481765" y="4243242"/>
                </a:cubicBezTo>
                <a:cubicBezTo>
                  <a:pt x="3446054" y="4243242"/>
                  <a:pt x="3417102" y="4214290"/>
                  <a:pt x="3417102" y="4178576"/>
                </a:cubicBezTo>
                <a:cubicBezTo>
                  <a:pt x="3417102" y="4142862"/>
                  <a:pt x="3446054" y="4113910"/>
                  <a:pt x="3481765" y="4113910"/>
                </a:cubicBezTo>
                <a:close/>
                <a:moveTo>
                  <a:pt x="3321284" y="4113910"/>
                </a:moveTo>
                <a:cubicBezTo>
                  <a:pt x="3357000" y="4113910"/>
                  <a:pt x="3385944" y="4142862"/>
                  <a:pt x="3385944" y="4178576"/>
                </a:cubicBezTo>
                <a:cubicBezTo>
                  <a:pt x="3385944" y="4214290"/>
                  <a:pt x="3357000" y="4243242"/>
                  <a:pt x="3321284" y="4243242"/>
                </a:cubicBezTo>
                <a:cubicBezTo>
                  <a:pt x="3285568" y="4243242"/>
                  <a:pt x="3256621" y="4214290"/>
                  <a:pt x="3256621" y="4178576"/>
                </a:cubicBezTo>
                <a:cubicBezTo>
                  <a:pt x="3256621" y="4142862"/>
                  <a:pt x="3285568" y="4113910"/>
                  <a:pt x="3321284" y="4113910"/>
                </a:cubicBezTo>
                <a:close/>
                <a:moveTo>
                  <a:pt x="3172536" y="4113910"/>
                </a:moveTo>
                <a:cubicBezTo>
                  <a:pt x="3208251" y="4113910"/>
                  <a:pt x="3237201" y="4142862"/>
                  <a:pt x="3237201" y="4178576"/>
                </a:cubicBezTo>
                <a:cubicBezTo>
                  <a:pt x="3237201" y="4214290"/>
                  <a:pt x="3208251" y="4243242"/>
                  <a:pt x="3172536" y="4243242"/>
                </a:cubicBezTo>
                <a:cubicBezTo>
                  <a:pt x="3136820" y="4243242"/>
                  <a:pt x="3107865" y="4214290"/>
                  <a:pt x="3107865" y="4178576"/>
                </a:cubicBezTo>
                <a:cubicBezTo>
                  <a:pt x="3107865" y="4142862"/>
                  <a:pt x="3136820" y="4113910"/>
                  <a:pt x="3172536" y="4113910"/>
                </a:cubicBezTo>
                <a:close/>
                <a:moveTo>
                  <a:pt x="3012042" y="4113910"/>
                </a:moveTo>
                <a:cubicBezTo>
                  <a:pt x="3047754" y="4113910"/>
                  <a:pt x="3076709" y="4142862"/>
                  <a:pt x="3076709" y="4178576"/>
                </a:cubicBezTo>
                <a:cubicBezTo>
                  <a:pt x="3076709" y="4214290"/>
                  <a:pt x="3047754" y="4243242"/>
                  <a:pt x="3012042" y="4243242"/>
                </a:cubicBezTo>
                <a:cubicBezTo>
                  <a:pt x="2976329" y="4243242"/>
                  <a:pt x="2947378" y="4214290"/>
                  <a:pt x="2947378" y="4178576"/>
                </a:cubicBezTo>
                <a:cubicBezTo>
                  <a:pt x="2947378" y="4142862"/>
                  <a:pt x="2976329" y="4113910"/>
                  <a:pt x="3012042" y="4113910"/>
                </a:cubicBezTo>
                <a:close/>
                <a:moveTo>
                  <a:pt x="2855474" y="4113910"/>
                </a:moveTo>
                <a:cubicBezTo>
                  <a:pt x="2891188" y="4113910"/>
                  <a:pt x="2920138" y="4142862"/>
                  <a:pt x="2920138" y="4178576"/>
                </a:cubicBezTo>
                <a:cubicBezTo>
                  <a:pt x="2920138" y="4214290"/>
                  <a:pt x="2891188" y="4243242"/>
                  <a:pt x="2855474" y="4243242"/>
                </a:cubicBezTo>
                <a:cubicBezTo>
                  <a:pt x="2819762" y="4243242"/>
                  <a:pt x="2790811" y="4214290"/>
                  <a:pt x="2790811" y="4178576"/>
                </a:cubicBezTo>
                <a:cubicBezTo>
                  <a:pt x="2790811" y="4142862"/>
                  <a:pt x="2819762" y="4113910"/>
                  <a:pt x="2855474" y="4113910"/>
                </a:cubicBezTo>
                <a:close/>
                <a:moveTo>
                  <a:pt x="9384549" y="3972994"/>
                </a:moveTo>
                <a:cubicBezTo>
                  <a:pt x="9420263" y="3972994"/>
                  <a:pt x="9449215" y="4001946"/>
                  <a:pt x="9449215" y="4037660"/>
                </a:cubicBezTo>
                <a:cubicBezTo>
                  <a:pt x="9449215" y="4073374"/>
                  <a:pt x="9420263" y="4102326"/>
                  <a:pt x="9384549" y="4102326"/>
                </a:cubicBezTo>
                <a:cubicBezTo>
                  <a:pt x="9348835" y="4102326"/>
                  <a:pt x="9319883" y="4073374"/>
                  <a:pt x="9319883" y="4037660"/>
                </a:cubicBezTo>
                <a:cubicBezTo>
                  <a:pt x="9319883" y="4001946"/>
                  <a:pt x="9348835" y="3972994"/>
                  <a:pt x="9384549" y="3972994"/>
                </a:cubicBezTo>
                <a:close/>
                <a:moveTo>
                  <a:pt x="9227976" y="3972994"/>
                </a:moveTo>
                <a:cubicBezTo>
                  <a:pt x="9263690" y="3972994"/>
                  <a:pt x="9292642" y="4001946"/>
                  <a:pt x="9292642" y="4037660"/>
                </a:cubicBezTo>
                <a:cubicBezTo>
                  <a:pt x="9292642" y="4073374"/>
                  <a:pt x="9263690" y="4102326"/>
                  <a:pt x="9227976" y="4102326"/>
                </a:cubicBezTo>
                <a:cubicBezTo>
                  <a:pt x="9192262" y="4102326"/>
                  <a:pt x="9163310" y="4073374"/>
                  <a:pt x="9163310" y="4037660"/>
                </a:cubicBezTo>
                <a:cubicBezTo>
                  <a:pt x="9163310" y="4001946"/>
                  <a:pt x="9192262" y="3972994"/>
                  <a:pt x="9227976" y="3972994"/>
                </a:cubicBezTo>
                <a:close/>
                <a:moveTo>
                  <a:pt x="9075316" y="3972994"/>
                </a:moveTo>
                <a:cubicBezTo>
                  <a:pt x="9111030" y="3972994"/>
                  <a:pt x="9139982" y="4001946"/>
                  <a:pt x="9139982" y="4037660"/>
                </a:cubicBezTo>
                <a:cubicBezTo>
                  <a:pt x="9139982" y="4073374"/>
                  <a:pt x="9111030" y="4102326"/>
                  <a:pt x="9075316" y="4102326"/>
                </a:cubicBezTo>
                <a:cubicBezTo>
                  <a:pt x="9039602" y="4102326"/>
                  <a:pt x="9010650" y="4073374"/>
                  <a:pt x="9010650" y="4037660"/>
                </a:cubicBezTo>
                <a:cubicBezTo>
                  <a:pt x="9010650" y="4001946"/>
                  <a:pt x="9039602" y="3972994"/>
                  <a:pt x="9075316" y="3972994"/>
                </a:cubicBezTo>
                <a:close/>
                <a:moveTo>
                  <a:pt x="8766084" y="3972994"/>
                </a:moveTo>
                <a:cubicBezTo>
                  <a:pt x="8801798" y="3972994"/>
                  <a:pt x="8830750" y="4001946"/>
                  <a:pt x="8830750" y="4037660"/>
                </a:cubicBezTo>
                <a:cubicBezTo>
                  <a:pt x="8830750" y="4073374"/>
                  <a:pt x="8801798" y="4102326"/>
                  <a:pt x="8766084" y="4102326"/>
                </a:cubicBezTo>
                <a:cubicBezTo>
                  <a:pt x="8730370" y="4102326"/>
                  <a:pt x="8701418" y="4073374"/>
                  <a:pt x="8701418" y="4037660"/>
                </a:cubicBezTo>
                <a:cubicBezTo>
                  <a:pt x="8701418" y="4001946"/>
                  <a:pt x="8730370" y="3972994"/>
                  <a:pt x="8766084" y="3972994"/>
                </a:cubicBezTo>
                <a:close/>
                <a:moveTo>
                  <a:pt x="6895035" y="3972994"/>
                </a:moveTo>
                <a:cubicBezTo>
                  <a:pt x="6930749" y="3972994"/>
                  <a:pt x="6959701" y="4001946"/>
                  <a:pt x="6959701" y="4037660"/>
                </a:cubicBezTo>
                <a:cubicBezTo>
                  <a:pt x="6959701" y="4073374"/>
                  <a:pt x="6930749" y="4102326"/>
                  <a:pt x="6895035" y="4102326"/>
                </a:cubicBezTo>
                <a:cubicBezTo>
                  <a:pt x="6859321" y="4102326"/>
                  <a:pt x="6830369" y="4073374"/>
                  <a:pt x="6830369" y="4037660"/>
                </a:cubicBezTo>
                <a:cubicBezTo>
                  <a:pt x="6830369" y="4001946"/>
                  <a:pt x="6859321" y="3972994"/>
                  <a:pt x="6895035" y="3972994"/>
                </a:cubicBezTo>
                <a:close/>
                <a:moveTo>
                  <a:pt x="6742375" y="3972994"/>
                </a:moveTo>
                <a:cubicBezTo>
                  <a:pt x="6778089" y="3972994"/>
                  <a:pt x="6807041" y="4001946"/>
                  <a:pt x="6807041" y="4037660"/>
                </a:cubicBezTo>
                <a:cubicBezTo>
                  <a:pt x="6807041" y="4073374"/>
                  <a:pt x="6778089" y="4102326"/>
                  <a:pt x="6742375" y="4102326"/>
                </a:cubicBezTo>
                <a:cubicBezTo>
                  <a:pt x="6706661" y="4102326"/>
                  <a:pt x="6677709" y="4073374"/>
                  <a:pt x="6677709" y="4037660"/>
                </a:cubicBezTo>
                <a:cubicBezTo>
                  <a:pt x="6677709" y="4001946"/>
                  <a:pt x="6706661" y="3972994"/>
                  <a:pt x="6742375" y="3972994"/>
                </a:cubicBezTo>
                <a:close/>
                <a:moveTo>
                  <a:pt x="6585802" y="3972994"/>
                </a:moveTo>
                <a:cubicBezTo>
                  <a:pt x="6621516" y="3972994"/>
                  <a:pt x="6650468" y="4001946"/>
                  <a:pt x="6650468" y="4037660"/>
                </a:cubicBezTo>
                <a:cubicBezTo>
                  <a:pt x="6650468" y="4073374"/>
                  <a:pt x="6621516" y="4102326"/>
                  <a:pt x="6585802" y="4102326"/>
                </a:cubicBezTo>
                <a:cubicBezTo>
                  <a:pt x="6550088" y="4102326"/>
                  <a:pt x="6521136" y="4073374"/>
                  <a:pt x="6521136" y="4037660"/>
                </a:cubicBezTo>
                <a:cubicBezTo>
                  <a:pt x="6521136" y="4001946"/>
                  <a:pt x="6550088" y="3972994"/>
                  <a:pt x="6585802" y="3972994"/>
                </a:cubicBezTo>
                <a:close/>
                <a:moveTo>
                  <a:pt x="6429228" y="3972994"/>
                </a:moveTo>
                <a:cubicBezTo>
                  <a:pt x="6464942" y="3972994"/>
                  <a:pt x="6493894" y="4001946"/>
                  <a:pt x="6493894" y="4037660"/>
                </a:cubicBezTo>
                <a:cubicBezTo>
                  <a:pt x="6493894" y="4073374"/>
                  <a:pt x="6464942" y="4102326"/>
                  <a:pt x="6429228" y="4102326"/>
                </a:cubicBezTo>
                <a:cubicBezTo>
                  <a:pt x="6393514" y="4102326"/>
                  <a:pt x="6364562" y="4073374"/>
                  <a:pt x="6364562" y="4037660"/>
                </a:cubicBezTo>
                <a:cubicBezTo>
                  <a:pt x="6364562" y="4001946"/>
                  <a:pt x="6393514" y="3972994"/>
                  <a:pt x="6429228" y="3972994"/>
                </a:cubicBezTo>
                <a:close/>
                <a:moveTo>
                  <a:pt x="6276569" y="3972994"/>
                </a:moveTo>
                <a:cubicBezTo>
                  <a:pt x="6312283" y="3972994"/>
                  <a:pt x="6341235" y="4001946"/>
                  <a:pt x="6341235" y="4037660"/>
                </a:cubicBezTo>
                <a:cubicBezTo>
                  <a:pt x="6341235" y="4073374"/>
                  <a:pt x="6312283" y="4102326"/>
                  <a:pt x="6276569" y="4102326"/>
                </a:cubicBezTo>
                <a:cubicBezTo>
                  <a:pt x="6240855" y="4102326"/>
                  <a:pt x="6211903" y="4073374"/>
                  <a:pt x="6211903" y="4037660"/>
                </a:cubicBezTo>
                <a:cubicBezTo>
                  <a:pt x="6211903" y="4001946"/>
                  <a:pt x="6240855" y="3972994"/>
                  <a:pt x="6276569" y="3972994"/>
                </a:cubicBezTo>
                <a:close/>
                <a:moveTo>
                  <a:pt x="6119998" y="3972994"/>
                </a:moveTo>
                <a:cubicBezTo>
                  <a:pt x="6155712" y="3972994"/>
                  <a:pt x="6184664" y="4001946"/>
                  <a:pt x="6184664" y="4037660"/>
                </a:cubicBezTo>
                <a:cubicBezTo>
                  <a:pt x="6184664" y="4073374"/>
                  <a:pt x="6155712" y="4102326"/>
                  <a:pt x="6119998" y="4102326"/>
                </a:cubicBezTo>
                <a:cubicBezTo>
                  <a:pt x="6084284" y="4102326"/>
                  <a:pt x="6055332" y="4073374"/>
                  <a:pt x="6055332" y="4037660"/>
                </a:cubicBezTo>
                <a:cubicBezTo>
                  <a:pt x="6055332" y="4001946"/>
                  <a:pt x="6084284" y="3972994"/>
                  <a:pt x="6119998" y="3972994"/>
                </a:cubicBezTo>
                <a:close/>
                <a:moveTo>
                  <a:pt x="5967338" y="3972994"/>
                </a:moveTo>
                <a:cubicBezTo>
                  <a:pt x="6003052" y="3972994"/>
                  <a:pt x="6032004" y="4001946"/>
                  <a:pt x="6032004" y="4037660"/>
                </a:cubicBezTo>
                <a:cubicBezTo>
                  <a:pt x="6032004" y="4073374"/>
                  <a:pt x="6003052" y="4102326"/>
                  <a:pt x="5967338" y="4102326"/>
                </a:cubicBezTo>
                <a:cubicBezTo>
                  <a:pt x="5931624" y="4102326"/>
                  <a:pt x="5902672" y="4073374"/>
                  <a:pt x="5902672" y="4037660"/>
                </a:cubicBezTo>
                <a:cubicBezTo>
                  <a:pt x="5902672" y="4001946"/>
                  <a:pt x="5931624" y="3972994"/>
                  <a:pt x="5967338" y="3972994"/>
                </a:cubicBezTo>
                <a:close/>
                <a:moveTo>
                  <a:pt x="5810774" y="3972994"/>
                </a:moveTo>
                <a:cubicBezTo>
                  <a:pt x="5846479" y="3972994"/>
                  <a:pt x="5875431" y="4001946"/>
                  <a:pt x="5875431" y="4037660"/>
                </a:cubicBezTo>
                <a:cubicBezTo>
                  <a:pt x="5875431" y="4073374"/>
                  <a:pt x="5846479" y="4102326"/>
                  <a:pt x="5810774" y="4102326"/>
                </a:cubicBezTo>
                <a:cubicBezTo>
                  <a:pt x="5775057" y="4102326"/>
                  <a:pt x="5746103" y="4073374"/>
                  <a:pt x="5746103" y="4037660"/>
                </a:cubicBezTo>
                <a:cubicBezTo>
                  <a:pt x="5746103" y="4001946"/>
                  <a:pt x="5775057" y="3972994"/>
                  <a:pt x="5810774" y="3972994"/>
                </a:cubicBezTo>
                <a:close/>
                <a:moveTo>
                  <a:pt x="3947550" y="3972994"/>
                </a:moveTo>
                <a:cubicBezTo>
                  <a:pt x="3983265" y="3972994"/>
                  <a:pt x="4012219" y="4001946"/>
                  <a:pt x="4012219" y="4037660"/>
                </a:cubicBezTo>
                <a:cubicBezTo>
                  <a:pt x="4012219" y="4073374"/>
                  <a:pt x="3983265" y="4102326"/>
                  <a:pt x="3947550" y="4102326"/>
                </a:cubicBezTo>
                <a:cubicBezTo>
                  <a:pt x="3911861" y="4102326"/>
                  <a:pt x="3882909" y="4073374"/>
                  <a:pt x="3882909" y="4037660"/>
                </a:cubicBezTo>
                <a:cubicBezTo>
                  <a:pt x="3882909" y="4001946"/>
                  <a:pt x="3911861" y="3972994"/>
                  <a:pt x="3947550" y="3972994"/>
                </a:cubicBezTo>
                <a:close/>
                <a:moveTo>
                  <a:pt x="3791003" y="3972994"/>
                </a:moveTo>
                <a:cubicBezTo>
                  <a:pt x="3826715" y="3972994"/>
                  <a:pt x="3855668" y="4001946"/>
                  <a:pt x="3855668" y="4037660"/>
                </a:cubicBezTo>
                <a:cubicBezTo>
                  <a:pt x="3855668" y="4073374"/>
                  <a:pt x="3826715" y="4102326"/>
                  <a:pt x="3791003" y="4102326"/>
                </a:cubicBezTo>
                <a:cubicBezTo>
                  <a:pt x="3755287" y="4102326"/>
                  <a:pt x="3726335" y="4073374"/>
                  <a:pt x="3726335" y="4037660"/>
                </a:cubicBezTo>
                <a:cubicBezTo>
                  <a:pt x="3726335" y="4001946"/>
                  <a:pt x="3755287" y="3972994"/>
                  <a:pt x="3791003" y="3972994"/>
                </a:cubicBezTo>
                <a:close/>
                <a:moveTo>
                  <a:pt x="3630515" y="3972994"/>
                </a:moveTo>
                <a:cubicBezTo>
                  <a:pt x="3666227" y="3972994"/>
                  <a:pt x="3695180" y="4001946"/>
                  <a:pt x="3695180" y="4037660"/>
                </a:cubicBezTo>
                <a:cubicBezTo>
                  <a:pt x="3695180" y="4073374"/>
                  <a:pt x="3666227" y="4102326"/>
                  <a:pt x="3630515" y="4102326"/>
                </a:cubicBezTo>
                <a:cubicBezTo>
                  <a:pt x="3594798" y="4102326"/>
                  <a:pt x="3565845" y="4073374"/>
                  <a:pt x="3565845" y="4037660"/>
                </a:cubicBezTo>
                <a:cubicBezTo>
                  <a:pt x="3565845" y="4001946"/>
                  <a:pt x="3594798" y="3972994"/>
                  <a:pt x="3630515" y="3972994"/>
                </a:cubicBezTo>
                <a:close/>
                <a:moveTo>
                  <a:pt x="3481768" y="3972994"/>
                </a:moveTo>
                <a:cubicBezTo>
                  <a:pt x="3517481" y="3972994"/>
                  <a:pt x="3546437" y="4001946"/>
                  <a:pt x="3546437" y="4037660"/>
                </a:cubicBezTo>
                <a:cubicBezTo>
                  <a:pt x="3546437" y="4073374"/>
                  <a:pt x="3517481" y="4102326"/>
                  <a:pt x="3481768" y="4102326"/>
                </a:cubicBezTo>
                <a:cubicBezTo>
                  <a:pt x="3446056" y="4102326"/>
                  <a:pt x="3417106" y="4073374"/>
                  <a:pt x="3417106" y="4037660"/>
                </a:cubicBezTo>
                <a:cubicBezTo>
                  <a:pt x="3417106" y="4001946"/>
                  <a:pt x="3446056" y="3972994"/>
                  <a:pt x="3481768" y="3972994"/>
                </a:cubicBezTo>
                <a:close/>
                <a:moveTo>
                  <a:pt x="3321288" y="3972994"/>
                </a:moveTo>
                <a:cubicBezTo>
                  <a:pt x="3357002" y="3972994"/>
                  <a:pt x="3385949" y="4001946"/>
                  <a:pt x="3385949" y="4037660"/>
                </a:cubicBezTo>
                <a:cubicBezTo>
                  <a:pt x="3385949" y="4073374"/>
                  <a:pt x="3357002" y="4102326"/>
                  <a:pt x="3321288" y="4102326"/>
                </a:cubicBezTo>
                <a:cubicBezTo>
                  <a:pt x="3285571" y="4102326"/>
                  <a:pt x="3256626" y="4073374"/>
                  <a:pt x="3256626" y="4037660"/>
                </a:cubicBezTo>
                <a:cubicBezTo>
                  <a:pt x="3256626" y="4001946"/>
                  <a:pt x="3285571" y="3972994"/>
                  <a:pt x="3321288" y="3972994"/>
                </a:cubicBezTo>
                <a:close/>
                <a:moveTo>
                  <a:pt x="3172540" y="3972994"/>
                </a:moveTo>
                <a:cubicBezTo>
                  <a:pt x="3208257" y="3972994"/>
                  <a:pt x="3237208" y="4001946"/>
                  <a:pt x="3237208" y="4037660"/>
                </a:cubicBezTo>
                <a:cubicBezTo>
                  <a:pt x="3237208" y="4073374"/>
                  <a:pt x="3208257" y="4102326"/>
                  <a:pt x="3172540" y="4102326"/>
                </a:cubicBezTo>
                <a:cubicBezTo>
                  <a:pt x="3136823" y="4102326"/>
                  <a:pt x="3107868" y="4073374"/>
                  <a:pt x="3107868" y="4037660"/>
                </a:cubicBezTo>
                <a:cubicBezTo>
                  <a:pt x="3107868" y="4001946"/>
                  <a:pt x="3136823" y="3972994"/>
                  <a:pt x="3172540" y="3972994"/>
                </a:cubicBezTo>
                <a:close/>
                <a:moveTo>
                  <a:pt x="3012045" y="3972994"/>
                </a:moveTo>
                <a:cubicBezTo>
                  <a:pt x="3047758" y="3972994"/>
                  <a:pt x="3076711" y="4001946"/>
                  <a:pt x="3076711" y="4037660"/>
                </a:cubicBezTo>
                <a:cubicBezTo>
                  <a:pt x="3076711" y="4073374"/>
                  <a:pt x="3047758" y="4102326"/>
                  <a:pt x="3012045" y="4102326"/>
                </a:cubicBezTo>
                <a:cubicBezTo>
                  <a:pt x="2976332" y="4102326"/>
                  <a:pt x="2947381" y="4073374"/>
                  <a:pt x="2947381" y="4037660"/>
                </a:cubicBezTo>
                <a:cubicBezTo>
                  <a:pt x="2947381" y="4001946"/>
                  <a:pt x="2976332" y="3972994"/>
                  <a:pt x="3012045" y="3972994"/>
                </a:cubicBezTo>
                <a:close/>
                <a:moveTo>
                  <a:pt x="2855478" y="3972994"/>
                </a:moveTo>
                <a:cubicBezTo>
                  <a:pt x="2891191" y="3972994"/>
                  <a:pt x="2920141" y="4001946"/>
                  <a:pt x="2920141" y="4037660"/>
                </a:cubicBezTo>
                <a:cubicBezTo>
                  <a:pt x="2920141" y="4073374"/>
                  <a:pt x="2891191" y="4102326"/>
                  <a:pt x="2855478" y="4102326"/>
                </a:cubicBezTo>
                <a:cubicBezTo>
                  <a:pt x="2819765" y="4102326"/>
                  <a:pt x="2790815" y="4073374"/>
                  <a:pt x="2790815" y="4037660"/>
                </a:cubicBezTo>
                <a:cubicBezTo>
                  <a:pt x="2790815" y="4001946"/>
                  <a:pt x="2819765" y="3972994"/>
                  <a:pt x="2855478" y="3972994"/>
                </a:cubicBezTo>
                <a:close/>
                <a:moveTo>
                  <a:pt x="6742377" y="3835996"/>
                </a:moveTo>
                <a:cubicBezTo>
                  <a:pt x="6778091" y="3835996"/>
                  <a:pt x="6807043" y="3864948"/>
                  <a:pt x="6807043" y="3900662"/>
                </a:cubicBezTo>
                <a:cubicBezTo>
                  <a:pt x="6807043" y="3936376"/>
                  <a:pt x="6778091" y="3965328"/>
                  <a:pt x="6742377" y="3965328"/>
                </a:cubicBezTo>
                <a:cubicBezTo>
                  <a:pt x="6706663" y="3965328"/>
                  <a:pt x="6677711" y="3936376"/>
                  <a:pt x="6677711" y="3900662"/>
                </a:cubicBezTo>
                <a:cubicBezTo>
                  <a:pt x="6677711" y="3864948"/>
                  <a:pt x="6706663" y="3835996"/>
                  <a:pt x="6742377" y="3835996"/>
                </a:cubicBezTo>
                <a:close/>
                <a:moveTo>
                  <a:pt x="6585804" y="3835996"/>
                </a:moveTo>
                <a:cubicBezTo>
                  <a:pt x="6621518" y="3835996"/>
                  <a:pt x="6650470" y="3864948"/>
                  <a:pt x="6650470" y="3900662"/>
                </a:cubicBezTo>
                <a:cubicBezTo>
                  <a:pt x="6650470" y="3936376"/>
                  <a:pt x="6621518" y="3965328"/>
                  <a:pt x="6585804" y="3965328"/>
                </a:cubicBezTo>
                <a:cubicBezTo>
                  <a:pt x="6550090" y="3965328"/>
                  <a:pt x="6521138" y="3936376"/>
                  <a:pt x="6521138" y="3900662"/>
                </a:cubicBezTo>
                <a:cubicBezTo>
                  <a:pt x="6521138" y="3864948"/>
                  <a:pt x="6550090" y="3835996"/>
                  <a:pt x="6585804" y="3835996"/>
                </a:cubicBezTo>
                <a:close/>
                <a:moveTo>
                  <a:pt x="6429231" y="3835996"/>
                </a:moveTo>
                <a:cubicBezTo>
                  <a:pt x="6464945" y="3835996"/>
                  <a:pt x="6493897" y="3864948"/>
                  <a:pt x="6493897" y="3900662"/>
                </a:cubicBezTo>
                <a:cubicBezTo>
                  <a:pt x="6493897" y="3936376"/>
                  <a:pt x="6464945" y="3965328"/>
                  <a:pt x="6429231" y="3965328"/>
                </a:cubicBezTo>
                <a:cubicBezTo>
                  <a:pt x="6393517" y="3965328"/>
                  <a:pt x="6364565" y="3936376"/>
                  <a:pt x="6364565" y="3900662"/>
                </a:cubicBezTo>
                <a:cubicBezTo>
                  <a:pt x="6364565" y="3864948"/>
                  <a:pt x="6393517" y="3835996"/>
                  <a:pt x="6429231" y="3835996"/>
                </a:cubicBezTo>
                <a:close/>
                <a:moveTo>
                  <a:pt x="6276571" y="3835996"/>
                </a:moveTo>
                <a:cubicBezTo>
                  <a:pt x="6312285" y="3835996"/>
                  <a:pt x="6341237" y="3864948"/>
                  <a:pt x="6341237" y="3900662"/>
                </a:cubicBezTo>
                <a:cubicBezTo>
                  <a:pt x="6341237" y="3936376"/>
                  <a:pt x="6312285" y="3965328"/>
                  <a:pt x="6276571" y="3965328"/>
                </a:cubicBezTo>
                <a:cubicBezTo>
                  <a:pt x="6240857" y="3965328"/>
                  <a:pt x="6211905" y="3936376"/>
                  <a:pt x="6211905" y="3900662"/>
                </a:cubicBezTo>
                <a:cubicBezTo>
                  <a:pt x="6211905" y="3864948"/>
                  <a:pt x="6240857" y="3835996"/>
                  <a:pt x="6276571" y="3835996"/>
                </a:cubicBezTo>
                <a:close/>
                <a:moveTo>
                  <a:pt x="6119999" y="3835996"/>
                </a:moveTo>
                <a:cubicBezTo>
                  <a:pt x="6155713" y="3835996"/>
                  <a:pt x="6184665" y="3864948"/>
                  <a:pt x="6184665" y="3900662"/>
                </a:cubicBezTo>
                <a:cubicBezTo>
                  <a:pt x="6184665" y="3936376"/>
                  <a:pt x="6155713" y="3965328"/>
                  <a:pt x="6119999" y="3965328"/>
                </a:cubicBezTo>
                <a:cubicBezTo>
                  <a:pt x="6084285" y="3965328"/>
                  <a:pt x="6055333" y="3936376"/>
                  <a:pt x="6055333" y="3900662"/>
                </a:cubicBezTo>
                <a:cubicBezTo>
                  <a:pt x="6055333" y="3864948"/>
                  <a:pt x="6084285" y="3835996"/>
                  <a:pt x="6119999" y="3835996"/>
                </a:cubicBezTo>
                <a:close/>
                <a:moveTo>
                  <a:pt x="5967339" y="3835996"/>
                </a:moveTo>
                <a:cubicBezTo>
                  <a:pt x="6003053" y="3835996"/>
                  <a:pt x="6032005" y="3864948"/>
                  <a:pt x="6032005" y="3900662"/>
                </a:cubicBezTo>
                <a:cubicBezTo>
                  <a:pt x="6032005" y="3936376"/>
                  <a:pt x="6003053" y="3965328"/>
                  <a:pt x="5967339" y="3965328"/>
                </a:cubicBezTo>
                <a:cubicBezTo>
                  <a:pt x="5931625" y="3965328"/>
                  <a:pt x="5902673" y="3936376"/>
                  <a:pt x="5902673" y="3900662"/>
                </a:cubicBezTo>
                <a:cubicBezTo>
                  <a:pt x="5902673" y="3864948"/>
                  <a:pt x="5931625" y="3835996"/>
                  <a:pt x="5967339" y="3835996"/>
                </a:cubicBezTo>
                <a:close/>
                <a:moveTo>
                  <a:pt x="5810776" y="3835996"/>
                </a:moveTo>
                <a:cubicBezTo>
                  <a:pt x="5846480" y="3835996"/>
                  <a:pt x="5875432" y="3864948"/>
                  <a:pt x="5875432" y="3900662"/>
                </a:cubicBezTo>
                <a:cubicBezTo>
                  <a:pt x="5875432" y="3936376"/>
                  <a:pt x="5846480" y="3965328"/>
                  <a:pt x="5810776" y="3965328"/>
                </a:cubicBezTo>
                <a:cubicBezTo>
                  <a:pt x="5775059" y="3965328"/>
                  <a:pt x="5746106" y="3936376"/>
                  <a:pt x="5746106" y="3900662"/>
                </a:cubicBezTo>
                <a:cubicBezTo>
                  <a:pt x="5746106" y="3864948"/>
                  <a:pt x="5775059" y="3835996"/>
                  <a:pt x="5810776" y="3835996"/>
                </a:cubicBezTo>
                <a:close/>
                <a:moveTo>
                  <a:pt x="3791007" y="3835996"/>
                </a:moveTo>
                <a:cubicBezTo>
                  <a:pt x="3826720" y="3835996"/>
                  <a:pt x="3855672" y="3864948"/>
                  <a:pt x="3855672" y="3900662"/>
                </a:cubicBezTo>
                <a:cubicBezTo>
                  <a:pt x="3855672" y="3936376"/>
                  <a:pt x="3826720" y="3965328"/>
                  <a:pt x="3791007" y="3965328"/>
                </a:cubicBezTo>
                <a:cubicBezTo>
                  <a:pt x="3755291" y="3965328"/>
                  <a:pt x="3726338" y="3936376"/>
                  <a:pt x="3726338" y="3900662"/>
                </a:cubicBezTo>
                <a:cubicBezTo>
                  <a:pt x="3726338" y="3864948"/>
                  <a:pt x="3755291" y="3835996"/>
                  <a:pt x="3791007" y="3835996"/>
                </a:cubicBezTo>
                <a:close/>
                <a:moveTo>
                  <a:pt x="3630520" y="3835996"/>
                </a:moveTo>
                <a:cubicBezTo>
                  <a:pt x="3666234" y="3835996"/>
                  <a:pt x="3695188" y="3864948"/>
                  <a:pt x="3695188" y="3900662"/>
                </a:cubicBezTo>
                <a:cubicBezTo>
                  <a:pt x="3695188" y="3936376"/>
                  <a:pt x="3666234" y="3965328"/>
                  <a:pt x="3630520" y="3965328"/>
                </a:cubicBezTo>
                <a:cubicBezTo>
                  <a:pt x="3594803" y="3965328"/>
                  <a:pt x="3565851" y="3936376"/>
                  <a:pt x="3565851" y="3900662"/>
                </a:cubicBezTo>
                <a:cubicBezTo>
                  <a:pt x="3565851" y="3864948"/>
                  <a:pt x="3594803" y="3835996"/>
                  <a:pt x="3630520" y="3835996"/>
                </a:cubicBezTo>
                <a:close/>
                <a:moveTo>
                  <a:pt x="3481771" y="3835996"/>
                </a:moveTo>
                <a:cubicBezTo>
                  <a:pt x="3517485" y="3835996"/>
                  <a:pt x="3546439" y="3864948"/>
                  <a:pt x="3546439" y="3900662"/>
                </a:cubicBezTo>
                <a:cubicBezTo>
                  <a:pt x="3546439" y="3936376"/>
                  <a:pt x="3517485" y="3965328"/>
                  <a:pt x="3481771" y="3965328"/>
                </a:cubicBezTo>
                <a:cubicBezTo>
                  <a:pt x="3446060" y="3965328"/>
                  <a:pt x="3417108" y="3936376"/>
                  <a:pt x="3417108" y="3900662"/>
                </a:cubicBezTo>
                <a:cubicBezTo>
                  <a:pt x="3417108" y="3864948"/>
                  <a:pt x="3446060" y="3835996"/>
                  <a:pt x="3481771" y="3835996"/>
                </a:cubicBezTo>
                <a:close/>
                <a:moveTo>
                  <a:pt x="3321291" y="3835996"/>
                </a:moveTo>
                <a:cubicBezTo>
                  <a:pt x="3357003" y="3835996"/>
                  <a:pt x="3385951" y="3864948"/>
                  <a:pt x="3385951" y="3900662"/>
                </a:cubicBezTo>
                <a:cubicBezTo>
                  <a:pt x="3385951" y="3936376"/>
                  <a:pt x="3357003" y="3965328"/>
                  <a:pt x="3321291" y="3965328"/>
                </a:cubicBezTo>
                <a:cubicBezTo>
                  <a:pt x="3285576" y="3965328"/>
                  <a:pt x="3256626" y="3936376"/>
                  <a:pt x="3256626" y="3900662"/>
                </a:cubicBezTo>
                <a:cubicBezTo>
                  <a:pt x="3256626" y="3864948"/>
                  <a:pt x="3285576" y="3835996"/>
                  <a:pt x="3321291" y="3835996"/>
                </a:cubicBezTo>
                <a:close/>
                <a:moveTo>
                  <a:pt x="3172544" y="3835996"/>
                </a:moveTo>
                <a:cubicBezTo>
                  <a:pt x="3208260" y="3835996"/>
                  <a:pt x="3237212" y="3864948"/>
                  <a:pt x="3237212" y="3900662"/>
                </a:cubicBezTo>
                <a:cubicBezTo>
                  <a:pt x="3237212" y="3936376"/>
                  <a:pt x="3208260" y="3965328"/>
                  <a:pt x="3172544" y="3965328"/>
                </a:cubicBezTo>
                <a:cubicBezTo>
                  <a:pt x="3136828" y="3965328"/>
                  <a:pt x="3107874" y="3936376"/>
                  <a:pt x="3107874" y="3900662"/>
                </a:cubicBezTo>
                <a:cubicBezTo>
                  <a:pt x="3107874" y="3864948"/>
                  <a:pt x="3136828" y="3835996"/>
                  <a:pt x="3172544" y="3835996"/>
                </a:cubicBezTo>
                <a:close/>
                <a:moveTo>
                  <a:pt x="3012048" y="3835996"/>
                </a:moveTo>
                <a:cubicBezTo>
                  <a:pt x="3047760" y="3835996"/>
                  <a:pt x="3076714" y="3864948"/>
                  <a:pt x="3076714" y="3900662"/>
                </a:cubicBezTo>
                <a:cubicBezTo>
                  <a:pt x="3076714" y="3936376"/>
                  <a:pt x="3047760" y="3965328"/>
                  <a:pt x="3012048" y="3965328"/>
                </a:cubicBezTo>
                <a:cubicBezTo>
                  <a:pt x="2976335" y="3965328"/>
                  <a:pt x="2947384" y="3936376"/>
                  <a:pt x="2947384" y="3900662"/>
                </a:cubicBezTo>
                <a:cubicBezTo>
                  <a:pt x="2947384" y="3864948"/>
                  <a:pt x="2976335" y="3835996"/>
                  <a:pt x="3012048" y="3835996"/>
                </a:cubicBezTo>
                <a:close/>
                <a:moveTo>
                  <a:pt x="9227976" y="3835993"/>
                </a:moveTo>
                <a:cubicBezTo>
                  <a:pt x="9263690" y="3835993"/>
                  <a:pt x="9292642" y="3864945"/>
                  <a:pt x="9292642" y="3900659"/>
                </a:cubicBezTo>
                <a:cubicBezTo>
                  <a:pt x="9292642" y="3936373"/>
                  <a:pt x="9263690" y="3965325"/>
                  <a:pt x="9227976" y="3965325"/>
                </a:cubicBezTo>
                <a:cubicBezTo>
                  <a:pt x="9192262" y="3965325"/>
                  <a:pt x="9163310" y="3936373"/>
                  <a:pt x="9163310" y="3900659"/>
                </a:cubicBezTo>
                <a:cubicBezTo>
                  <a:pt x="9163310" y="3864945"/>
                  <a:pt x="9192262" y="3835993"/>
                  <a:pt x="9227976" y="3835993"/>
                </a:cubicBezTo>
                <a:close/>
                <a:moveTo>
                  <a:pt x="8766084" y="3835993"/>
                </a:moveTo>
                <a:cubicBezTo>
                  <a:pt x="8801798" y="3835993"/>
                  <a:pt x="8830750" y="3864945"/>
                  <a:pt x="8830750" y="3900659"/>
                </a:cubicBezTo>
                <a:cubicBezTo>
                  <a:pt x="8830750" y="3936373"/>
                  <a:pt x="8801798" y="3965325"/>
                  <a:pt x="8766084" y="3965325"/>
                </a:cubicBezTo>
                <a:cubicBezTo>
                  <a:pt x="8730370" y="3965325"/>
                  <a:pt x="8701418" y="3936373"/>
                  <a:pt x="8701418" y="3900659"/>
                </a:cubicBezTo>
                <a:cubicBezTo>
                  <a:pt x="8701418" y="3864945"/>
                  <a:pt x="8730370" y="3835993"/>
                  <a:pt x="8766084" y="3835993"/>
                </a:cubicBezTo>
                <a:close/>
                <a:moveTo>
                  <a:pt x="7055521" y="3835993"/>
                </a:moveTo>
                <a:cubicBezTo>
                  <a:pt x="7091235" y="3835993"/>
                  <a:pt x="7120187" y="3864945"/>
                  <a:pt x="7120187" y="3900659"/>
                </a:cubicBezTo>
                <a:cubicBezTo>
                  <a:pt x="7120187" y="3936373"/>
                  <a:pt x="7091235" y="3965325"/>
                  <a:pt x="7055521" y="3965325"/>
                </a:cubicBezTo>
                <a:cubicBezTo>
                  <a:pt x="7019807" y="3965325"/>
                  <a:pt x="6990855" y="3936373"/>
                  <a:pt x="6990855" y="3900659"/>
                </a:cubicBezTo>
                <a:cubicBezTo>
                  <a:pt x="6990855" y="3864945"/>
                  <a:pt x="7019807" y="3835993"/>
                  <a:pt x="7055521" y="3835993"/>
                </a:cubicBezTo>
                <a:close/>
                <a:moveTo>
                  <a:pt x="6895035" y="3835993"/>
                </a:moveTo>
                <a:cubicBezTo>
                  <a:pt x="6930749" y="3835993"/>
                  <a:pt x="6959701" y="3864945"/>
                  <a:pt x="6959701" y="3900659"/>
                </a:cubicBezTo>
                <a:cubicBezTo>
                  <a:pt x="6959701" y="3936373"/>
                  <a:pt x="6930749" y="3965325"/>
                  <a:pt x="6895035" y="3965325"/>
                </a:cubicBezTo>
                <a:cubicBezTo>
                  <a:pt x="6859321" y="3965325"/>
                  <a:pt x="6830369" y="3936373"/>
                  <a:pt x="6830369" y="3900659"/>
                </a:cubicBezTo>
                <a:cubicBezTo>
                  <a:pt x="6830369" y="3864945"/>
                  <a:pt x="6859321" y="3835993"/>
                  <a:pt x="6895035" y="3835993"/>
                </a:cubicBezTo>
                <a:close/>
                <a:moveTo>
                  <a:pt x="9541125" y="3695080"/>
                </a:moveTo>
                <a:cubicBezTo>
                  <a:pt x="9576839" y="3695080"/>
                  <a:pt x="9605791" y="3724032"/>
                  <a:pt x="9605791" y="3759746"/>
                </a:cubicBezTo>
                <a:cubicBezTo>
                  <a:pt x="9605791" y="3795460"/>
                  <a:pt x="9576839" y="3824412"/>
                  <a:pt x="9541125" y="3824412"/>
                </a:cubicBezTo>
                <a:cubicBezTo>
                  <a:pt x="9505411" y="3824412"/>
                  <a:pt x="9476459" y="3795460"/>
                  <a:pt x="9476459" y="3759746"/>
                </a:cubicBezTo>
                <a:cubicBezTo>
                  <a:pt x="9476459" y="3724032"/>
                  <a:pt x="9505411" y="3695080"/>
                  <a:pt x="9541125" y="3695080"/>
                </a:cubicBezTo>
                <a:close/>
                <a:moveTo>
                  <a:pt x="8766086" y="3695080"/>
                </a:moveTo>
                <a:cubicBezTo>
                  <a:pt x="8801800" y="3695080"/>
                  <a:pt x="8830752" y="3724032"/>
                  <a:pt x="8830752" y="3759746"/>
                </a:cubicBezTo>
                <a:cubicBezTo>
                  <a:pt x="8830752" y="3795460"/>
                  <a:pt x="8801800" y="3824412"/>
                  <a:pt x="8766086" y="3824412"/>
                </a:cubicBezTo>
                <a:cubicBezTo>
                  <a:pt x="8730372" y="3824412"/>
                  <a:pt x="8701420" y="3795460"/>
                  <a:pt x="8701420" y="3759746"/>
                </a:cubicBezTo>
                <a:cubicBezTo>
                  <a:pt x="8701420" y="3724032"/>
                  <a:pt x="8730372" y="3695080"/>
                  <a:pt x="8766086" y="3695080"/>
                </a:cubicBezTo>
                <a:close/>
                <a:moveTo>
                  <a:pt x="8139793" y="3695080"/>
                </a:moveTo>
                <a:cubicBezTo>
                  <a:pt x="8175507" y="3695080"/>
                  <a:pt x="8204459" y="3724032"/>
                  <a:pt x="8204459" y="3759746"/>
                </a:cubicBezTo>
                <a:cubicBezTo>
                  <a:pt x="8204459" y="3795460"/>
                  <a:pt x="8175507" y="3824412"/>
                  <a:pt x="8139793" y="3824412"/>
                </a:cubicBezTo>
                <a:cubicBezTo>
                  <a:pt x="8104079" y="3824412"/>
                  <a:pt x="8075127" y="3795460"/>
                  <a:pt x="8075127" y="3759746"/>
                </a:cubicBezTo>
                <a:cubicBezTo>
                  <a:pt x="8075127" y="3724032"/>
                  <a:pt x="8104079" y="3695080"/>
                  <a:pt x="8139793" y="3695080"/>
                </a:cubicBezTo>
                <a:close/>
                <a:moveTo>
                  <a:pt x="7055523" y="3695080"/>
                </a:moveTo>
                <a:cubicBezTo>
                  <a:pt x="7091237" y="3695080"/>
                  <a:pt x="7120189" y="3724032"/>
                  <a:pt x="7120189" y="3759746"/>
                </a:cubicBezTo>
                <a:cubicBezTo>
                  <a:pt x="7120189" y="3795460"/>
                  <a:pt x="7091237" y="3824412"/>
                  <a:pt x="7055523" y="3824412"/>
                </a:cubicBezTo>
                <a:cubicBezTo>
                  <a:pt x="7019809" y="3824412"/>
                  <a:pt x="6990857" y="3795460"/>
                  <a:pt x="6990857" y="3759746"/>
                </a:cubicBezTo>
                <a:cubicBezTo>
                  <a:pt x="6990857" y="3724032"/>
                  <a:pt x="7019809" y="3695080"/>
                  <a:pt x="7055523" y="3695080"/>
                </a:cubicBezTo>
                <a:close/>
                <a:moveTo>
                  <a:pt x="6895037" y="3695080"/>
                </a:moveTo>
                <a:cubicBezTo>
                  <a:pt x="6930751" y="3695080"/>
                  <a:pt x="6959703" y="3724032"/>
                  <a:pt x="6959703" y="3759746"/>
                </a:cubicBezTo>
                <a:cubicBezTo>
                  <a:pt x="6959703" y="3795460"/>
                  <a:pt x="6930751" y="3824412"/>
                  <a:pt x="6895037" y="3824412"/>
                </a:cubicBezTo>
                <a:cubicBezTo>
                  <a:pt x="6859323" y="3824412"/>
                  <a:pt x="6830371" y="3795460"/>
                  <a:pt x="6830371" y="3759746"/>
                </a:cubicBezTo>
                <a:cubicBezTo>
                  <a:pt x="6830371" y="3724032"/>
                  <a:pt x="6859323" y="3695080"/>
                  <a:pt x="6895037" y="3695080"/>
                </a:cubicBezTo>
                <a:close/>
                <a:moveTo>
                  <a:pt x="6742377" y="3695080"/>
                </a:moveTo>
                <a:cubicBezTo>
                  <a:pt x="6778091" y="3695080"/>
                  <a:pt x="6807043" y="3724032"/>
                  <a:pt x="6807043" y="3759746"/>
                </a:cubicBezTo>
                <a:cubicBezTo>
                  <a:pt x="6807043" y="3795460"/>
                  <a:pt x="6778091" y="3824412"/>
                  <a:pt x="6742377" y="3824412"/>
                </a:cubicBezTo>
                <a:cubicBezTo>
                  <a:pt x="6706663" y="3824412"/>
                  <a:pt x="6677711" y="3795460"/>
                  <a:pt x="6677711" y="3759746"/>
                </a:cubicBezTo>
                <a:cubicBezTo>
                  <a:pt x="6677711" y="3724032"/>
                  <a:pt x="6706663" y="3695080"/>
                  <a:pt x="6742377" y="3695080"/>
                </a:cubicBezTo>
                <a:close/>
                <a:moveTo>
                  <a:pt x="6585804" y="3695080"/>
                </a:moveTo>
                <a:cubicBezTo>
                  <a:pt x="6621518" y="3695080"/>
                  <a:pt x="6650470" y="3724032"/>
                  <a:pt x="6650470" y="3759746"/>
                </a:cubicBezTo>
                <a:cubicBezTo>
                  <a:pt x="6650470" y="3795460"/>
                  <a:pt x="6621518" y="3824412"/>
                  <a:pt x="6585804" y="3824412"/>
                </a:cubicBezTo>
                <a:cubicBezTo>
                  <a:pt x="6550090" y="3824412"/>
                  <a:pt x="6521138" y="3795460"/>
                  <a:pt x="6521138" y="3759746"/>
                </a:cubicBezTo>
                <a:cubicBezTo>
                  <a:pt x="6521138" y="3724032"/>
                  <a:pt x="6550090" y="3695080"/>
                  <a:pt x="6585804" y="3695080"/>
                </a:cubicBezTo>
                <a:close/>
                <a:moveTo>
                  <a:pt x="6429231" y="3695080"/>
                </a:moveTo>
                <a:cubicBezTo>
                  <a:pt x="6464945" y="3695080"/>
                  <a:pt x="6493897" y="3724032"/>
                  <a:pt x="6493897" y="3759746"/>
                </a:cubicBezTo>
                <a:cubicBezTo>
                  <a:pt x="6493897" y="3795460"/>
                  <a:pt x="6464945" y="3824412"/>
                  <a:pt x="6429231" y="3824412"/>
                </a:cubicBezTo>
                <a:cubicBezTo>
                  <a:pt x="6393517" y="3824412"/>
                  <a:pt x="6364565" y="3795460"/>
                  <a:pt x="6364565" y="3759746"/>
                </a:cubicBezTo>
                <a:cubicBezTo>
                  <a:pt x="6364565" y="3724032"/>
                  <a:pt x="6393517" y="3695080"/>
                  <a:pt x="6429231" y="3695080"/>
                </a:cubicBezTo>
                <a:close/>
                <a:moveTo>
                  <a:pt x="6276571" y="3695080"/>
                </a:moveTo>
                <a:cubicBezTo>
                  <a:pt x="6312285" y="3695080"/>
                  <a:pt x="6341237" y="3724032"/>
                  <a:pt x="6341237" y="3759746"/>
                </a:cubicBezTo>
                <a:cubicBezTo>
                  <a:pt x="6341237" y="3795460"/>
                  <a:pt x="6312285" y="3824412"/>
                  <a:pt x="6276571" y="3824412"/>
                </a:cubicBezTo>
                <a:cubicBezTo>
                  <a:pt x="6240857" y="3824412"/>
                  <a:pt x="6211905" y="3795460"/>
                  <a:pt x="6211905" y="3759746"/>
                </a:cubicBezTo>
                <a:cubicBezTo>
                  <a:pt x="6211905" y="3724032"/>
                  <a:pt x="6240857" y="3695080"/>
                  <a:pt x="6276571" y="3695080"/>
                </a:cubicBezTo>
                <a:close/>
                <a:moveTo>
                  <a:pt x="6119999" y="3695080"/>
                </a:moveTo>
                <a:cubicBezTo>
                  <a:pt x="6155713" y="3695080"/>
                  <a:pt x="6184665" y="3724032"/>
                  <a:pt x="6184665" y="3759746"/>
                </a:cubicBezTo>
                <a:cubicBezTo>
                  <a:pt x="6184665" y="3795460"/>
                  <a:pt x="6155713" y="3824412"/>
                  <a:pt x="6119999" y="3824412"/>
                </a:cubicBezTo>
                <a:cubicBezTo>
                  <a:pt x="6084285" y="3824412"/>
                  <a:pt x="6055333" y="3795460"/>
                  <a:pt x="6055333" y="3759746"/>
                </a:cubicBezTo>
                <a:cubicBezTo>
                  <a:pt x="6055333" y="3724032"/>
                  <a:pt x="6084285" y="3695080"/>
                  <a:pt x="6119999" y="3695080"/>
                </a:cubicBezTo>
                <a:close/>
                <a:moveTo>
                  <a:pt x="5967339" y="3695080"/>
                </a:moveTo>
                <a:cubicBezTo>
                  <a:pt x="6003053" y="3695080"/>
                  <a:pt x="6032005" y="3724032"/>
                  <a:pt x="6032005" y="3759746"/>
                </a:cubicBezTo>
                <a:cubicBezTo>
                  <a:pt x="6032005" y="3795460"/>
                  <a:pt x="6003053" y="3824412"/>
                  <a:pt x="5967339" y="3824412"/>
                </a:cubicBezTo>
                <a:cubicBezTo>
                  <a:pt x="5931625" y="3824412"/>
                  <a:pt x="5902673" y="3795460"/>
                  <a:pt x="5902673" y="3759746"/>
                </a:cubicBezTo>
                <a:cubicBezTo>
                  <a:pt x="5902673" y="3724032"/>
                  <a:pt x="5931625" y="3695080"/>
                  <a:pt x="5967339" y="3695080"/>
                </a:cubicBezTo>
                <a:close/>
                <a:moveTo>
                  <a:pt x="5810776" y="3695080"/>
                </a:moveTo>
                <a:cubicBezTo>
                  <a:pt x="5846480" y="3695080"/>
                  <a:pt x="5875432" y="3724032"/>
                  <a:pt x="5875432" y="3759746"/>
                </a:cubicBezTo>
                <a:cubicBezTo>
                  <a:pt x="5875432" y="3795460"/>
                  <a:pt x="5846480" y="3824412"/>
                  <a:pt x="5810776" y="3824412"/>
                </a:cubicBezTo>
                <a:cubicBezTo>
                  <a:pt x="5775059" y="3824412"/>
                  <a:pt x="5746106" y="3795460"/>
                  <a:pt x="5746106" y="3759746"/>
                </a:cubicBezTo>
                <a:cubicBezTo>
                  <a:pt x="5746106" y="3724032"/>
                  <a:pt x="5775059" y="3695080"/>
                  <a:pt x="5810776" y="3695080"/>
                </a:cubicBezTo>
                <a:close/>
                <a:moveTo>
                  <a:pt x="5658107" y="3695080"/>
                </a:moveTo>
                <a:cubicBezTo>
                  <a:pt x="5693821" y="3695080"/>
                  <a:pt x="5722777" y="3724032"/>
                  <a:pt x="5722777" y="3759746"/>
                </a:cubicBezTo>
                <a:cubicBezTo>
                  <a:pt x="5722777" y="3795460"/>
                  <a:pt x="5693821" y="3824412"/>
                  <a:pt x="5658107" y="3824412"/>
                </a:cubicBezTo>
                <a:cubicBezTo>
                  <a:pt x="5622394" y="3824412"/>
                  <a:pt x="5593441" y="3795460"/>
                  <a:pt x="5593441" y="3759746"/>
                </a:cubicBezTo>
                <a:cubicBezTo>
                  <a:pt x="5593441" y="3724032"/>
                  <a:pt x="5622394" y="3695080"/>
                  <a:pt x="5658107" y="3695080"/>
                </a:cubicBezTo>
                <a:close/>
                <a:moveTo>
                  <a:pt x="5501536" y="3695080"/>
                </a:moveTo>
                <a:cubicBezTo>
                  <a:pt x="5537249" y="3695080"/>
                  <a:pt x="5566201" y="3724032"/>
                  <a:pt x="5566201" y="3759746"/>
                </a:cubicBezTo>
                <a:cubicBezTo>
                  <a:pt x="5566201" y="3795460"/>
                  <a:pt x="5537249" y="3824412"/>
                  <a:pt x="5501536" y="3824412"/>
                </a:cubicBezTo>
                <a:cubicBezTo>
                  <a:pt x="5465823" y="3824412"/>
                  <a:pt x="5436873" y="3795460"/>
                  <a:pt x="5436873" y="3759746"/>
                </a:cubicBezTo>
                <a:cubicBezTo>
                  <a:pt x="5436873" y="3724032"/>
                  <a:pt x="5465823" y="3695080"/>
                  <a:pt x="5501536" y="3695080"/>
                </a:cubicBezTo>
                <a:close/>
                <a:moveTo>
                  <a:pt x="5348883" y="3695080"/>
                </a:moveTo>
                <a:cubicBezTo>
                  <a:pt x="5384594" y="3695080"/>
                  <a:pt x="5413547" y="3724032"/>
                  <a:pt x="5413547" y="3759746"/>
                </a:cubicBezTo>
                <a:cubicBezTo>
                  <a:pt x="5413547" y="3795460"/>
                  <a:pt x="5384594" y="3824412"/>
                  <a:pt x="5348883" y="3824412"/>
                </a:cubicBezTo>
                <a:cubicBezTo>
                  <a:pt x="5313171" y="3824412"/>
                  <a:pt x="5284218" y="3795460"/>
                  <a:pt x="5284218" y="3759746"/>
                </a:cubicBezTo>
                <a:cubicBezTo>
                  <a:pt x="5284218" y="3724032"/>
                  <a:pt x="5313171" y="3695080"/>
                  <a:pt x="5348883" y="3695080"/>
                </a:cubicBezTo>
                <a:close/>
                <a:moveTo>
                  <a:pt x="5192310" y="3695080"/>
                </a:moveTo>
                <a:cubicBezTo>
                  <a:pt x="5228024" y="3695080"/>
                  <a:pt x="5256975" y="3724032"/>
                  <a:pt x="5256975" y="3759746"/>
                </a:cubicBezTo>
                <a:cubicBezTo>
                  <a:pt x="5256975" y="3795460"/>
                  <a:pt x="5228024" y="3824412"/>
                  <a:pt x="5192310" y="3824412"/>
                </a:cubicBezTo>
                <a:cubicBezTo>
                  <a:pt x="5156597" y="3824412"/>
                  <a:pt x="5127644" y="3795460"/>
                  <a:pt x="5127644" y="3759746"/>
                </a:cubicBezTo>
                <a:cubicBezTo>
                  <a:pt x="5127644" y="3724032"/>
                  <a:pt x="5156597" y="3695080"/>
                  <a:pt x="5192310" y="3695080"/>
                </a:cubicBezTo>
                <a:close/>
                <a:moveTo>
                  <a:pt x="3481774" y="3695080"/>
                </a:moveTo>
                <a:cubicBezTo>
                  <a:pt x="3517488" y="3695080"/>
                  <a:pt x="3546442" y="3724032"/>
                  <a:pt x="3546442" y="3759746"/>
                </a:cubicBezTo>
                <a:cubicBezTo>
                  <a:pt x="3546442" y="3795460"/>
                  <a:pt x="3517488" y="3824412"/>
                  <a:pt x="3481774" y="3824412"/>
                </a:cubicBezTo>
                <a:cubicBezTo>
                  <a:pt x="3446063" y="3824412"/>
                  <a:pt x="3417111" y="3795460"/>
                  <a:pt x="3417111" y="3759746"/>
                </a:cubicBezTo>
                <a:cubicBezTo>
                  <a:pt x="3417111" y="3724032"/>
                  <a:pt x="3446063" y="3695080"/>
                  <a:pt x="3481774" y="3695080"/>
                </a:cubicBezTo>
                <a:close/>
                <a:moveTo>
                  <a:pt x="3321295" y="3695080"/>
                </a:moveTo>
                <a:cubicBezTo>
                  <a:pt x="3357010" y="3695080"/>
                  <a:pt x="3385953" y="3724032"/>
                  <a:pt x="3385953" y="3759746"/>
                </a:cubicBezTo>
                <a:cubicBezTo>
                  <a:pt x="3385953" y="3795460"/>
                  <a:pt x="3357010" y="3824412"/>
                  <a:pt x="3321295" y="3824412"/>
                </a:cubicBezTo>
                <a:cubicBezTo>
                  <a:pt x="3285578" y="3824412"/>
                  <a:pt x="3256628" y="3795460"/>
                  <a:pt x="3256628" y="3759746"/>
                </a:cubicBezTo>
                <a:cubicBezTo>
                  <a:pt x="3256628" y="3724032"/>
                  <a:pt x="3285578" y="3695080"/>
                  <a:pt x="3321295" y="3695080"/>
                </a:cubicBezTo>
                <a:close/>
                <a:moveTo>
                  <a:pt x="3172548" y="3695080"/>
                </a:moveTo>
                <a:cubicBezTo>
                  <a:pt x="3208265" y="3695080"/>
                  <a:pt x="3237218" y="3724032"/>
                  <a:pt x="3237218" y="3759746"/>
                </a:cubicBezTo>
                <a:cubicBezTo>
                  <a:pt x="3237218" y="3795460"/>
                  <a:pt x="3208265" y="3824412"/>
                  <a:pt x="3172548" y="3824412"/>
                </a:cubicBezTo>
                <a:cubicBezTo>
                  <a:pt x="3136831" y="3824412"/>
                  <a:pt x="3107876" y="3795460"/>
                  <a:pt x="3107876" y="3759746"/>
                </a:cubicBezTo>
                <a:cubicBezTo>
                  <a:pt x="3107876" y="3724032"/>
                  <a:pt x="3136831" y="3695080"/>
                  <a:pt x="3172548" y="3695080"/>
                </a:cubicBezTo>
                <a:close/>
                <a:moveTo>
                  <a:pt x="3012051" y="3695080"/>
                </a:moveTo>
                <a:cubicBezTo>
                  <a:pt x="3047763" y="3695080"/>
                  <a:pt x="3076718" y="3724032"/>
                  <a:pt x="3076718" y="3759746"/>
                </a:cubicBezTo>
                <a:cubicBezTo>
                  <a:pt x="3076718" y="3795460"/>
                  <a:pt x="3047763" y="3824412"/>
                  <a:pt x="3012051" y="3824412"/>
                </a:cubicBezTo>
                <a:cubicBezTo>
                  <a:pt x="2976338" y="3824412"/>
                  <a:pt x="2947387" y="3795460"/>
                  <a:pt x="2947387" y="3759746"/>
                </a:cubicBezTo>
                <a:cubicBezTo>
                  <a:pt x="2947387" y="3724032"/>
                  <a:pt x="2976338" y="3695080"/>
                  <a:pt x="3012051" y="3695080"/>
                </a:cubicBezTo>
                <a:close/>
                <a:moveTo>
                  <a:pt x="9541125" y="3550250"/>
                </a:moveTo>
                <a:cubicBezTo>
                  <a:pt x="9576839" y="3550250"/>
                  <a:pt x="9605791" y="3579202"/>
                  <a:pt x="9605791" y="3614916"/>
                </a:cubicBezTo>
                <a:cubicBezTo>
                  <a:pt x="9605791" y="3650630"/>
                  <a:pt x="9576839" y="3679582"/>
                  <a:pt x="9541125" y="3679582"/>
                </a:cubicBezTo>
                <a:cubicBezTo>
                  <a:pt x="9505411" y="3679582"/>
                  <a:pt x="9476459" y="3650630"/>
                  <a:pt x="9476459" y="3614916"/>
                </a:cubicBezTo>
                <a:cubicBezTo>
                  <a:pt x="9476459" y="3579202"/>
                  <a:pt x="9505411" y="3550250"/>
                  <a:pt x="9541125" y="3550250"/>
                </a:cubicBezTo>
                <a:close/>
                <a:moveTo>
                  <a:pt x="8914831" y="3550250"/>
                </a:moveTo>
                <a:cubicBezTo>
                  <a:pt x="8950545" y="3550250"/>
                  <a:pt x="8979497" y="3579202"/>
                  <a:pt x="8979497" y="3614916"/>
                </a:cubicBezTo>
                <a:cubicBezTo>
                  <a:pt x="8979497" y="3650630"/>
                  <a:pt x="8950545" y="3679582"/>
                  <a:pt x="8914831" y="3679582"/>
                </a:cubicBezTo>
                <a:cubicBezTo>
                  <a:pt x="8879117" y="3679582"/>
                  <a:pt x="8850165" y="3650630"/>
                  <a:pt x="8850165" y="3614916"/>
                </a:cubicBezTo>
                <a:cubicBezTo>
                  <a:pt x="8850165" y="3579202"/>
                  <a:pt x="8879117" y="3550250"/>
                  <a:pt x="8914831" y="3550250"/>
                </a:cubicBezTo>
                <a:close/>
                <a:moveTo>
                  <a:pt x="8766086" y="3550250"/>
                </a:moveTo>
                <a:cubicBezTo>
                  <a:pt x="8801800" y="3550250"/>
                  <a:pt x="8830752" y="3579202"/>
                  <a:pt x="8830752" y="3614916"/>
                </a:cubicBezTo>
                <a:cubicBezTo>
                  <a:pt x="8830752" y="3650630"/>
                  <a:pt x="8801800" y="3679582"/>
                  <a:pt x="8766086" y="3679582"/>
                </a:cubicBezTo>
                <a:cubicBezTo>
                  <a:pt x="8730372" y="3679582"/>
                  <a:pt x="8701420" y="3650630"/>
                  <a:pt x="8701420" y="3614916"/>
                </a:cubicBezTo>
                <a:cubicBezTo>
                  <a:pt x="8701420" y="3579202"/>
                  <a:pt x="8730372" y="3550250"/>
                  <a:pt x="8766086" y="3550250"/>
                </a:cubicBezTo>
                <a:close/>
                <a:moveTo>
                  <a:pt x="7987135" y="3550250"/>
                </a:moveTo>
                <a:cubicBezTo>
                  <a:pt x="8022849" y="3550250"/>
                  <a:pt x="8051801" y="3579202"/>
                  <a:pt x="8051801" y="3614916"/>
                </a:cubicBezTo>
                <a:cubicBezTo>
                  <a:pt x="8051801" y="3650630"/>
                  <a:pt x="8022849" y="3679582"/>
                  <a:pt x="7987135" y="3679582"/>
                </a:cubicBezTo>
                <a:cubicBezTo>
                  <a:pt x="7951421" y="3679582"/>
                  <a:pt x="7922469" y="3650630"/>
                  <a:pt x="7922469" y="3614916"/>
                </a:cubicBezTo>
                <a:cubicBezTo>
                  <a:pt x="7922469" y="3579202"/>
                  <a:pt x="7951421" y="3550250"/>
                  <a:pt x="7987135" y="3550250"/>
                </a:cubicBezTo>
                <a:close/>
                <a:moveTo>
                  <a:pt x="7212096" y="3550250"/>
                </a:moveTo>
                <a:cubicBezTo>
                  <a:pt x="7247810" y="3550250"/>
                  <a:pt x="7276762" y="3579202"/>
                  <a:pt x="7276762" y="3614916"/>
                </a:cubicBezTo>
                <a:cubicBezTo>
                  <a:pt x="7276762" y="3650630"/>
                  <a:pt x="7247810" y="3679582"/>
                  <a:pt x="7212096" y="3679582"/>
                </a:cubicBezTo>
                <a:cubicBezTo>
                  <a:pt x="7176382" y="3679582"/>
                  <a:pt x="7147430" y="3650630"/>
                  <a:pt x="7147430" y="3614916"/>
                </a:cubicBezTo>
                <a:cubicBezTo>
                  <a:pt x="7147430" y="3579202"/>
                  <a:pt x="7176382" y="3550250"/>
                  <a:pt x="7212096" y="3550250"/>
                </a:cubicBezTo>
                <a:close/>
                <a:moveTo>
                  <a:pt x="7055523" y="3550250"/>
                </a:moveTo>
                <a:cubicBezTo>
                  <a:pt x="7091237" y="3550250"/>
                  <a:pt x="7120189" y="3579202"/>
                  <a:pt x="7120189" y="3614916"/>
                </a:cubicBezTo>
                <a:cubicBezTo>
                  <a:pt x="7120189" y="3650630"/>
                  <a:pt x="7091237" y="3679582"/>
                  <a:pt x="7055523" y="3679582"/>
                </a:cubicBezTo>
                <a:cubicBezTo>
                  <a:pt x="7019809" y="3679582"/>
                  <a:pt x="6990857" y="3650630"/>
                  <a:pt x="6990857" y="3614916"/>
                </a:cubicBezTo>
                <a:cubicBezTo>
                  <a:pt x="6990857" y="3579202"/>
                  <a:pt x="7019809" y="3550250"/>
                  <a:pt x="7055523" y="3550250"/>
                </a:cubicBezTo>
                <a:close/>
                <a:moveTo>
                  <a:pt x="6895037" y="3550250"/>
                </a:moveTo>
                <a:cubicBezTo>
                  <a:pt x="6930751" y="3550250"/>
                  <a:pt x="6959703" y="3579202"/>
                  <a:pt x="6959703" y="3614916"/>
                </a:cubicBezTo>
                <a:cubicBezTo>
                  <a:pt x="6959703" y="3650630"/>
                  <a:pt x="6930751" y="3679582"/>
                  <a:pt x="6895037" y="3679582"/>
                </a:cubicBezTo>
                <a:cubicBezTo>
                  <a:pt x="6859323" y="3679582"/>
                  <a:pt x="6830371" y="3650630"/>
                  <a:pt x="6830371" y="3614916"/>
                </a:cubicBezTo>
                <a:cubicBezTo>
                  <a:pt x="6830371" y="3579202"/>
                  <a:pt x="6859323" y="3550250"/>
                  <a:pt x="6895037" y="3550250"/>
                </a:cubicBezTo>
                <a:close/>
                <a:moveTo>
                  <a:pt x="6742377" y="3550250"/>
                </a:moveTo>
                <a:cubicBezTo>
                  <a:pt x="6778091" y="3550250"/>
                  <a:pt x="6807043" y="3579202"/>
                  <a:pt x="6807043" y="3614916"/>
                </a:cubicBezTo>
                <a:cubicBezTo>
                  <a:pt x="6807043" y="3650630"/>
                  <a:pt x="6778091" y="3679582"/>
                  <a:pt x="6742377" y="3679582"/>
                </a:cubicBezTo>
                <a:cubicBezTo>
                  <a:pt x="6706663" y="3679582"/>
                  <a:pt x="6677711" y="3650630"/>
                  <a:pt x="6677711" y="3614916"/>
                </a:cubicBezTo>
                <a:cubicBezTo>
                  <a:pt x="6677711" y="3579202"/>
                  <a:pt x="6706663" y="3550250"/>
                  <a:pt x="6742377" y="3550250"/>
                </a:cubicBezTo>
                <a:close/>
                <a:moveTo>
                  <a:pt x="6585804" y="3550250"/>
                </a:moveTo>
                <a:cubicBezTo>
                  <a:pt x="6621518" y="3550250"/>
                  <a:pt x="6650470" y="3579202"/>
                  <a:pt x="6650470" y="3614916"/>
                </a:cubicBezTo>
                <a:cubicBezTo>
                  <a:pt x="6650470" y="3650630"/>
                  <a:pt x="6621518" y="3679582"/>
                  <a:pt x="6585804" y="3679582"/>
                </a:cubicBezTo>
                <a:cubicBezTo>
                  <a:pt x="6550090" y="3679582"/>
                  <a:pt x="6521138" y="3650630"/>
                  <a:pt x="6521138" y="3614916"/>
                </a:cubicBezTo>
                <a:cubicBezTo>
                  <a:pt x="6521138" y="3579202"/>
                  <a:pt x="6550090" y="3550250"/>
                  <a:pt x="6585804" y="3550250"/>
                </a:cubicBezTo>
                <a:close/>
                <a:moveTo>
                  <a:pt x="6429231" y="3550250"/>
                </a:moveTo>
                <a:cubicBezTo>
                  <a:pt x="6464945" y="3550250"/>
                  <a:pt x="6493897" y="3579202"/>
                  <a:pt x="6493897" y="3614916"/>
                </a:cubicBezTo>
                <a:cubicBezTo>
                  <a:pt x="6493897" y="3650630"/>
                  <a:pt x="6464945" y="3679582"/>
                  <a:pt x="6429231" y="3679582"/>
                </a:cubicBezTo>
                <a:cubicBezTo>
                  <a:pt x="6393517" y="3679582"/>
                  <a:pt x="6364565" y="3650630"/>
                  <a:pt x="6364565" y="3614916"/>
                </a:cubicBezTo>
                <a:cubicBezTo>
                  <a:pt x="6364565" y="3579202"/>
                  <a:pt x="6393517" y="3550250"/>
                  <a:pt x="6429231" y="3550250"/>
                </a:cubicBezTo>
                <a:close/>
                <a:moveTo>
                  <a:pt x="6276571" y="3550250"/>
                </a:moveTo>
                <a:cubicBezTo>
                  <a:pt x="6312285" y="3550250"/>
                  <a:pt x="6341237" y="3579202"/>
                  <a:pt x="6341237" y="3614916"/>
                </a:cubicBezTo>
                <a:cubicBezTo>
                  <a:pt x="6341237" y="3650630"/>
                  <a:pt x="6312285" y="3679582"/>
                  <a:pt x="6276571" y="3679582"/>
                </a:cubicBezTo>
                <a:cubicBezTo>
                  <a:pt x="6240857" y="3679582"/>
                  <a:pt x="6211905" y="3650630"/>
                  <a:pt x="6211905" y="3614916"/>
                </a:cubicBezTo>
                <a:cubicBezTo>
                  <a:pt x="6211905" y="3579202"/>
                  <a:pt x="6240857" y="3550250"/>
                  <a:pt x="6276571" y="3550250"/>
                </a:cubicBezTo>
                <a:close/>
                <a:moveTo>
                  <a:pt x="6119999" y="3550250"/>
                </a:moveTo>
                <a:cubicBezTo>
                  <a:pt x="6155713" y="3550250"/>
                  <a:pt x="6184665" y="3579202"/>
                  <a:pt x="6184665" y="3614916"/>
                </a:cubicBezTo>
                <a:cubicBezTo>
                  <a:pt x="6184665" y="3650630"/>
                  <a:pt x="6155713" y="3679582"/>
                  <a:pt x="6119999" y="3679582"/>
                </a:cubicBezTo>
                <a:cubicBezTo>
                  <a:pt x="6084285" y="3679582"/>
                  <a:pt x="6055333" y="3650630"/>
                  <a:pt x="6055333" y="3614916"/>
                </a:cubicBezTo>
                <a:cubicBezTo>
                  <a:pt x="6055333" y="3579202"/>
                  <a:pt x="6084285" y="3550250"/>
                  <a:pt x="6119999" y="3550250"/>
                </a:cubicBezTo>
                <a:close/>
                <a:moveTo>
                  <a:pt x="5967339" y="3550250"/>
                </a:moveTo>
                <a:cubicBezTo>
                  <a:pt x="6003053" y="3550250"/>
                  <a:pt x="6032005" y="3579202"/>
                  <a:pt x="6032005" y="3614916"/>
                </a:cubicBezTo>
                <a:cubicBezTo>
                  <a:pt x="6032005" y="3650630"/>
                  <a:pt x="6003053" y="3679582"/>
                  <a:pt x="5967339" y="3679582"/>
                </a:cubicBezTo>
                <a:cubicBezTo>
                  <a:pt x="5931625" y="3679582"/>
                  <a:pt x="5902673" y="3650630"/>
                  <a:pt x="5902673" y="3614916"/>
                </a:cubicBezTo>
                <a:cubicBezTo>
                  <a:pt x="5902673" y="3579202"/>
                  <a:pt x="5931625" y="3550250"/>
                  <a:pt x="5967339" y="3550250"/>
                </a:cubicBezTo>
                <a:close/>
                <a:moveTo>
                  <a:pt x="5810778" y="3550250"/>
                </a:moveTo>
                <a:cubicBezTo>
                  <a:pt x="5846480" y="3550250"/>
                  <a:pt x="5875432" y="3579202"/>
                  <a:pt x="5875432" y="3614916"/>
                </a:cubicBezTo>
                <a:cubicBezTo>
                  <a:pt x="5875432" y="3650630"/>
                  <a:pt x="5846480" y="3679582"/>
                  <a:pt x="5810778" y="3679582"/>
                </a:cubicBezTo>
                <a:cubicBezTo>
                  <a:pt x="5775061" y="3679582"/>
                  <a:pt x="5746106" y="3650630"/>
                  <a:pt x="5746106" y="3614916"/>
                </a:cubicBezTo>
                <a:cubicBezTo>
                  <a:pt x="5746106" y="3579202"/>
                  <a:pt x="5775061" y="3550250"/>
                  <a:pt x="5810778" y="3550250"/>
                </a:cubicBezTo>
                <a:close/>
                <a:moveTo>
                  <a:pt x="5658107" y="3550250"/>
                </a:moveTo>
                <a:cubicBezTo>
                  <a:pt x="5693821" y="3550250"/>
                  <a:pt x="5722777" y="3579202"/>
                  <a:pt x="5722777" y="3614916"/>
                </a:cubicBezTo>
                <a:cubicBezTo>
                  <a:pt x="5722777" y="3650630"/>
                  <a:pt x="5693821" y="3679582"/>
                  <a:pt x="5658107" y="3679582"/>
                </a:cubicBezTo>
                <a:cubicBezTo>
                  <a:pt x="5622394" y="3679582"/>
                  <a:pt x="5593441" y="3650630"/>
                  <a:pt x="5593441" y="3614916"/>
                </a:cubicBezTo>
                <a:cubicBezTo>
                  <a:pt x="5593441" y="3579202"/>
                  <a:pt x="5622394" y="3550250"/>
                  <a:pt x="5658107" y="3550250"/>
                </a:cubicBezTo>
                <a:close/>
                <a:moveTo>
                  <a:pt x="5501536" y="3550250"/>
                </a:moveTo>
                <a:cubicBezTo>
                  <a:pt x="5537252" y="3550250"/>
                  <a:pt x="5566201" y="3579202"/>
                  <a:pt x="5566201" y="3614916"/>
                </a:cubicBezTo>
                <a:cubicBezTo>
                  <a:pt x="5566201" y="3650630"/>
                  <a:pt x="5537252" y="3679582"/>
                  <a:pt x="5501536" y="3679582"/>
                </a:cubicBezTo>
                <a:cubicBezTo>
                  <a:pt x="5465823" y="3679582"/>
                  <a:pt x="5436874" y="3650630"/>
                  <a:pt x="5436874" y="3614916"/>
                </a:cubicBezTo>
                <a:cubicBezTo>
                  <a:pt x="5436874" y="3579202"/>
                  <a:pt x="5465823" y="3550250"/>
                  <a:pt x="5501536" y="3550250"/>
                </a:cubicBezTo>
                <a:close/>
                <a:moveTo>
                  <a:pt x="5348883" y="3550250"/>
                </a:moveTo>
                <a:cubicBezTo>
                  <a:pt x="5384594" y="3550250"/>
                  <a:pt x="5413547" y="3579202"/>
                  <a:pt x="5413547" y="3614916"/>
                </a:cubicBezTo>
                <a:cubicBezTo>
                  <a:pt x="5413547" y="3650630"/>
                  <a:pt x="5384594" y="3679582"/>
                  <a:pt x="5348883" y="3679582"/>
                </a:cubicBezTo>
                <a:cubicBezTo>
                  <a:pt x="5313171" y="3679582"/>
                  <a:pt x="5284218" y="3650630"/>
                  <a:pt x="5284218" y="3614916"/>
                </a:cubicBezTo>
                <a:cubicBezTo>
                  <a:pt x="5284218" y="3579202"/>
                  <a:pt x="5313171" y="3550250"/>
                  <a:pt x="5348883" y="3550250"/>
                </a:cubicBezTo>
                <a:close/>
                <a:moveTo>
                  <a:pt x="5192310" y="3550250"/>
                </a:moveTo>
                <a:cubicBezTo>
                  <a:pt x="5228026" y="3550250"/>
                  <a:pt x="5256975" y="3579202"/>
                  <a:pt x="5256975" y="3614916"/>
                </a:cubicBezTo>
                <a:cubicBezTo>
                  <a:pt x="5256975" y="3650630"/>
                  <a:pt x="5228026" y="3679582"/>
                  <a:pt x="5192310" y="3679582"/>
                </a:cubicBezTo>
                <a:cubicBezTo>
                  <a:pt x="5156599" y="3679582"/>
                  <a:pt x="5127644" y="3650630"/>
                  <a:pt x="5127644" y="3614916"/>
                </a:cubicBezTo>
                <a:cubicBezTo>
                  <a:pt x="5127644" y="3579202"/>
                  <a:pt x="5156599" y="3550250"/>
                  <a:pt x="5192310" y="3550250"/>
                </a:cubicBezTo>
                <a:close/>
                <a:moveTo>
                  <a:pt x="5031828" y="3550250"/>
                </a:moveTo>
                <a:cubicBezTo>
                  <a:pt x="5067537" y="3550250"/>
                  <a:pt x="5096490" y="3579202"/>
                  <a:pt x="5096490" y="3614916"/>
                </a:cubicBezTo>
                <a:cubicBezTo>
                  <a:pt x="5096490" y="3650630"/>
                  <a:pt x="5067537" y="3679582"/>
                  <a:pt x="5031828" y="3679582"/>
                </a:cubicBezTo>
                <a:cubicBezTo>
                  <a:pt x="4996106" y="3679582"/>
                  <a:pt x="4967158" y="3650630"/>
                  <a:pt x="4967158" y="3614916"/>
                </a:cubicBezTo>
                <a:cubicBezTo>
                  <a:pt x="4967158" y="3579202"/>
                  <a:pt x="4996106" y="3550250"/>
                  <a:pt x="5031828" y="3550250"/>
                </a:cubicBezTo>
                <a:close/>
                <a:moveTo>
                  <a:pt x="3321299" y="3550250"/>
                </a:moveTo>
                <a:cubicBezTo>
                  <a:pt x="3357010" y="3550250"/>
                  <a:pt x="3385957" y="3579202"/>
                  <a:pt x="3385957" y="3614916"/>
                </a:cubicBezTo>
                <a:cubicBezTo>
                  <a:pt x="3385957" y="3650630"/>
                  <a:pt x="3357010" y="3679582"/>
                  <a:pt x="3321299" y="3679582"/>
                </a:cubicBezTo>
                <a:cubicBezTo>
                  <a:pt x="3285583" y="3679582"/>
                  <a:pt x="3256631" y="3650630"/>
                  <a:pt x="3256631" y="3614916"/>
                </a:cubicBezTo>
                <a:cubicBezTo>
                  <a:pt x="3256631" y="3579202"/>
                  <a:pt x="3285583" y="3550250"/>
                  <a:pt x="3321299" y="3550250"/>
                </a:cubicBezTo>
                <a:close/>
                <a:moveTo>
                  <a:pt x="3172552" y="3550250"/>
                </a:moveTo>
                <a:cubicBezTo>
                  <a:pt x="3208268" y="3550250"/>
                  <a:pt x="3237221" y="3579202"/>
                  <a:pt x="3237221" y="3614916"/>
                </a:cubicBezTo>
                <a:cubicBezTo>
                  <a:pt x="3237221" y="3650630"/>
                  <a:pt x="3208268" y="3679582"/>
                  <a:pt x="3172552" y="3679582"/>
                </a:cubicBezTo>
                <a:cubicBezTo>
                  <a:pt x="3136834" y="3679582"/>
                  <a:pt x="3107879" y="3650630"/>
                  <a:pt x="3107879" y="3614916"/>
                </a:cubicBezTo>
                <a:cubicBezTo>
                  <a:pt x="3107879" y="3579202"/>
                  <a:pt x="3136834" y="3550250"/>
                  <a:pt x="3172552" y="3550250"/>
                </a:cubicBezTo>
                <a:close/>
                <a:moveTo>
                  <a:pt x="3012054" y="3550250"/>
                </a:moveTo>
                <a:cubicBezTo>
                  <a:pt x="3047766" y="3550250"/>
                  <a:pt x="3076721" y="3579202"/>
                  <a:pt x="3076721" y="3614916"/>
                </a:cubicBezTo>
                <a:cubicBezTo>
                  <a:pt x="3076721" y="3650630"/>
                  <a:pt x="3047766" y="3679582"/>
                  <a:pt x="3012054" y="3679582"/>
                </a:cubicBezTo>
                <a:cubicBezTo>
                  <a:pt x="2976341" y="3679582"/>
                  <a:pt x="2947391" y="3650630"/>
                  <a:pt x="2947391" y="3614916"/>
                </a:cubicBezTo>
                <a:cubicBezTo>
                  <a:pt x="2947391" y="3579202"/>
                  <a:pt x="2976341" y="3550250"/>
                  <a:pt x="3012054" y="3550250"/>
                </a:cubicBezTo>
                <a:close/>
                <a:moveTo>
                  <a:pt x="2855489" y="3550250"/>
                </a:moveTo>
                <a:cubicBezTo>
                  <a:pt x="2891200" y="3550250"/>
                  <a:pt x="2920151" y="3579202"/>
                  <a:pt x="2920151" y="3614916"/>
                </a:cubicBezTo>
                <a:cubicBezTo>
                  <a:pt x="2920151" y="3650630"/>
                  <a:pt x="2891200" y="3679582"/>
                  <a:pt x="2855489" y="3679582"/>
                </a:cubicBezTo>
                <a:cubicBezTo>
                  <a:pt x="2819776" y="3679582"/>
                  <a:pt x="2790826" y="3650630"/>
                  <a:pt x="2790826" y="3614916"/>
                </a:cubicBezTo>
                <a:cubicBezTo>
                  <a:pt x="2790826" y="3579202"/>
                  <a:pt x="2819776" y="3550250"/>
                  <a:pt x="2855489" y="3550250"/>
                </a:cubicBezTo>
                <a:close/>
                <a:moveTo>
                  <a:pt x="2698923" y="3550250"/>
                </a:moveTo>
                <a:cubicBezTo>
                  <a:pt x="2734636" y="3550250"/>
                  <a:pt x="2763586" y="3579202"/>
                  <a:pt x="2763586" y="3614916"/>
                </a:cubicBezTo>
                <a:cubicBezTo>
                  <a:pt x="2763586" y="3650630"/>
                  <a:pt x="2734636" y="3679582"/>
                  <a:pt x="2698923" y="3679582"/>
                </a:cubicBezTo>
                <a:cubicBezTo>
                  <a:pt x="2663212" y="3679582"/>
                  <a:pt x="2634261" y="3650630"/>
                  <a:pt x="2634261" y="3614916"/>
                </a:cubicBezTo>
                <a:cubicBezTo>
                  <a:pt x="2634261" y="3579202"/>
                  <a:pt x="2663212" y="3550250"/>
                  <a:pt x="2698923" y="3550250"/>
                </a:cubicBezTo>
                <a:close/>
                <a:moveTo>
                  <a:pt x="9541125" y="3401506"/>
                </a:moveTo>
                <a:cubicBezTo>
                  <a:pt x="9576839" y="3401506"/>
                  <a:pt x="9605791" y="3430458"/>
                  <a:pt x="9605791" y="3466172"/>
                </a:cubicBezTo>
                <a:cubicBezTo>
                  <a:pt x="9605791" y="3501886"/>
                  <a:pt x="9576839" y="3530838"/>
                  <a:pt x="9541125" y="3530838"/>
                </a:cubicBezTo>
                <a:cubicBezTo>
                  <a:pt x="9505411" y="3530838"/>
                  <a:pt x="9476459" y="3501886"/>
                  <a:pt x="9476459" y="3466172"/>
                </a:cubicBezTo>
                <a:cubicBezTo>
                  <a:pt x="9476459" y="3430458"/>
                  <a:pt x="9505411" y="3401506"/>
                  <a:pt x="9541125" y="3401506"/>
                </a:cubicBezTo>
                <a:close/>
                <a:moveTo>
                  <a:pt x="8914831" y="3401506"/>
                </a:moveTo>
                <a:cubicBezTo>
                  <a:pt x="8950545" y="3401506"/>
                  <a:pt x="8979497" y="3430458"/>
                  <a:pt x="8979497" y="3466172"/>
                </a:cubicBezTo>
                <a:cubicBezTo>
                  <a:pt x="8979497" y="3501886"/>
                  <a:pt x="8950545" y="3530838"/>
                  <a:pt x="8914831" y="3530838"/>
                </a:cubicBezTo>
                <a:cubicBezTo>
                  <a:pt x="8879117" y="3530838"/>
                  <a:pt x="8850165" y="3501886"/>
                  <a:pt x="8850165" y="3466172"/>
                </a:cubicBezTo>
                <a:cubicBezTo>
                  <a:pt x="8850165" y="3430458"/>
                  <a:pt x="8879117" y="3401506"/>
                  <a:pt x="8914831" y="3401506"/>
                </a:cubicBezTo>
                <a:close/>
                <a:moveTo>
                  <a:pt x="8766086" y="3401506"/>
                </a:moveTo>
                <a:cubicBezTo>
                  <a:pt x="8801800" y="3401506"/>
                  <a:pt x="8830752" y="3430458"/>
                  <a:pt x="8830752" y="3466172"/>
                </a:cubicBezTo>
                <a:cubicBezTo>
                  <a:pt x="8830752" y="3501886"/>
                  <a:pt x="8801800" y="3530838"/>
                  <a:pt x="8766086" y="3530838"/>
                </a:cubicBezTo>
                <a:cubicBezTo>
                  <a:pt x="8730372" y="3530838"/>
                  <a:pt x="8701420" y="3501886"/>
                  <a:pt x="8701420" y="3466172"/>
                </a:cubicBezTo>
                <a:cubicBezTo>
                  <a:pt x="8701420" y="3430458"/>
                  <a:pt x="8730372" y="3401506"/>
                  <a:pt x="8766086" y="3401506"/>
                </a:cubicBezTo>
                <a:close/>
                <a:moveTo>
                  <a:pt x="8139793" y="3401506"/>
                </a:moveTo>
                <a:cubicBezTo>
                  <a:pt x="8175507" y="3401506"/>
                  <a:pt x="8204459" y="3430458"/>
                  <a:pt x="8204459" y="3466172"/>
                </a:cubicBezTo>
                <a:cubicBezTo>
                  <a:pt x="8204459" y="3501886"/>
                  <a:pt x="8175507" y="3530838"/>
                  <a:pt x="8139793" y="3530838"/>
                </a:cubicBezTo>
                <a:cubicBezTo>
                  <a:pt x="8104079" y="3530838"/>
                  <a:pt x="8075127" y="3501886"/>
                  <a:pt x="8075127" y="3466172"/>
                </a:cubicBezTo>
                <a:cubicBezTo>
                  <a:pt x="8075127" y="3430458"/>
                  <a:pt x="8104079" y="3401506"/>
                  <a:pt x="8139793" y="3401506"/>
                </a:cubicBezTo>
                <a:close/>
                <a:moveTo>
                  <a:pt x="7987135" y="3401506"/>
                </a:moveTo>
                <a:cubicBezTo>
                  <a:pt x="8022849" y="3401506"/>
                  <a:pt x="8051801" y="3430458"/>
                  <a:pt x="8051801" y="3466172"/>
                </a:cubicBezTo>
                <a:cubicBezTo>
                  <a:pt x="8051801" y="3501886"/>
                  <a:pt x="8022849" y="3530838"/>
                  <a:pt x="7987135" y="3530838"/>
                </a:cubicBezTo>
                <a:cubicBezTo>
                  <a:pt x="7951421" y="3530838"/>
                  <a:pt x="7922469" y="3501886"/>
                  <a:pt x="7922469" y="3466172"/>
                </a:cubicBezTo>
                <a:cubicBezTo>
                  <a:pt x="7922469" y="3430458"/>
                  <a:pt x="7951421" y="3401506"/>
                  <a:pt x="7987135" y="3401506"/>
                </a:cubicBezTo>
                <a:close/>
                <a:moveTo>
                  <a:pt x="6742377" y="3401506"/>
                </a:moveTo>
                <a:cubicBezTo>
                  <a:pt x="6778091" y="3401506"/>
                  <a:pt x="6807043" y="3430458"/>
                  <a:pt x="6807043" y="3466172"/>
                </a:cubicBezTo>
                <a:cubicBezTo>
                  <a:pt x="6807043" y="3501886"/>
                  <a:pt x="6778091" y="3530838"/>
                  <a:pt x="6742377" y="3530838"/>
                </a:cubicBezTo>
                <a:cubicBezTo>
                  <a:pt x="6706663" y="3530838"/>
                  <a:pt x="6677711" y="3501886"/>
                  <a:pt x="6677711" y="3466172"/>
                </a:cubicBezTo>
                <a:cubicBezTo>
                  <a:pt x="6677711" y="3430458"/>
                  <a:pt x="6706663" y="3401506"/>
                  <a:pt x="6742377" y="3401506"/>
                </a:cubicBezTo>
                <a:close/>
                <a:moveTo>
                  <a:pt x="6585804" y="3401506"/>
                </a:moveTo>
                <a:cubicBezTo>
                  <a:pt x="6621518" y="3401506"/>
                  <a:pt x="6650470" y="3430458"/>
                  <a:pt x="6650470" y="3466172"/>
                </a:cubicBezTo>
                <a:cubicBezTo>
                  <a:pt x="6650470" y="3501886"/>
                  <a:pt x="6621518" y="3530838"/>
                  <a:pt x="6585804" y="3530838"/>
                </a:cubicBezTo>
                <a:cubicBezTo>
                  <a:pt x="6550090" y="3530838"/>
                  <a:pt x="6521138" y="3501886"/>
                  <a:pt x="6521138" y="3466172"/>
                </a:cubicBezTo>
                <a:cubicBezTo>
                  <a:pt x="6521138" y="3430458"/>
                  <a:pt x="6550090" y="3401506"/>
                  <a:pt x="6585804" y="3401506"/>
                </a:cubicBezTo>
                <a:close/>
                <a:moveTo>
                  <a:pt x="6429231" y="3401506"/>
                </a:moveTo>
                <a:cubicBezTo>
                  <a:pt x="6464945" y="3401506"/>
                  <a:pt x="6493897" y="3430458"/>
                  <a:pt x="6493897" y="3466172"/>
                </a:cubicBezTo>
                <a:cubicBezTo>
                  <a:pt x="6493897" y="3501886"/>
                  <a:pt x="6464945" y="3530838"/>
                  <a:pt x="6429231" y="3530838"/>
                </a:cubicBezTo>
                <a:cubicBezTo>
                  <a:pt x="6393517" y="3530838"/>
                  <a:pt x="6364565" y="3501886"/>
                  <a:pt x="6364565" y="3466172"/>
                </a:cubicBezTo>
                <a:cubicBezTo>
                  <a:pt x="6364565" y="3430458"/>
                  <a:pt x="6393517" y="3401506"/>
                  <a:pt x="6429231" y="3401506"/>
                </a:cubicBezTo>
                <a:close/>
                <a:moveTo>
                  <a:pt x="6276571" y="3401506"/>
                </a:moveTo>
                <a:cubicBezTo>
                  <a:pt x="6312285" y="3401506"/>
                  <a:pt x="6341237" y="3430458"/>
                  <a:pt x="6341237" y="3466172"/>
                </a:cubicBezTo>
                <a:cubicBezTo>
                  <a:pt x="6341237" y="3501886"/>
                  <a:pt x="6312285" y="3530838"/>
                  <a:pt x="6276571" y="3530838"/>
                </a:cubicBezTo>
                <a:cubicBezTo>
                  <a:pt x="6240857" y="3530838"/>
                  <a:pt x="6211905" y="3501886"/>
                  <a:pt x="6211905" y="3466172"/>
                </a:cubicBezTo>
                <a:cubicBezTo>
                  <a:pt x="6211905" y="3430458"/>
                  <a:pt x="6240857" y="3401506"/>
                  <a:pt x="6276571" y="3401506"/>
                </a:cubicBezTo>
                <a:close/>
                <a:moveTo>
                  <a:pt x="6119999" y="3401506"/>
                </a:moveTo>
                <a:cubicBezTo>
                  <a:pt x="6155713" y="3401506"/>
                  <a:pt x="6184665" y="3430458"/>
                  <a:pt x="6184665" y="3466172"/>
                </a:cubicBezTo>
                <a:cubicBezTo>
                  <a:pt x="6184665" y="3501886"/>
                  <a:pt x="6155713" y="3530838"/>
                  <a:pt x="6119999" y="3530838"/>
                </a:cubicBezTo>
                <a:cubicBezTo>
                  <a:pt x="6084285" y="3530838"/>
                  <a:pt x="6055333" y="3501886"/>
                  <a:pt x="6055333" y="3466172"/>
                </a:cubicBezTo>
                <a:cubicBezTo>
                  <a:pt x="6055333" y="3430458"/>
                  <a:pt x="6084285" y="3401506"/>
                  <a:pt x="6119999" y="3401506"/>
                </a:cubicBezTo>
                <a:close/>
                <a:moveTo>
                  <a:pt x="5967338" y="3401504"/>
                </a:moveTo>
                <a:cubicBezTo>
                  <a:pt x="6003052" y="3401504"/>
                  <a:pt x="6032004" y="3430456"/>
                  <a:pt x="6032004" y="3466170"/>
                </a:cubicBezTo>
                <a:cubicBezTo>
                  <a:pt x="6032004" y="3501884"/>
                  <a:pt x="6003052" y="3530836"/>
                  <a:pt x="5967338" y="3530836"/>
                </a:cubicBezTo>
                <a:cubicBezTo>
                  <a:pt x="5931624" y="3530836"/>
                  <a:pt x="5902672" y="3501884"/>
                  <a:pt x="5902672" y="3466170"/>
                </a:cubicBezTo>
                <a:cubicBezTo>
                  <a:pt x="5902672" y="3430456"/>
                  <a:pt x="5931624" y="3401504"/>
                  <a:pt x="5967338" y="3401504"/>
                </a:cubicBezTo>
                <a:close/>
                <a:moveTo>
                  <a:pt x="5810778" y="3401504"/>
                </a:moveTo>
                <a:cubicBezTo>
                  <a:pt x="5846479" y="3401504"/>
                  <a:pt x="5875431" y="3430456"/>
                  <a:pt x="5875431" y="3466170"/>
                </a:cubicBezTo>
                <a:cubicBezTo>
                  <a:pt x="5875431" y="3501884"/>
                  <a:pt x="5846479" y="3530836"/>
                  <a:pt x="5810778" y="3530836"/>
                </a:cubicBezTo>
                <a:cubicBezTo>
                  <a:pt x="5775061" y="3530836"/>
                  <a:pt x="5746106" y="3501884"/>
                  <a:pt x="5746106" y="3466170"/>
                </a:cubicBezTo>
                <a:cubicBezTo>
                  <a:pt x="5746106" y="3430456"/>
                  <a:pt x="5775061" y="3401504"/>
                  <a:pt x="5810778" y="3401504"/>
                </a:cubicBezTo>
                <a:close/>
                <a:moveTo>
                  <a:pt x="5658107" y="3401504"/>
                </a:moveTo>
                <a:cubicBezTo>
                  <a:pt x="5693821" y="3401504"/>
                  <a:pt x="5722777" y="3430456"/>
                  <a:pt x="5722777" y="3466170"/>
                </a:cubicBezTo>
                <a:cubicBezTo>
                  <a:pt x="5722777" y="3501884"/>
                  <a:pt x="5693821" y="3530836"/>
                  <a:pt x="5658107" y="3530836"/>
                </a:cubicBezTo>
                <a:cubicBezTo>
                  <a:pt x="5622394" y="3530836"/>
                  <a:pt x="5593441" y="3501884"/>
                  <a:pt x="5593441" y="3466170"/>
                </a:cubicBezTo>
                <a:cubicBezTo>
                  <a:pt x="5593441" y="3430456"/>
                  <a:pt x="5622394" y="3401504"/>
                  <a:pt x="5658107" y="3401504"/>
                </a:cubicBezTo>
                <a:close/>
                <a:moveTo>
                  <a:pt x="5501536" y="3401504"/>
                </a:moveTo>
                <a:cubicBezTo>
                  <a:pt x="5537252" y="3401504"/>
                  <a:pt x="5566202" y="3430456"/>
                  <a:pt x="5566202" y="3466170"/>
                </a:cubicBezTo>
                <a:cubicBezTo>
                  <a:pt x="5566202" y="3501884"/>
                  <a:pt x="5537252" y="3530836"/>
                  <a:pt x="5501536" y="3530836"/>
                </a:cubicBezTo>
                <a:cubicBezTo>
                  <a:pt x="5465823" y="3530836"/>
                  <a:pt x="5436874" y="3501884"/>
                  <a:pt x="5436874" y="3466170"/>
                </a:cubicBezTo>
                <a:cubicBezTo>
                  <a:pt x="5436874" y="3430456"/>
                  <a:pt x="5465823" y="3401504"/>
                  <a:pt x="5501536" y="3401504"/>
                </a:cubicBezTo>
                <a:close/>
                <a:moveTo>
                  <a:pt x="5348883" y="3401504"/>
                </a:moveTo>
                <a:cubicBezTo>
                  <a:pt x="5384594" y="3401504"/>
                  <a:pt x="5413547" y="3430456"/>
                  <a:pt x="5413547" y="3466170"/>
                </a:cubicBezTo>
                <a:cubicBezTo>
                  <a:pt x="5413547" y="3501884"/>
                  <a:pt x="5384594" y="3530836"/>
                  <a:pt x="5348883" y="3530836"/>
                </a:cubicBezTo>
                <a:cubicBezTo>
                  <a:pt x="5313171" y="3530836"/>
                  <a:pt x="5284218" y="3501884"/>
                  <a:pt x="5284218" y="3466170"/>
                </a:cubicBezTo>
                <a:cubicBezTo>
                  <a:pt x="5284218" y="3430456"/>
                  <a:pt x="5313171" y="3401504"/>
                  <a:pt x="5348883" y="3401504"/>
                </a:cubicBezTo>
                <a:close/>
                <a:moveTo>
                  <a:pt x="5192310" y="3401504"/>
                </a:moveTo>
                <a:cubicBezTo>
                  <a:pt x="5228024" y="3401504"/>
                  <a:pt x="5256973" y="3430456"/>
                  <a:pt x="5256973" y="3466170"/>
                </a:cubicBezTo>
                <a:cubicBezTo>
                  <a:pt x="5256973" y="3501884"/>
                  <a:pt x="5228024" y="3530836"/>
                  <a:pt x="5192310" y="3530836"/>
                </a:cubicBezTo>
                <a:cubicBezTo>
                  <a:pt x="5156597" y="3530836"/>
                  <a:pt x="5127643" y="3501884"/>
                  <a:pt x="5127643" y="3466170"/>
                </a:cubicBezTo>
                <a:cubicBezTo>
                  <a:pt x="5127643" y="3430456"/>
                  <a:pt x="5156597" y="3401504"/>
                  <a:pt x="5192310" y="3401504"/>
                </a:cubicBezTo>
                <a:close/>
                <a:moveTo>
                  <a:pt x="5031826" y="3401504"/>
                </a:moveTo>
                <a:cubicBezTo>
                  <a:pt x="5067537" y="3401504"/>
                  <a:pt x="5096490" y="3430456"/>
                  <a:pt x="5096490" y="3466170"/>
                </a:cubicBezTo>
                <a:cubicBezTo>
                  <a:pt x="5096490" y="3501884"/>
                  <a:pt x="5067537" y="3530836"/>
                  <a:pt x="5031826" y="3530836"/>
                </a:cubicBezTo>
                <a:cubicBezTo>
                  <a:pt x="4996106" y="3530836"/>
                  <a:pt x="4967156" y="3501884"/>
                  <a:pt x="4967156" y="3466170"/>
                </a:cubicBezTo>
                <a:cubicBezTo>
                  <a:pt x="4967156" y="3430456"/>
                  <a:pt x="4996106" y="3401504"/>
                  <a:pt x="5031826" y="3401504"/>
                </a:cubicBezTo>
                <a:close/>
                <a:moveTo>
                  <a:pt x="2698926" y="3401504"/>
                </a:moveTo>
                <a:cubicBezTo>
                  <a:pt x="2734638" y="3401504"/>
                  <a:pt x="2763588" y="3430456"/>
                  <a:pt x="2763588" y="3466170"/>
                </a:cubicBezTo>
                <a:cubicBezTo>
                  <a:pt x="2763588" y="3501884"/>
                  <a:pt x="2734638" y="3530836"/>
                  <a:pt x="2698926" y="3530836"/>
                </a:cubicBezTo>
                <a:cubicBezTo>
                  <a:pt x="2663214" y="3530836"/>
                  <a:pt x="2634264" y="3501884"/>
                  <a:pt x="2634264" y="3466170"/>
                </a:cubicBezTo>
                <a:cubicBezTo>
                  <a:pt x="2634264" y="3430456"/>
                  <a:pt x="2663214" y="3401504"/>
                  <a:pt x="2698926" y="3401504"/>
                </a:cubicBezTo>
                <a:close/>
                <a:moveTo>
                  <a:pt x="2546275" y="3401504"/>
                </a:moveTo>
                <a:cubicBezTo>
                  <a:pt x="2581988" y="3401504"/>
                  <a:pt x="2610938" y="3430456"/>
                  <a:pt x="2610938" y="3466170"/>
                </a:cubicBezTo>
                <a:cubicBezTo>
                  <a:pt x="2610938" y="3501884"/>
                  <a:pt x="2581988" y="3530836"/>
                  <a:pt x="2546275" y="3530836"/>
                </a:cubicBezTo>
                <a:cubicBezTo>
                  <a:pt x="2510557" y="3530836"/>
                  <a:pt x="2481613" y="3501884"/>
                  <a:pt x="2481613" y="3466170"/>
                </a:cubicBezTo>
                <a:cubicBezTo>
                  <a:pt x="2481613" y="3430456"/>
                  <a:pt x="2510557" y="3401504"/>
                  <a:pt x="2546275" y="3401504"/>
                </a:cubicBezTo>
                <a:close/>
                <a:moveTo>
                  <a:pt x="9541123" y="3264501"/>
                </a:moveTo>
                <a:cubicBezTo>
                  <a:pt x="9576837" y="3264501"/>
                  <a:pt x="9605789" y="3293453"/>
                  <a:pt x="9605789" y="3329167"/>
                </a:cubicBezTo>
                <a:cubicBezTo>
                  <a:pt x="9605789" y="3364881"/>
                  <a:pt x="9576837" y="3393833"/>
                  <a:pt x="9541123" y="3393833"/>
                </a:cubicBezTo>
                <a:cubicBezTo>
                  <a:pt x="9505409" y="3393833"/>
                  <a:pt x="9476457" y="3364881"/>
                  <a:pt x="9476457" y="3329167"/>
                </a:cubicBezTo>
                <a:cubicBezTo>
                  <a:pt x="9476457" y="3293453"/>
                  <a:pt x="9505409" y="3264501"/>
                  <a:pt x="9541123" y="3264501"/>
                </a:cubicBezTo>
                <a:close/>
                <a:moveTo>
                  <a:pt x="9384550" y="3264501"/>
                </a:moveTo>
                <a:cubicBezTo>
                  <a:pt x="9420264" y="3264501"/>
                  <a:pt x="9449216" y="3293453"/>
                  <a:pt x="9449216" y="3329167"/>
                </a:cubicBezTo>
                <a:cubicBezTo>
                  <a:pt x="9449216" y="3364881"/>
                  <a:pt x="9420264" y="3393833"/>
                  <a:pt x="9384550" y="3393833"/>
                </a:cubicBezTo>
                <a:cubicBezTo>
                  <a:pt x="9348836" y="3393833"/>
                  <a:pt x="9319884" y="3364881"/>
                  <a:pt x="9319884" y="3329167"/>
                </a:cubicBezTo>
                <a:cubicBezTo>
                  <a:pt x="9319884" y="3293453"/>
                  <a:pt x="9348836" y="3264501"/>
                  <a:pt x="9384550" y="3264501"/>
                </a:cubicBezTo>
                <a:close/>
                <a:moveTo>
                  <a:pt x="9075317" y="3264501"/>
                </a:moveTo>
                <a:cubicBezTo>
                  <a:pt x="9111031" y="3264501"/>
                  <a:pt x="9139983" y="3293453"/>
                  <a:pt x="9139983" y="3329167"/>
                </a:cubicBezTo>
                <a:cubicBezTo>
                  <a:pt x="9139983" y="3364881"/>
                  <a:pt x="9111031" y="3393833"/>
                  <a:pt x="9075317" y="3393833"/>
                </a:cubicBezTo>
                <a:cubicBezTo>
                  <a:pt x="9039603" y="3393833"/>
                  <a:pt x="9010651" y="3364881"/>
                  <a:pt x="9010651" y="3329167"/>
                </a:cubicBezTo>
                <a:cubicBezTo>
                  <a:pt x="9010651" y="3293453"/>
                  <a:pt x="9039603" y="3264501"/>
                  <a:pt x="9075317" y="3264501"/>
                </a:cubicBezTo>
                <a:close/>
                <a:moveTo>
                  <a:pt x="8914829" y="3264501"/>
                </a:moveTo>
                <a:cubicBezTo>
                  <a:pt x="8950543" y="3264501"/>
                  <a:pt x="8979495" y="3293453"/>
                  <a:pt x="8979495" y="3329167"/>
                </a:cubicBezTo>
                <a:cubicBezTo>
                  <a:pt x="8979495" y="3364881"/>
                  <a:pt x="8950543" y="3393833"/>
                  <a:pt x="8914829" y="3393833"/>
                </a:cubicBezTo>
                <a:cubicBezTo>
                  <a:pt x="8879115" y="3393833"/>
                  <a:pt x="8850163" y="3364881"/>
                  <a:pt x="8850163" y="3329167"/>
                </a:cubicBezTo>
                <a:cubicBezTo>
                  <a:pt x="8850163" y="3293453"/>
                  <a:pt x="8879115" y="3264501"/>
                  <a:pt x="8914829" y="3264501"/>
                </a:cubicBezTo>
                <a:close/>
                <a:moveTo>
                  <a:pt x="8766086" y="3264501"/>
                </a:moveTo>
                <a:cubicBezTo>
                  <a:pt x="8801800" y="3264501"/>
                  <a:pt x="8830752" y="3293453"/>
                  <a:pt x="8830752" y="3329167"/>
                </a:cubicBezTo>
                <a:cubicBezTo>
                  <a:pt x="8830752" y="3364881"/>
                  <a:pt x="8801800" y="3393833"/>
                  <a:pt x="8766086" y="3393833"/>
                </a:cubicBezTo>
                <a:cubicBezTo>
                  <a:pt x="8730372" y="3393833"/>
                  <a:pt x="8701420" y="3364881"/>
                  <a:pt x="8701420" y="3329167"/>
                </a:cubicBezTo>
                <a:cubicBezTo>
                  <a:pt x="8701420" y="3293453"/>
                  <a:pt x="8730372" y="3264501"/>
                  <a:pt x="8766086" y="3264501"/>
                </a:cubicBezTo>
                <a:close/>
                <a:moveTo>
                  <a:pt x="8601683" y="3264501"/>
                </a:moveTo>
                <a:cubicBezTo>
                  <a:pt x="8637397" y="3264501"/>
                  <a:pt x="8666349" y="3293453"/>
                  <a:pt x="8666349" y="3329167"/>
                </a:cubicBezTo>
                <a:cubicBezTo>
                  <a:pt x="8666349" y="3364881"/>
                  <a:pt x="8637397" y="3393833"/>
                  <a:pt x="8601683" y="3393833"/>
                </a:cubicBezTo>
                <a:cubicBezTo>
                  <a:pt x="8565969" y="3393833"/>
                  <a:pt x="8537017" y="3364881"/>
                  <a:pt x="8537017" y="3329167"/>
                </a:cubicBezTo>
                <a:cubicBezTo>
                  <a:pt x="8537017" y="3293453"/>
                  <a:pt x="8565969" y="3264501"/>
                  <a:pt x="8601683" y="3264501"/>
                </a:cubicBezTo>
                <a:close/>
                <a:moveTo>
                  <a:pt x="8139792" y="3264501"/>
                </a:moveTo>
                <a:cubicBezTo>
                  <a:pt x="8175506" y="3264501"/>
                  <a:pt x="8204458" y="3293453"/>
                  <a:pt x="8204458" y="3329167"/>
                </a:cubicBezTo>
                <a:cubicBezTo>
                  <a:pt x="8204458" y="3364881"/>
                  <a:pt x="8175506" y="3393833"/>
                  <a:pt x="8139792" y="3393833"/>
                </a:cubicBezTo>
                <a:cubicBezTo>
                  <a:pt x="8104078" y="3393833"/>
                  <a:pt x="8075126" y="3364881"/>
                  <a:pt x="8075126" y="3329167"/>
                </a:cubicBezTo>
                <a:cubicBezTo>
                  <a:pt x="8075126" y="3293453"/>
                  <a:pt x="8104078" y="3264501"/>
                  <a:pt x="8139792" y="3264501"/>
                </a:cubicBezTo>
                <a:close/>
                <a:moveTo>
                  <a:pt x="7987133" y="3264501"/>
                </a:moveTo>
                <a:cubicBezTo>
                  <a:pt x="8022847" y="3264501"/>
                  <a:pt x="8051799" y="3293453"/>
                  <a:pt x="8051799" y="3329167"/>
                </a:cubicBezTo>
                <a:cubicBezTo>
                  <a:pt x="8051799" y="3364881"/>
                  <a:pt x="8022847" y="3393833"/>
                  <a:pt x="7987133" y="3393833"/>
                </a:cubicBezTo>
                <a:cubicBezTo>
                  <a:pt x="7951419" y="3393833"/>
                  <a:pt x="7922467" y="3364881"/>
                  <a:pt x="7922467" y="3329167"/>
                </a:cubicBezTo>
                <a:cubicBezTo>
                  <a:pt x="7922467" y="3293453"/>
                  <a:pt x="7951419" y="3264501"/>
                  <a:pt x="7987133" y="3264501"/>
                </a:cubicBezTo>
                <a:close/>
                <a:moveTo>
                  <a:pt x="7212096" y="3264501"/>
                </a:moveTo>
                <a:cubicBezTo>
                  <a:pt x="7247810" y="3264501"/>
                  <a:pt x="7276762" y="3293453"/>
                  <a:pt x="7276762" y="3329167"/>
                </a:cubicBezTo>
                <a:cubicBezTo>
                  <a:pt x="7276762" y="3364881"/>
                  <a:pt x="7247810" y="3393833"/>
                  <a:pt x="7212096" y="3393833"/>
                </a:cubicBezTo>
                <a:cubicBezTo>
                  <a:pt x="7176382" y="3393833"/>
                  <a:pt x="7147430" y="3364881"/>
                  <a:pt x="7147430" y="3329167"/>
                </a:cubicBezTo>
                <a:cubicBezTo>
                  <a:pt x="7147430" y="3293453"/>
                  <a:pt x="7176382" y="3264501"/>
                  <a:pt x="7212096" y="3264501"/>
                </a:cubicBezTo>
                <a:close/>
                <a:moveTo>
                  <a:pt x="7055523" y="3264501"/>
                </a:moveTo>
                <a:cubicBezTo>
                  <a:pt x="7091237" y="3264501"/>
                  <a:pt x="7120189" y="3293453"/>
                  <a:pt x="7120189" y="3329167"/>
                </a:cubicBezTo>
                <a:cubicBezTo>
                  <a:pt x="7120189" y="3364881"/>
                  <a:pt x="7091237" y="3393833"/>
                  <a:pt x="7055523" y="3393833"/>
                </a:cubicBezTo>
                <a:cubicBezTo>
                  <a:pt x="7019809" y="3393833"/>
                  <a:pt x="6990857" y="3364881"/>
                  <a:pt x="6990857" y="3329167"/>
                </a:cubicBezTo>
                <a:cubicBezTo>
                  <a:pt x="6990857" y="3293453"/>
                  <a:pt x="7019809" y="3264501"/>
                  <a:pt x="7055523" y="3264501"/>
                </a:cubicBezTo>
                <a:close/>
                <a:moveTo>
                  <a:pt x="6895037" y="3264501"/>
                </a:moveTo>
                <a:cubicBezTo>
                  <a:pt x="6930751" y="3264501"/>
                  <a:pt x="6959703" y="3293453"/>
                  <a:pt x="6959703" y="3329167"/>
                </a:cubicBezTo>
                <a:cubicBezTo>
                  <a:pt x="6959703" y="3364881"/>
                  <a:pt x="6930751" y="3393833"/>
                  <a:pt x="6895037" y="3393833"/>
                </a:cubicBezTo>
                <a:cubicBezTo>
                  <a:pt x="6859323" y="3393833"/>
                  <a:pt x="6830371" y="3364881"/>
                  <a:pt x="6830371" y="3329167"/>
                </a:cubicBezTo>
                <a:cubicBezTo>
                  <a:pt x="6830371" y="3293453"/>
                  <a:pt x="6859323" y="3264501"/>
                  <a:pt x="6895037" y="3264501"/>
                </a:cubicBezTo>
                <a:close/>
                <a:moveTo>
                  <a:pt x="6585802" y="3264501"/>
                </a:moveTo>
                <a:cubicBezTo>
                  <a:pt x="6621516" y="3264501"/>
                  <a:pt x="6650468" y="3293453"/>
                  <a:pt x="6650468" y="3329167"/>
                </a:cubicBezTo>
                <a:cubicBezTo>
                  <a:pt x="6650468" y="3364881"/>
                  <a:pt x="6621516" y="3393833"/>
                  <a:pt x="6585802" y="3393833"/>
                </a:cubicBezTo>
                <a:cubicBezTo>
                  <a:pt x="6550088" y="3393833"/>
                  <a:pt x="6521136" y="3364881"/>
                  <a:pt x="6521136" y="3329167"/>
                </a:cubicBezTo>
                <a:cubicBezTo>
                  <a:pt x="6521136" y="3293453"/>
                  <a:pt x="6550088" y="3264501"/>
                  <a:pt x="6585802" y="3264501"/>
                </a:cubicBezTo>
                <a:close/>
                <a:moveTo>
                  <a:pt x="6429229" y="3264501"/>
                </a:moveTo>
                <a:cubicBezTo>
                  <a:pt x="6464943" y="3264501"/>
                  <a:pt x="6493895" y="3293453"/>
                  <a:pt x="6493895" y="3329167"/>
                </a:cubicBezTo>
                <a:cubicBezTo>
                  <a:pt x="6493895" y="3364881"/>
                  <a:pt x="6464943" y="3393833"/>
                  <a:pt x="6429229" y="3393833"/>
                </a:cubicBezTo>
                <a:cubicBezTo>
                  <a:pt x="6393515" y="3393833"/>
                  <a:pt x="6364563" y="3364881"/>
                  <a:pt x="6364563" y="3329167"/>
                </a:cubicBezTo>
                <a:cubicBezTo>
                  <a:pt x="6364563" y="3293453"/>
                  <a:pt x="6393515" y="3264501"/>
                  <a:pt x="6429229" y="3264501"/>
                </a:cubicBezTo>
                <a:close/>
                <a:moveTo>
                  <a:pt x="6276571" y="3264501"/>
                </a:moveTo>
                <a:cubicBezTo>
                  <a:pt x="6312285" y="3264501"/>
                  <a:pt x="6341237" y="3293453"/>
                  <a:pt x="6341237" y="3329167"/>
                </a:cubicBezTo>
                <a:cubicBezTo>
                  <a:pt x="6341237" y="3364881"/>
                  <a:pt x="6312285" y="3393833"/>
                  <a:pt x="6276571" y="3393833"/>
                </a:cubicBezTo>
                <a:cubicBezTo>
                  <a:pt x="6240857" y="3393833"/>
                  <a:pt x="6211905" y="3364881"/>
                  <a:pt x="6211905" y="3329167"/>
                </a:cubicBezTo>
                <a:cubicBezTo>
                  <a:pt x="6211905" y="3293453"/>
                  <a:pt x="6240857" y="3264501"/>
                  <a:pt x="6276571" y="3264501"/>
                </a:cubicBezTo>
                <a:close/>
                <a:moveTo>
                  <a:pt x="6119999" y="3264501"/>
                </a:moveTo>
                <a:cubicBezTo>
                  <a:pt x="6155713" y="3264501"/>
                  <a:pt x="6184665" y="3293453"/>
                  <a:pt x="6184665" y="3329167"/>
                </a:cubicBezTo>
                <a:cubicBezTo>
                  <a:pt x="6184665" y="3364881"/>
                  <a:pt x="6155713" y="3393833"/>
                  <a:pt x="6119999" y="3393833"/>
                </a:cubicBezTo>
                <a:cubicBezTo>
                  <a:pt x="6084285" y="3393833"/>
                  <a:pt x="6055333" y="3364881"/>
                  <a:pt x="6055333" y="3329167"/>
                </a:cubicBezTo>
                <a:cubicBezTo>
                  <a:pt x="6055333" y="3293453"/>
                  <a:pt x="6084285" y="3264501"/>
                  <a:pt x="6119999" y="3264501"/>
                </a:cubicBezTo>
                <a:close/>
                <a:moveTo>
                  <a:pt x="5967338" y="3264501"/>
                </a:moveTo>
                <a:cubicBezTo>
                  <a:pt x="6003052" y="3264501"/>
                  <a:pt x="6032004" y="3293453"/>
                  <a:pt x="6032004" y="3329167"/>
                </a:cubicBezTo>
                <a:cubicBezTo>
                  <a:pt x="6032004" y="3364881"/>
                  <a:pt x="6003052" y="3393833"/>
                  <a:pt x="5967338" y="3393833"/>
                </a:cubicBezTo>
                <a:cubicBezTo>
                  <a:pt x="5931624" y="3393833"/>
                  <a:pt x="5902672" y="3364881"/>
                  <a:pt x="5902672" y="3329167"/>
                </a:cubicBezTo>
                <a:cubicBezTo>
                  <a:pt x="5902672" y="3293453"/>
                  <a:pt x="5931624" y="3264501"/>
                  <a:pt x="5967338" y="3264501"/>
                </a:cubicBezTo>
                <a:close/>
                <a:moveTo>
                  <a:pt x="5810780" y="3264501"/>
                </a:moveTo>
                <a:cubicBezTo>
                  <a:pt x="5846479" y="3264501"/>
                  <a:pt x="5875431" y="3293453"/>
                  <a:pt x="5875431" y="3329167"/>
                </a:cubicBezTo>
                <a:cubicBezTo>
                  <a:pt x="5875431" y="3364881"/>
                  <a:pt x="5846479" y="3393833"/>
                  <a:pt x="5810780" y="3393833"/>
                </a:cubicBezTo>
                <a:cubicBezTo>
                  <a:pt x="5775061" y="3393833"/>
                  <a:pt x="5746106" y="3364881"/>
                  <a:pt x="5746106" y="3329167"/>
                </a:cubicBezTo>
                <a:cubicBezTo>
                  <a:pt x="5746106" y="3293453"/>
                  <a:pt x="5775061" y="3264501"/>
                  <a:pt x="5810780" y="3264501"/>
                </a:cubicBezTo>
                <a:close/>
                <a:moveTo>
                  <a:pt x="5658107" y="3264501"/>
                </a:moveTo>
                <a:cubicBezTo>
                  <a:pt x="5693821" y="3264501"/>
                  <a:pt x="5722777" y="3293453"/>
                  <a:pt x="5722777" y="3329167"/>
                </a:cubicBezTo>
                <a:cubicBezTo>
                  <a:pt x="5722777" y="3364881"/>
                  <a:pt x="5693821" y="3393833"/>
                  <a:pt x="5658107" y="3393833"/>
                </a:cubicBezTo>
                <a:cubicBezTo>
                  <a:pt x="5622394" y="3393833"/>
                  <a:pt x="5593441" y="3364881"/>
                  <a:pt x="5593441" y="3329167"/>
                </a:cubicBezTo>
                <a:cubicBezTo>
                  <a:pt x="5593441" y="3293453"/>
                  <a:pt x="5622394" y="3264501"/>
                  <a:pt x="5658107" y="3264501"/>
                </a:cubicBezTo>
                <a:close/>
                <a:moveTo>
                  <a:pt x="5501536" y="3264501"/>
                </a:moveTo>
                <a:cubicBezTo>
                  <a:pt x="5537252" y="3264501"/>
                  <a:pt x="5566202" y="3293453"/>
                  <a:pt x="5566202" y="3329167"/>
                </a:cubicBezTo>
                <a:cubicBezTo>
                  <a:pt x="5566202" y="3364881"/>
                  <a:pt x="5537252" y="3393833"/>
                  <a:pt x="5501536" y="3393833"/>
                </a:cubicBezTo>
                <a:cubicBezTo>
                  <a:pt x="5465823" y="3393833"/>
                  <a:pt x="5436876" y="3364881"/>
                  <a:pt x="5436876" y="3329167"/>
                </a:cubicBezTo>
                <a:cubicBezTo>
                  <a:pt x="5436876" y="3293453"/>
                  <a:pt x="5465823" y="3264501"/>
                  <a:pt x="5501536" y="3264501"/>
                </a:cubicBezTo>
                <a:close/>
                <a:moveTo>
                  <a:pt x="5348883" y="3264501"/>
                </a:moveTo>
                <a:cubicBezTo>
                  <a:pt x="5384594" y="3264501"/>
                  <a:pt x="5413547" y="3293453"/>
                  <a:pt x="5413547" y="3329167"/>
                </a:cubicBezTo>
                <a:cubicBezTo>
                  <a:pt x="5413547" y="3364881"/>
                  <a:pt x="5384594" y="3393833"/>
                  <a:pt x="5348883" y="3393833"/>
                </a:cubicBezTo>
                <a:cubicBezTo>
                  <a:pt x="5313173" y="3393833"/>
                  <a:pt x="5284218" y="3364881"/>
                  <a:pt x="5284218" y="3329167"/>
                </a:cubicBezTo>
                <a:cubicBezTo>
                  <a:pt x="5284218" y="3293453"/>
                  <a:pt x="5313173" y="3264501"/>
                  <a:pt x="5348883" y="3264501"/>
                </a:cubicBezTo>
                <a:close/>
                <a:moveTo>
                  <a:pt x="5192310" y="3264501"/>
                </a:moveTo>
                <a:cubicBezTo>
                  <a:pt x="5228024" y="3264501"/>
                  <a:pt x="5256973" y="3293453"/>
                  <a:pt x="5256973" y="3329167"/>
                </a:cubicBezTo>
                <a:cubicBezTo>
                  <a:pt x="5256973" y="3364881"/>
                  <a:pt x="5228024" y="3393833"/>
                  <a:pt x="5192310" y="3393833"/>
                </a:cubicBezTo>
                <a:cubicBezTo>
                  <a:pt x="5156599" y="3393833"/>
                  <a:pt x="5127643" y="3364881"/>
                  <a:pt x="5127643" y="3329167"/>
                </a:cubicBezTo>
                <a:cubicBezTo>
                  <a:pt x="5127643" y="3293453"/>
                  <a:pt x="5156599" y="3264501"/>
                  <a:pt x="5192310" y="3264501"/>
                </a:cubicBezTo>
                <a:close/>
                <a:moveTo>
                  <a:pt x="5031828" y="3264501"/>
                </a:moveTo>
                <a:cubicBezTo>
                  <a:pt x="5067537" y="3264501"/>
                  <a:pt x="5096490" y="3293453"/>
                  <a:pt x="5096490" y="3329167"/>
                </a:cubicBezTo>
                <a:cubicBezTo>
                  <a:pt x="5096490" y="3364881"/>
                  <a:pt x="5067537" y="3393833"/>
                  <a:pt x="5031828" y="3393833"/>
                </a:cubicBezTo>
                <a:cubicBezTo>
                  <a:pt x="4996106" y="3393833"/>
                  <a:pt x="4967156" y="3364881"/>
                  <a:pt x="4967156" y="3329167"/>
                </a:cubicBezTo>
                <a:cubicBezTo>
                  <a:pt x="4967156" y="3293453"/>
                  <a:pt x="4996106" y="3264501"/>
                  <a:pt x="5031828" y="3264501"/>
                </a:cubicBezTo>
                <a:close/>
                <a:moveTo>
                  <a:pt x="3172560" y="3264501"/>
                </a:moveTo>
                <a:cubicBezTo>
                  <a:pt x="3208276" y="3264501"/>
                  <a:pt x="3237227" y="3293453"/>
                  <a:pt x="3237227" y="3329167"/>
                </a:cubicBezTo>
                <a:cubicBezTo>
                  <a:pt x="3237227" y="3364881"/>
                  <a:pt x="3208276" y="3393833"/>
                  <a:pt x="3172560" y="3393833"/>
                </a:cubicBezTo>
                <a:cubicBezTo>
                  <a:pt x="3136842" y="3393833"/>
                  <a:pt x="3107886" y="3364881"/>
                  <a:pt x="3107886" y="3329167"/>
                </a:cubicBezTo>
                <a:cubicBezTo>
                  <a:pt x="3107886" y="3293453"/>
                  <a:pt x="3136842" y="3264501"/>
                  <a:pt x="3172560" y="3264501"/>
                </a:cubicBezTo>
                <a:close/>
                <a:moveTo>
                  <a:pt x="2546279" y="3264501"/>
                </a:moveTo>
                <a:cubicBezTo>
                  <a:pt x="2581993" y="3264501"/>
                  <a:pt x="2610943" y="3293453"/>
                  <a:pt x="2610943" y="3329167"/>
                </a:cubicBezTo>
                <a:cubicBezTo>
                  <a:pt x="2610943" y="3364881"/>
                  <a:pt x="2581993" y="3393833"/>
                  <a:pt x="2546279" y="3393833"/>
                </a:cubicBezTo>
                <a:cubicBezTo>
                  <a:pt x="2510563" y="3393833"/>
                  <a:pt x="2481617" y="3364881"/>
                  <a:pt x="2481617" y="3329167"/>
                </a:cubicBezTo>
                <a:cubicBezTo>
                  <a:pt x="2481617" y="3293453"/>
                  <a:pt x="2510563" y="3264501"/>
                  <a:pt x="2546279" y="3264501"/>
                </a:cubicBezTo>
                <a:close/>
                <a:moveTo>
                  <a:pt x="2389697" y="3264501"/>
                </a:moveTo>
                <a:cubicBezTo>
                  <a:pt x="2425429" y="3264501"/>
                  <a:pt x="2454380" y="3293453"/>
                  <a:pt x="2454380" y="3329167"/>
                </a:cubicBezTo>
                <a:cubicBezTo>
                  <a:pt x="2454380" y="3364881"/>
                  <a:pt x="2425429" y="3393833"/>
                  <a:pt x="2389697" y="3393833"/>
                </a:cubicBezTo>
                <a:cubicBezTo>
                  <a:pt x="2354000" y="3393833"/>
                  <a:pt x="2325045" y="3364881"/>
                  <a:pt x="2325045" y="3329167"/>
                </a:cubicBezTo>
                <a:cubicBezTo>
                  <a:pt x="2325045" y="3293453"/>
                  <a:pt x="2354000" y="3264501"/>
                  <a:pt x="2389697" y="3264501"/>
                </a:cubicBezTo>
                <a:close/>
                <a:moveTo>
                  <a:pt x="2237042" y="3264501"/>
                </a:moveTo>
                <a:cubicBezTo>
                  <a:pt x="2272760" y="3264501"/>
                  <a:pt x="2301715" y="3293453"/>
                  <a:pt x="2301715" y="3329167"/>
                </a:cubicBezTo>
                <a:cubicBezTo>
                  <a:pt x="2301715" y="3364881"/>
                  <a:pt x="2272760" y="3393833"/>
                  <a:pt x="2237042" y="3393833"/>
                </a:cubicBezTo>
                <a:cubicBezTo>
                  <a:pt x="2201324" y="3393833"/>
                  <a:pt x="2172369" y="3364881"/>
                  <a:pt x="2172369" y="3329167"/>
                </a:cubicBezTo>
                <a:cubicBezTo>
                  <a:pt x="2172369" y="3293453"/>
                  <a:pt x="2201324" y="3264501"/>
                  <a:pt x="2237042" y="3264501"/>
                </a:cubicBezTo>
                <a:close/>
                <a:moveTo>
                  <a:pt x="2084374" y="3264501"/>
                </a:moveTo>
                <a:cubicBezTo>
                  <a:pt x="2120086" y="3264501"/>
                  <a:pt x="2149037" y="3293453"/>
                  <a:pt x="2149037" y="3329167"/>
                </a:cubicBezTo>
                <a:cubicBezTo>
                  <a:pt x="2149037" y="3364881"/>
                  <a:pt x="2120086" y="3393833"/>
                  <a:pt x="2084374" y="3393833"/>
                </a:cubicBezTo>
                <a:cubicBezTo>
                  <a:pt x="2048653" y="3393833"/>
                  <a:pt x="2019717" y="3364881"/>
                  <a:pt x="2019717" y="3329167"/>
                </a:cubicBezTo>
                <a:cubicBezTo>
                  <a:pt x="2019717" y="3293453"/>
                  <a:pt x="2048653" y="3264501"/>
                  <a:pt x="2084374" y="3264501"/>
                </a:cubicBezTo>
                <a:close/>
                <a:moveTo>
                  <a:pt x="8914829" y="3131417"/>
                </a:moveTo>
                <a:cubicBezTo>
                  <a:pt x="8950543" y="3131417"/>
                  <a:pt x="8979495" y="3160369"/>
                  <a:pt x="8979495" y="3196083"/>
                </a:cubicBezTo>
                <a:cubicBezTo>
                  <a:pt x="8979495" y="3231797"/>
                  <a:pt x="8950543" y="3260749"/>
                  <a:pt x="8914829" y="3260749"/>
                </a:cubicBezTo>
                <a:cubicBezTo>
                  <a:pt x="8879115" y="3260749"/>
                  <a:pt x="8850163" y="3231797"/>
                  <a:pt x="8850163" y="3196083"/>
                </a:cubicBezTo>
                <a:cubicBezTo>
                  <a:pt x="8850163" y="3160369"/>
                  <a:pt x="8879115" y="3131417"/>
                  <a:pt x="8914829" y="3131417"/>
                </a:cubicBezTo>
                <a:close/>
                <a:moveTo>
                  <a:pt x="8766086" y="3131417"/>
                </a:moveTo>
                <a:cubicBezTo>
                  <a:pt x="8801800" y="3131417"/>
                  <a:pt x="8830752" y="3160369"/>
                  <a:pt x="8830752" y="3196083"/>
                </a:cubicBezTo>
                <a:cubicBezTo>
                  <a:pt x="8830752" y="3231797"/>
                  <a:pt x="8801800" y="3260749"/>
                  <a:pt x="8766086" y="3260749"/>
                </a:cubicBezTo>
                <a:cubicBezTo>
                  <a:pt x="8730372" y="3260749"/>
                  <a:pt x="8701420" y="3231797"/>
                  <a:pt x="8701420" y="3196083"/>
                </a:cubicBezTo>
                <a:cubicBezTo>
                  <a:pt x="8701420" y="3160369"/>
                  <a:pt x="8730372" y="3131417"/>
                  <a:pt x="8766086" y="3131417"/>
                </a:cubicBezTo>
                <a:close/>
                <a:moveTo>
                  <a:pt x="8601683" y="3131417"/>
                </a:moveTo>
                <a:cubicBezTo>
                  <a:pt x="8637397" y="3131417"/>
                  <a:pt x="8666349" y="3160369"/>
                  <a:pt x="8666349" y="3196083"/>
                </a:cubicBezTo>
                <a:cubicBezTo>
                  <a:pt x="8666349" y="3231797"/>
                  <a:pt x="8637397" y="3260749"/>
                  <a:pt x="8601683" y="3260749"/>
                </a:cubicBezTo>
                <a:cubicBezTo>
                  <a:pt x="8565969" y="3260749"/>
                  <a:pt x="8537017" y="3231797"/>
                  <a:pt x="8537017" y="3196083"/>
                </a:cubicBezTo>
                <a:cubicBezTo>
                  <a:pt x="8537017" y="3160369"/>
                  <a:pt x="8565969" y="3131417"/>
                  <a:pt x="8601683" y="3131417"/>
                </a:cubicBezTo>
                <a:close/>
                <a:moveTo>
                  <a:pt x="8296367" y="3131417"/>
                </a:moveTo>
                <a:cubicBezTo>
                  <a:pt x="8332081" y="3131417"/>
                  <a:pt x="8361033" y="3160369"/>
                  <a:pt x="8361033" y="3196083"/>
                </a:cubicBezTo>
                <a:cubicBezTo>
                  <a:pt x="8361033" y="3231797"/>
                  <a:pt x="8332081" y="3260749"/>
                  <a:pt x="8296367" y="3260749"/>
                </a:cubicBezTo>
                <a:cubicBezTo>
                  <a:pt x="8260653" y="3260749"/>
                  <a:pt x="8231701" y="3231797"/>
                  <a:pt x="8231701" y="3196083"/>
                </a:cubicBezTo>
                <a:cubicBezTo>
                  <a:pt x="8231701" y="3160369"/>
                  <a:pt x="8260653" y="3131417"/>
                  <a:pt x="8296367" y="3131417"/>
                </a:cubicBezTo>
                <a:close/>
                <a:moveTo>
                  <a:pt x="8139792" y="3131417"/>
                </a:moveTo>
                <a:cubicBezTo>
                  <a:pt x="8175506" y="3131417"/>
                  <a:pt x="8204458" y="3160369"/>
                  <a:pt x="8204458" y="3196083"/>
                </a:cubicBezTo>
                <a:cubicBezTo>
                  <a:pt x="8204458" y="3231797"/>
                  <a:pt x="8175506" y="3260749"/>
                  <a:pt x="8139792" y="3260749"/>
                </a:cubicBezTo>
                <a:cubicBezTo>
                  <a:pt x="8104078" y="3260749"/>
                  <a:pt x="8075126" y="3231797"/>
                  <a:pt x="8075126" y="3196083"/>
                </a:cubicBezTo>
                <a:cubicBezTo>
                  <a:pt x="8075126" y="3160369"/>
                  <a:pt x="8104078" y="3131417"/>
                  <a:pt x="8139792" y="3131417"/>
                </a:cubicBezTo>
                <a:close/>
                <a:moveTo>
                  <a:pt x="7987133" y="3131417"/>
                </a:moveTo>
                <a:cubicBezTo>
                  <a:pt x="8022847" y="3131417"/>
                  <a:pt x="8051799" y="3160369"/>
                  <a:pt x="8051799" y="3196083"/>
                </a:cubicBezTo>
                <a:cubicBezTo>
                  <a:pt x="8051799" y="3231797"/>
                  <a:pt x="8022847" y="3260749"/>
                  <a:pt x="7987133" y="3260749"/>
                </a:cubicBezTo>
                <a:cubicBezTo>
                  <a:pt x="7951419" y="3260749"/>
                  <a:pt x="7922467" y="3231797"/>
                  <a:pt x="7922467" y="3196083"/>
                </a:cubicBezTo>
                <a:cubicBezTo>
                  <a:pt x="7922467" y="3160369"/>
                  <a:pt x="7951419" y="3131417"/>
                  <a:pt x="7987133" y="3131417"/>
                </a:cubicBezTo>
                <a:close/>
                <a:moveTo>
                  <a:pt x="7830562" y="3131417"/>
                </a:moveTo>
                <a:cubicBezTo>
                  <a:pt x="7866276" y="3131417"/>
                  <a:pt x="7895228" y="3160369"/>
                  <a:pt x="7895228" y="3196083"/>
                </a:cubicBezTo>
                <a:cubicBezTo>
                  <a:pt x="7895228" y="3231797"/>
                  <a:pt x="7866276" y="3260749"/>
                  <a:pt x="7830562" y="3260749"/>
                </a:cubicBezTo>
                <a:cubicBezTo>
                  <a:pt x="7794848" y="3260749"/>
                  <a:pt x="7765896" y="3231797"/>
                  <a:pt x="7765896" y="3196083"/>
                </a:cubicBezTo>
                <a:cubicBezTo>
                  <a:pt x="7765896" y="3160369"/>
                  <a:pt x="7794848" y="3131417"/>
                  <a:pt x="7830562" y="3131417"/>
                </a:cubicBezTo>
                <a:close/>
                <a:moveTo>
                  <a:pt x="7368669" y="3131417"/>
                </a:moveTo>
                <a:cubicBezTo>
                  <a:pt x="7404383" y="3131417"/>
                  <a:pt x="7433335" y="3160369"/>
                  <a:pt x="7433335" y="3196083"/>
                </a:cubicBezTo>
                <a:cubicBezTo>
                  <a:pt x="7433335" y="3231797"/>
                  <a:pt x="7404383" y="3260749"/>
                  <a:pt x="7368669" y="3260749"/>
                </a:cubicBezTo>
                <a:cubicBezTo>
                  <a:pt x="7332955" y="3260749"/>
                  <a:pt x="7304003" y="3231797"/>
                  <a:pt x="7304003" y="3196083"/>
                </a:cubicBezTo>
                <a:cubicBezTo>
                  <a:pt x="7304003" y="3160369"/>
                  <a:pt x="7332955" y="3131417"/>
                  <a:pt x="7368669" y="3131417"/>
                </a:cubicBezTo>
                <a:close/>
                <a:moveTo>
                  <a:pt x="7212096" y="3131417"/>
                </a:moveTo>
                <a:cubicBezTo>
                  <a:pt x="7247810" y="3131417"/>
                  <a:pt x="7276762" y="3160369"/>
                  <a:pt x="7276762" y="3196083"/>
                </a:cubicBezTo>
                <a:cubicBezTo>
                  <a:pt x="7276762" y="3231797"/>
                  <a:pt x="7247810" y="3260749"/>
                  <a:pt x="7212096" y="3260749"/>
                </a:cubicBezTo>
                <a:cubicBezTo>
                  <a:pt x="7176382" y="3260749"/>
                  <a:pt x="7147430" y="3231797"/>
                  <a:pt x="7147430" y="3196083"/>
                </a:cubicBezTo>
                <a:cubicBezTo>
                  <a:pt x="7147430" y="3160369"/>
                  <a:pt x="7176382" y="3131417"/>
                  <a:pt x="7212096" y="3131417"/>
                </a:cubicBezTo>
                <a:close/>
                <a:moveTo>
                  <a:pt x="7055523" y="3131417"/>
                </a:moveTo>
                <a:cubicBezTo>
                  <a:pt x="7091237" y="3131417"/>
                  <a:pt x="7120189" y="3160369"/>
                  <a:pt x="7120189" y="3196083"/>
                </a:cubicBezTo>
                <a:cubicBezTo>
                  <a:pt x="7120189" y="3231797"/>
                  <a:pt x="7091237" y="3260749"/>
                  <a:pt x="7055523" y="3260749"/>
                </a:cubicBezTo>
                <a:cubicBezTo>
                  <a:pt x="7019809" y="3260749"/>
                  <a:pt x="6990857" y="3231797"/>
                  <a:pt x="6990857" y="3196083"/>
                </a:cubicBezTo>
                <a:cubicBezTo>
                  <a:pt x="6990857" y="3160369"/>
                  <a:pt x="7019809" y="3131417"/>
                  <a:pt x="7055523" y="3131417"/>
                </a:cubicBezTo>
                <a:close/>
                <a:moveTo>
                  <a:pt x="6895037" y="3131417"/>
                </a:moveTo>
                <a:cubicBezTo>
                  <a:pt x="6930751" y="3131417"/>
                  <a:pt x="6959703" y="3160369"/>
                  <a:pt x="6959703" y="3196083"/>
                </a:cubicBezTo>
                <a:cubicBezTo>
                  <a:pt x="6959703" y="3231797"/>
                  <a:pt x="6930751" y="3260749"/>
                  <a:pt x="6895037" y="3260749"/>
                </a:cubicBezTo>
                <a:cubicBezTo>
                  <a:pt x="6859323" y="3260749"/>
                  <a:pt x="6830371" y="3231797"/>
                  <a:pt x="6830371" y="3196083"/>
                </a:cubicBezTo>
                <a:cubicBezTo>
                  <a:pt x="6830371" y="3160369"/>
                  <a:pt x="6859323" y="3131417"/>
                  <a:pt x="6895037" y="3131417"/>
                </a:cubicBezTo>
                <a:close/>
                <a:moveTo>
                  <a:pt x="6585802" y="3131417"/>
                </a:moveTo>
                <a:cubicBezTo>
                  <a:pt x="6621516" y="3131417"/>
                  <a:pt x="6650468" y="3160369"/>
                  <a:pt x="6650468" y="3196083"/>
                </a:cubicBezTo>
                <a:cubicBezTo>
                  <a:pt x="6650468" y="3231797"/>
                  <a:pt x="6621516" y="3260749"/>
                  <a:pt x="6585802" y="3260749"/>
                </a:cubicBezTo>
                <a:cubicBezTo>
                  <a:pt x="6550088" y="3260749"/>
                  <a:pt x="6521136" y="3231797"/>
                  <a:pt x="6521136" y="3196083"/>
                </a:cubicBezTo>
                <a:cubicBezTo>
                  <a:pt x="6521136" y="3160369"/>
                  <a:pt x="6550088" y="3131417"/>
                  <a:pt x="6585802" y="3131417"/>
                </a:cubicBezTo>
                <a:close/>
                <a:moveTo>
                  <a:pt x="6429229" y="3131417"/>
                </a:moveTo>
                <a:cubicBezTo>
                  <a:pt x="6464943" y="3131417"/>
                  <a:pt x="6493895" y="3160369"/>
                  <a:pt x="6493895" y="3196083"/>
                </a:cubicBezTo>
                <a:cubicBezTo>
                  <a:pt x="6493895" y="3231797"/>
                  <a:pt x="6464943" y="3260749"/>
                  <a:pt x="6429229" y="3260749"/>
                </a:cubicBezTo>
                <a:cubicBezTo>
                  <a:pt x="6393515" y="3260749"/>
                  <a:pt x="6364563" y="3231797"/>
                  <a:pt x="6364563" y="3196083"/>
                </a:cubicBezTo>
                <a:cubicBezTo>
                  <a:pt x="6364563" y="3160369"/>
                  <a:pt x="6393515" y="3131417"/>
                  <a:pt x="6429229" y="3131417"/>
                </a:cubicBezTo>
                <a:close/>
                <a:moveTo>
                  <a:pt x="6276571" y="3131417"/>
                </a:moveTo>
                <a:cubicBezTo>
                  <a:pt x="6312285" y="3131417"/>
                  <a:pt x="6341237" y="3160369"/>
                  <a:pt x="6341237" y="3196083"/>
                </a:cubicBezTo>
                <a:cubicBezTo>
                  <a:pt x="6341237" y="3231797"/>
                  <a:pt x="6312285" y="3260749"/>
                  <a:pt x="6276571" y="3260749"/>
                </a:cubicBezTo>
                <a:cubicBezTo>
                  <a:pt x="6240857" y="3260749"/>
                  <a:pt x="6211905" y="3231797"/>
                  <a:pt x="6211905" y="3196083"/>
                </a:cubicBezTo>
                <a:cubicBezTo>
                  <a:pt x="6211905" y="3160369"/>
                  <a:pt x="6240857" y="3131417"/>
                  <a:pt x="6276571" y="3131417"/>
                </a:cubicBezTo>
                <a:close/>
                <a:moveTo>
                  <a:pt x="6119999" y="3131417"/>
                </a:moveTo>
                <a:cubicBezTo>
                  <a:pt x="6155713" y="3131417"/>
                  <a:pt x="6184665" y="3160369"/>
                  <a:pt x="6184665" y="3196083"/>
                </a:cubicBezTo>
                <a:cubicBezTo>
                  <a:pt x="6184665" y="3231797"/>
                  <a:pt x="6155713" y="3260749"/>
                  <a:pt x="6119999" y="3260749"/>
                </a:cubicBezTo>
                <a:cubicBezTo>
                  <a:pt x="6084285" y="3260749"/>
                  <a:pt x="6055333" y="3231797"/>
                  <a:pt x="6055333" y="3196083"/>
                </a:cubicBezTo>
                <a:cubicBezTo>
                  <a:pt x="6055333" y="3160369"/>
                  <a:pt x="6084285" y="3131417"/>
                  <a:pt x="6119999" y="3131417"/>
                </a:cubicBezTo>
                <a:close/>
                <a:moveTo>
                  <a:pt x="5967338" y="3131417"/>
                </a:moveTo>
                <a:cubicBezTo>
                  <a:pt x="6003052" y="3131417"/>
                  <a:pt x="6032004" y="3160369"/>
                  <a:pt x="6032004" y="3196083"/>
                </a:cubicBezTo>
                <a:cubicBezTo>
                  <a:pt x="6032004" y="3231797"/>
                  <a:pt x="6003052" y="3260749"/>
                  <a:pt x="5967338" y="3260749"/>
                </a:cubicBezTo>
                <a:cubicBezTo>
                  <a:pt x="5931624" y="3260749"/>
                  <a:pt x="5902672" y="3231797"/>
                  <a:pt x="5902672" y="3196083"/>
                </a:cubicBezTo>
                <a:cubicBezTo>
                  <a:pt x="5902672" y="3160369"/>
                  <a:pt x="5931624" y="3131417"/>
                  <a:pt x="5967338" y="3131417"/>
                </a:cubicBezTo>
                <a:close/>
                <a:moveTo>
                  <a:pt x="5810780" y="3131417"/>
                </a:moveTo>
                <a:cubicBezTo>
                  <a:pt x="5846479" y="3131417"/>
                  <a:pt x="5875431" y="3160369"/>
                  <a:pt x="5875431" y="3196083"/>
                </a:cubicBezTo>
                <a:cubicBezTo>
                  <a:pt x="5875431" y="3231797"/>
                  <a:pt x="5846479" y="3260749"/>
                  <a:pt x="5810780" y="3260749"/>
                </a:cubicBezTo>
                <a:cubicBezTo>
                  <a:pt x="5775061" y="3260749"/>
                  <a:pt x="5746108" y="3231797"/>
                  <a:pt x="5746108" y="3196083"/>
                </a:cubicBezTo>
                <a:cubicBezTo>
                  <a:pt x="5746108" y="3160369"/>
                  <a:pt x="5775061" y="3131417"/>
                  <a:pt x="5810780" y="3131417"/>
                </a:cubicBezTo>
                <a:close/>
                <a:moveTo>
                  <a:pt x="5658107" y="3131417"/>
                </a:moveTo>
                <a:cubicBezTo>
                  <a:pt x="5693821" y="3131417"/>
                  <a:pt x="5722777" y="3160369"/>
                  <a:pt x="5722777" y="3196083"/>
                </a:cubicBezTo>
                <a:cubicBezTo>
                  <a:pt x="5722777" y="3231797"/>
                  <a:pt x="5693821" y="3260749"/>
                  <a:pt x="5658107" y="3260749"/>
                </a:cubicBezTo>
                <a:cubicBezTo>
                  <a:pt x="5622394" y="3260749"/>
                  <a:pt x="5593441" y="3231797"/>
                  <a:pt x="5593441" y="3196083"/>
                </a:cubicBezTo>
                <a:cubicBezTo>
                  <a:pt x="5593441" y="3160369"/>
                  <a:pt x="5622394" y="3131417"/>
                  <a:pt x="5658107" y="3131417"/>
                </a:cubicBezTo>
                <a:close/>
                <a:moveTo>
                  <a:pt x="5501538" y="3131417"/>
                </a:moveTo>
                <a:cubicBezTo>
                  <a:pt x="5537252" y="3131417"/>
                  <a:pt x="5566202" y="3160369"/>
                  <a:pt x="5566202" y="3196083"/>
                </a:cubicBezTo>
                <a:cubicBezTo>
                  <a:pt x="5566202" y="3231797"/>
                  <a:pt x="5537252" y="3260749"/>
                  <a:pt x="5501538" y="3260749"/>
                </a:cubicBezTo>
                <a:cubicBezTo>
                  <a:pt x="5465825" y="3260749"/>
                  <a:pt x="5436876" y="3231797"/>
                  <a:pt x="5436876" y="3196083"/>
                </a:cubicBezTo>
                <a:cubicBezTo>
                  <a:pt x="5436876" y="3160369"/>
                  <a:pt x="5465825" y="3131417"/>
                  <a:pt x="5501538" y="3131417"/>
                </a:cubicBezTo>
                <a:close/>
                <a:moveTo>
                  <a:pt x="5348883" y="3131417"/>
                </a:moveTo>
                <a:cubicBezTo>
                  <a:pt x="5384598" y="3131417"/>
                  <a:pt x="5413549" y="3160369"/>
                  <a:pt x="5413549" y="3196083"/>
                </a:cubicBezTo>
                <a:cubicBezTo>
                  <a:pt x="5413549" y="3231797"/>
                  <a:pt x="5384598" y="3260749"/>
                  <a:pt x="5348883" y="3260749"/>
                </a:cubicBezTo>
                <a:cubicBezTo>
                  <a:pt x="5313174" y="3260749"/>
                  <a:pt x="5284218" y="3231797"/>
                  <a:pt x="5284218" y="3196083"/>
                </a:cubicBezTo>
                <a:cubicBezTo>
                  <a:pt x="5284218" y="3160369"/>
                  <a:pt x="5313174" y="3131417"/>
                  <a:pt x="5348883" y="3131417"/>
                </a:cubicBezTo>
                <a:close/>
                <a:moveTo>
                  <a:pt x="5192310" y="3131417"/>
                </a:moveTo>
                <a:cubicBezTo>
                  <a:pt x="5228026" y="3131417"/>
                  <a:pt x="5256975" y="3160369"/>
                  <a:pt x="5256975" y="3196083"/>
                </a:cubicBezTo>
                <a:cubicBezTo>
                  <a:pt x="5256975" y="3231797"/>
                  <a:pt x="5228026" y="3260749"/>
                  <a:pt x="5192310" y="3260749"/>
                </a:cubicBezTo>
                <a:cubicBezTo>
                  <a:pt x="5156601" y="3260749"/>
                  <a:pt x="5127644" y="3231797"/>
                  <a:pt x="5127644" y="3196083"/>
                </a:cubicBezTo>
                <a:cubicBezTo>
                  <a:pt x="5127644" y="3160369"/>
                  <a:pt x="5156601" y="3131417"/>
                  <a:pt x="5192310" y="3131417"/>
                </a:cubicBezTo>
                <a:close/>
                <a:moveTo>
                  <a:pt x="5031828" y="3131417"/>
                </a:moveTo>
                <a:cubicBezTo>
                  <a:pt x="5067539" y="3131417"/>
                  <a:pt x="5096490" y="3160369"/>
                  <a:pt x="5096490" y="3196083"/>
                </a:cubicBezTo>
                <a:cubicBezTo>
                  <a:pt x="5096490" y="3231797"/>
                  <a:pt x="5067539" y="3260749"/>
                  <a:pt x="5031828" y="3260749"/>
                </a:cubicBezTo>
                <a:cubicBezTo>
                  <a:pt x="4996106" y="3260749"/>
                  <a:pt x="4967158" y="3231797"/>
                  <a:pt x="4967158" y="3196083"/>
                </a:cubicBezTo>
                <a:cubicBezTo>
                  <a:pt x="4967158" y="3160369"/>
                  <a:pt x="4996106" y="3131417"/>
                  <a:pt x="5031828" y="3131417"/>
                </a:cubicBezTo>
                <a:close/>
                <a:moveTo>
                  <a:pt x="2855500" y="3131417"/>
                </a:moveTo>
                <a:cubicBezTo>
                  <a:pt x="2891211" y="3131417"/>
                  <a:pt x="2920162" y="3160369"/>
                  <a:pt x="2920162" y="3196083"/>
                </a:cubicBezTo>
                <a:cubicBezTo>
                  <a:pt x="2920162" y="3231797"/>
                  <a:pt x="2891211" y="3260749"/>
                  <a:pt x="2855500" y="3260749"/>
                </a:cubicBezTo>
                <a:cubicBezTo>
                  <a:pt x="2819788" y="3260749"/>
                  <a:pt x="2790838" y="3231797"/>
                  <a:pt x="2790838" y="3196083"/>
                </a:cubicBezTo>
                <a:cubicBezTo>
                  <a:pt x="2790838" y="3160369"/>
                  <a:pt x="2819788" y="3131417"/>
                  <a:pt x="2855500" y="3131417"/>
                </a:cubicBezTo>
                <a:close/>
                <a:moveTo>
                  <a:pt x="2546285" y="3131417"/>
                </a:moveTo>
                <a:cubicBezTo>
                  <a:pt x="2581998" y="3131417"/>
                  <a:pt x="2610949" y="3160369"/>
                  <a:pt x="2610949" y="3196083"/>
                </a:cubicBezTo>
                <a:cubicBezTo>
                  <a:pt x="2610949" y="3231797"/>
                  <a:pt x="2581998" y="3260749"/>
                  <a:pt x="2546285" y="3260749"/>
                </a:cubicBezTo>
                <a:cubicBezTo>
                  <a:pt x="2510569" y="3260749"/>
                  <a:pt x="2481623" y="3231797"/>
                  <a:pt x="2481623" y="3196083"/>
                </a:cubicBezTo>
                <a:cubicBezTo>
                  <a:pt x="2481623" y="3160369"/>
                  <a:pt x="2510569" y="3131417"/>
                  <a:pt x="2546285" y="3131417"/>
                </a:cubicBezTo>
                <a:close/>
                <a:moveTo>
                  <a:pt x="2237047" y="3131417"/>
                </a:moveTo>
                <a:cubicBezTo>
                  <a:pt x="2272765" y="3131417"/>
                  <a:pt x="2301721" y="3160369"/>
                  <a:pt x="2301721" y="3196083"/>
                </a:cubicBezTo>
                <a:cubicBezTo>
                  <a:pt x="2301721" y="3231797"/>
                  <a:pt x="2272765" y="3260749"/>
                  <a:pt x="2237047" y="3260749"/>
                </a:cubicBezTo>
                <a:cubicBezTo>
                  <a:pt x="2201328" y="3260749"/>
                  <a:pt x="2172373" y="3231797"/>
                  <a:pt x="2172373" y="3196083"/>
                </a:cubicBezTo>
                <a:cubicBezTo>
                  <a:pt x="2172373" y="3160369"/>
                  <a:pt x="2201328" y="3131417"/>
                  <a:pt x="2237047" y="3131417"/>
                </a:cubicBezTo>
                <a:close/>
                <a:moveTo>
                  <a:pt x="2084377" y="3131417"/>
                </a:moveTo>
                <a:cubicBezTo>
                  <a:pt x="2120091" y="3131417"/>
                  <a:pt x="2149042" y="3160369"/>
                  <a:pt x="2149042" y="3196083"/>
                </a:cubicBezTo>
                <a:cubicBezTo>
                  <a:pt x="2149042" y="3231797"/>
                  <a:pt x="2120091" y="3260749"/>
                  <a:pt x="2084377" y="3260749"/>
                </a:cubicBezTo>
                <a:cubicBezTo>
                  <a:pt x="2048655" y="3260749"/>
                  <a:pt x="2019725" y="3231797"/>
                  <a:pt x="2019725" y="3196083"/>
                </a:cubicBezTo>
                <a:cubicBezTo>
                  <a:pt x="2019725" y="3160369"/>
                  <a:pt x="2048655" y="3131417"/>
                  <a:pt x="2084377" y="3131417"/>
                </a:cubicBezTo>
                <a:close/>
                <a:moveTo>
                  <a:pt x="9227976" y="2986586"/>
                </a:moveTo>
                <a:cubicBezTo>
                  <a:pt x="9263690" y="2986586"/>
                  <a:pt x="9292642" y="3015538"/>
                  <a:pt x="9292642" y="3051252"/>
                </a:cubicBezTo>
                <a:cubicBezTo>
                  <a:pt x="9292642" y="3086966"/>
                  <a:pt x="9263690" y="3115919"/>
                  <a:pt x="9227976" y="3115919"/>
                </a:cubicBezTo>
                <a:cubicBezTo>
                  <a:pt x="9192262" y="3115919"/>
                  <a:pt x="9163310" y="3086966"/>
                  <a:pt x="9163310" y="3051252"/>
                </a:cubicBezTo>
                <a:cubicBezTo>
                  <a:pt x="9163310" y="3015538"/>
                  <a:pt x="9192262" y="2986586"/>
                  <a:pt x="9227976" y="2986586"/>
                </a:cubicBezTo>
                <a:close/>
                <a:moveTo>
                  <a:pt x="9075317" y="2986586"/>
                </a:moveTo>
                <a:cubicBezTo>
                  <a:pt x="9111031" y="2986586"/>
                  <a:pt x="9139983" y="3015538"/>
                  <a:pt x="9139983" y="3051252"/>
                </a:cubicBezTo>
                <a:cubicBezTo>
                  <a:pt x="9139983" y="3086966"/>
                  <a:pt x="9111031" y="3115919"/>
                  <a:pt x="9075317" y="3115919"/>
                </a:cubicBezTo>
                <a:cubicBezTo>
                  <a:pt x="9039603" y="3115919"/>
                  <a:pt x="9010651" y="3086966"/>
                  <a:pt x="9010651" y="3051252"/>
                </a:cubicBezTo>
                <a:cubicBezTo>
                  <a:pt x="9010651" y="3015538"/>
                  <a:pt x="9039603" y="2986586"/>
                  <a:pt x="9075317" y="2986586"/>
                </a:cubicBezTo>
                <a:close/>
                <a:moveTo>
                  <a:pt x="9384550" y="2986584"/>
                </a:moveTo>
                <a:cubicBezTo>
                  <a:pt x="9420264" y="2986584"/>
                  <a:pt x="9449216" y="3015536"/>
                  <a:pt x="9449216" y="3051250"/>
                </a:cubicBezTo>
                <a:cubicBezTo>
                  <a:pt x="9449216" y="3086964"/>
                  <a:pt x="9420264" y="3115917"/>
                  <a:pt x="9384550" y="3115917"/>
                </a:cubicBezTo>
                <a:cubicBezTo>
                  <a:pt x="9348836" y="3115917"/>
                  <a:pt x="9319884" y="3086964"/>
                  <a:pt x="9319884" y="3051250"/>
                </a:cubicBezTo>
                <a:cubicBezTo>
                  <a:pt x="9319884" y="3015536"/>
                  <a:pt x="9348836" y="2986584"/>
                  <a:pt x="9384550" y="2986584"/>
                </a:cubicBezTo>
                <a:close/>
                <a:moveTo>
                  <a:pt x="8914829" y="2986584"/>
                </a:moveTo>
                <a:cubicBezTo>
                  <a:pt x="8950543" y="2986584"/>
                  <a:pt x="8979495" y="3015536"/>
                  <a:pt x="8979495" y="3051250"/>
                </a:cubicBezTo>
                <a:cubicBezTo>
                  <a:pt x="8979495" y="3086964"/>
                  <a:pt x="8950543" y="3115917"/>
                  <a:pt x="8914829" y="3115917"/>
                </a:cubicBezTo>
                <a:cubicBezTo>
                  <a:pt x="8879115" y="3115917"/>
                  <a:pt x="8850163" y="3086964"/>
                  <a:pt x="8850163" y="3051250"/>
                </a:cubicBezTo>
                <a:cubicBezTo>
                  <a:pt x="8850163" y="3015536"/>
                  <a:pt x="8879115" y="2986584"/>
                  <a:pt x="8914829" y="2986584"/>
                </a:cubicBezTo>
                <a:close/>
                <a:moveTo>
                  <a:pt x="8766086" y="2986584"/>
                </a:moveTo>
                <a:cubicBezTo>
                  <a:pt x="8801800" y="2986584"/>
                  <a:pt x="8830752" y="3015536"/>
                  <a:pt x="8830752" y="3051250"/>
                </a:cubicBezTo>
                <a:cubicBezTo>
                  <a:pt x="8830752" y="3086964"/>
                  <a:pt x="8801800" y="3115917"/>
                  <a:pt x="8766086" y="3115917"/>
                </a:cubicBezTo>
                <a:cubicBezTo>
                  <a:pt x="8730372" y="3115917"/>
                  <a:pt x="8701420" y="3086964"/>
                  <a:pt x="8701420" y="3051250"/>
                </a:cubicBezTo>
                <a:cubicBezTo>
                  <a:pt x="8701420" y="3015536"/>
                  <a:pt x="8730372" y="2986584"/>
                  <a:pt x="8766086" y="2986584"/>
                </a:cubicBezTo>
                <a:close/>
                <a:moveTo>
                  <a:pt x="8601683" y="2986584"/>
                </a:moveTo>
                <a:cubicBezTo>
                  <a:pt x="8637397" y="2986584"/>
                  <a:pt x="8666349" y="3015536"/>
                  <a:pt x="8666349" y="3051250"/>
                </a:cubicBezTo>
                <a:cubicBezTo>
                  <a:pt x="8666349" y="3086964"/>
                  <a:pt x="8637397" y="3115917"/>
                  <a:pt x="8601683" y="3115917"/>
                </a:cubicBezTo>
                <a:cubicBezTo>
                  <a:pt x="8565969" y="3115917"/>
                  <a:pt x="8537017" y="3086964"/>
                  <a:pt x="8537017" y="3051250"/>
                </a:cubicBezTo>
                <a:cubicBezTo>
                  <a:pt x="8537017" y="3015536"/>
                  <a:pt x="8565969" y="2986584"/>
                  <a:pt x="8601683" y="2986584"/>
                </a:cubicBezTo>
                <a:close/>
                <a:moveTo>
                  <a:pt x="8449025" y="2986584"/>
                </a:moveTo>
                <a:cubicBezTo>
                  <a:pt x="8484739" y="2986584"/>
                  <a:pt x="8513691" y="3015536"/>
                  <a:pt x="8513691" y="3051250"/>
                </a:cubicBezTo>
                <a:cubicBezTo>
                  <a:pt x="8513691" y="3086964"/>
                  <a:pt x="8484739" y="3115917"/>
                  <a:pt x="8449025" y="3115917"/>
                </a:cubicBezTo>
                <a:cubicBezTo>
                  <a:pt x="8413311" y="3115917"/>
                  <a:pt x="8384359" y="3086964"/>
                  <a:pt x="8384359" y="3051250"/>
                </a:cubicBezTo>
                <a:cubicBezTo>
                  <a:pt x="8384359" y="3015536"/>
                  <a:pt x="8413311" y="2986584"/>
                  <a:pt x="8449025" y="2986584"/>
                </a:cubicBezTo>
                <a:close/>
                <a:moveTo>
                  <a:pt x="8139793" y="2986584"/>
                </a:moveTo>
                <a:cubicBezTo>
                  <a:pt x="8175507" y="2986584"/>
                  <a:pt x="8204459" y="3015536"/>
                  <a:pt x="8204459" y="3051250"/>
                </a:cubicBezTo>
                <a:cubicBezTo>
                  <a:pt x="8204459" y="3086964"/>
                  <a:pt x="8175507" y="3115917"/>
                  <a:pt x="8139793" y="3115917"/>
                </a:cubicBezTo>
                <a:cubicBezTo>
                  <a:pt x="8104079" y="3115917"/>
                  <a:pt x="8075127" y="3086964"/>
                  <a:pt x="8075127" y="3051250"/>
                </a:cubicBezTo>
                <a:cubicBezTo>
                  <a:pt x="8075127" y="3015536"/>
                  <a:pt x="8104079" y="2986584"/>
                  <a:pt x="8139793" y="2986584"/>
                </a:cubicBezTo>
                <a:close/>
                <a:moveTo>
                  <a:pt x="7987133" y="2986584"/>
                </a:moveTo>
                <a:cubicBezTo>
                  <a:pt x="8022847" y="2986584"/>
                  <a:pt x="8051799" y="3015536"/>
                  <a:pt x="8051799" y="3051250"/>
                </a:cubicBezTo>
                <a:cubicBezTo>
                  <a:pt x="8051799" y="3086964"/>
                  <a:pt x="8022847" y="3115917"/>
                  <a:pt x="7987133" y="3115917"/>
                </a:cubicBezTo>
                <a:cubicBezTo>
                  <a:pt x="7951419" y="3115917"/>
                  <a:pt x="7922467" y="3086964"/>
                  <a:pt x="7922467" y="3051250"/>
                </a:cubicBezTo>
                <a:cubicBezTo>
                  <a:pt x="7922467" y="3015536"/>
                  <a:pt x="7951419" y="2986584"/>
                  <a:pt x="7987133" y="2986584"/>
                </a:cubicBezTo>
                <a:close/>
                <a:moveTo>
                  <a:pt x="7830562" y="2986584"/>
                </a:moveTo>
                <a:cubicBezTo>
                  <a:pt x="7866276" y="2986584"/>
                  <a:pt x="7895228" y="3015536"/>
                  <a:pt x="7895228" y="3051250"/>
                </a:cubicBezTo>
                <a:cubicBezTo>
                  <a:pt x="7895228" y="3086964"/>
                  <a:pt x="7866276" y="3115917"/>
                  <a:pt x="7830562" y="3115917"/>
                </a:cubicBezTo>
                <a:cubicBezTo>
                  <a:pt x="7794848" y="3115917"/>
                  <a:pt x="7765896" y="3086964"/>
                  <a:pt x="7765896" y="3051250"/>
                </a:cubicBezTo>
                <a:cubicBezTo>
                  <a:pt x="7765896" y="3015536"/>
                  <a:pt x="7794848" y="2986584"/>
                  <a:pt x="7830562" y="2986584"/>
                </a:cubicBezTo>
                <a:close/>
                <a:moveTo>
                  <a:pt x="7368669" y="2986584"/>
                </a:moveTo>
                <a:cubicBezTo>
                  <a:pt x="7404383" y="2986584"/>
                  <a:pt x="7433335" y="3015536"/>
                  <a:pt x="7433335" y="3051250"/>
                </a:cubicBezTo>
                <a:cubicBezTo>
                  <a:pt x="7433335" y="3086964"/>
                  <a:pt x="7404383" y="3115917"/>
                  <a:pt x="7368669" y="3115917"/>
                </a:cubicBezTo>
                <a:cubicBezTo>
                  <a:pt x="7332955" y="3115917"/>
                  <a:pt x="7304003" y="3086964"/>
                  <a:pt x="7304003" y="3051250"/>
                </a:cubicBezTo>
                <a:cubicBezTo>
                  <a:pt x="7304003" y="3015536"/>
                  <a:pt x="7332955" y="2986584"/>
                  <a:pt x="7368669" y="2986584"/>
                </a:cubicBezTo>
                <a:close/>
                <a:moveTo>
                  <a:pt x="6742377" y="2986584"/>
                </a:moveTo>
                <a:cubicBezTo>
                  <a:pt x="6778091" y="2986584"/>
                  <a:pt x="6807043" y="3015536"/>
                  <a:pt x="6807043" y="3051250"/>
                </a:cubicBezTo>
                <a:cubicBezTo>
                  <a:pt x="6807043" y="3086964"/>
                  <a:pt x="6778091" y="3115917"/>
                  <a:pt x="6742377" y="3115917"/>
                </a:cubicBezTo>
                <a:cubicBezTo>
                  <a:pt x="6706663" y="3115917"/>
                  <a:pt x="6677711" y="3086964"/>
                  <a:pt x="6677711" y="3051250"/>
                </a:cubicBezTo>
                <a:cubicBezTo>
                  <a:pt x="6677711" y="3015536"/>
                  <a:pt x="6706663" y="2986584"/>
                  <a:pt x="6742377" y="2986584"/>
                </a:cubicBezTo>
                <a:close/>
                <a:moveTo>
                  <a:pt x="6429229" y="2986584"/>
                </a:moveTo>
                <a:cubicBezTo>
                  <a:pt x="6464943" y="2986584"/>
                  <a:pt x="6493895" y="3015536"/>
                  <a:pt x="6493895" y="3051250"/>
                </a:cubicBezTo>
                <a:cubicBezTo>
                  <a:pt x="6493895" y="3086964"/>
                  <a:pt x="6464943" y="3115917"/>
                  <a:pt x="6429229" y="3115917"/>
                </a:cubicBezTo>
                <a:cubicBezTo>
                  <a:pt x="6393515" y="3115917"/>
                  <a:pt x="6364563" y="3086964"/>
                  <a:pt x="6364563" y="3051250"/>
                </a:cubicBezTo>
                <a:cubicBezTo>
                  <a:pt x="6364563" y="3015536"/>
                  <a:pt x="6393515" y="2986584"/>
                  <a:pt x="6429229" y="2986584"/>
                </a:cubicBezTo>
                <a:close/>
                <a:moveTo>
                  <a:pt x="6276571" y="2986584"/>
                </a:moveTo>
                <a:cubicBezTo>
                  <a:pt x="6312285" y="2986584"/>
                  <a:pt x="6341237" y="3015536"/>
                  <a:pt x="6341237" y="3051250"/>
                </a:cubicBezTo>
                <a:cubicBezTo>
                  <a:pt x="6341237" y="3086964"/>
                  <a:pt x="6312285" y="3115917"/>
                  <a:pt x="6276571" y="3115917"/>
                </a:cubicBezTo>
                <a:cubicBezTo>
                  <a:pt x="6240857" y="3115917"/>
                  <a:pt x="6211905" y="3086964"/>
                  <a:pt x="6211905" y="3051250"/>
                </a:cubicBezTo>
                <a:cubicBezTo>
                  <a:pt x="6211905" y="3015536"/>
                  <a:pt x="6240857" y="2986584"/>
                  <a:pt x="6276571" y="2986584"/>
                </a:cubicBezTo>
                <a:close/>
                <a:moveTo>
                  <a:pt x="5967339" y="2986584"/>
                </a:moveTo>
                <a:cubicBezTo>
                  <a:pt x="6003053" y="2986584"/>
                  <a:pt x="6032005" y="3015536"/>
                  <a:pt x="6032005" y="3051250"/>
                </a:cubicBezTo>
                <a:cubicBezTo>
                  <a:pt x="6032005" y="3086964"/>
                  <a:pt x="6003053" y="3115917"/>
                  <a:pt x="5967339" y="3115917"/>
                </a:cubicBezTo>
                <a:cubicBezTo>
                  <a:pt x="5931625" y="3115917"/>
                  <a:pt x="5902673" y="3086964"/>
                  <a:pt x="5902673" y="3051250"/>
                </a:cubicBezTo>
                <a:cubicBezTo>
                  <a:pt x="5902673" y="3015536"/>
                  <a:pt x="5931625" y="2986584"/>
                  <a:pt x="5967339" y="2986584"/>
                </a:cubicBezTo>
                <a:close/>
                <a:moveTo>
                  <a:pt x="5810783" y="2986584"/>
                </a:moveTo>
                <a:cubicBezTo>
                  <a:pt x="5846479" y="2986584"/>
                  <a:pt x="5875431" y="3015536"/>
                  <a:pt x="5875431" y="3051250"/>
                </a:cubicBezTo>
                <a:cubicBezTo>
                  <a:pt x="5875431" y="3086964"/>
                  <a:pt x="5846479" y="3115917"/>
                  <a:pt x="5810783" y="3115917"/>
                </a:cubicBezTo>
                <a:cubicBezTo>
                  <a:pt x="5775064" y="3115917"/>
                  <a:pt x="5746108" y="3086964"/>
                  <a:pt x="5746108" y="3051250"/>
                </a:cubicBezTo>
                <a:cubicBezTo>
                  <a:pt x="5746108" y="3015536"/>
                  <a:pt x="5775064" y="2986584"/>
                  <a:pt x="5810783" y="2986584"/>
                </a:cubicBezTo>
                <a:close/>
                <a:moveTo>
                  <a:pt x="5658107" y="2986584"/>
                </a:moveTo>
                <a:cubicBezTo>
                  <a:pt x="5693821" y="2986584"/>
                  <a:pt x="5722777" y="3015536"/>
                  <a:pt x="5722777" y="3051250"/>
                </a:cubicBezTo>
                <a:cubicBezTo>
                  <a:pt x="5722777" y="3086964"/>
                  <a:pt x="5693821" y="3115917"/>
                  <a:pt x="5658107" y="3115917"/>
                </a:cubicBezTo>
                <a:cubicBezTo>
                  <a:pt x="5622395" y="3115917"/>
                  <a:pt x="5593441" y="3086964"/>
                  <a:pt x="5593441" y="3051250"/>
                </a:cubicBezTo>
                <a:cubicBezTo>
                  <a:pt x="5593441" y="3015536"/>
                  <a:pt x="5622395" y="2986584"/>
                  <a:pt x="5658107" y="2986584"/>
                </a:cubicBezTo>
                <a:close/>
                <a:moveTo>
                  <a:pt x="5501538" y="2986584"/>
                </a:moveTo>
                <a:cubicBezTo>
                  <a:pt x="5537252" y="2986584"/>
                  <a:pt x="5566202" y="3015536"/>
                  <a:pt x="5566202" y="3051250"/>
                </a:cubicBezTo>
                <a:cubicBezTo>
                  <a:pt x="5566202" y="3086964"/>
                  <a:pt x="5537252" y="3115917"/>
                  <a:pt x="5501538" y="3115917"/>
                </a:cubicBezTo>
                <a:cubicBezTo>
                  <a:pt x="5465825" y="3115917"/>
                  <a:pt x="5436877" y="3086964"/>
                  <a:pt x="5436877" y="3051250"/>
                </a:cubicBezTo>
                <a:cubicBezTo>
                  <a:pt x="5436877" y="3015536"/>
                  <a:pt x="5465825" y="2986584"/>
                  <a:pt x="5501538" y="2986584"/>
                </a:cubicBezTo>
                <a:close/>
                <a:moveTo>
                  <a:pt x="5192312" y="2986584"/>
                </a:moveTo>
                <a:cubicBezTo>
                  <a:pt x="5228028" y="2986584"/>
                  <a:pt x="5256975" y="3015536"/>
                  <a:pt x="5256975" y="3051250"/>
                </a:cubicBezTo>
                <a:cubicBezTo>
                  <a:pt x="5256975" y="3086964"/>
                  <a:pt x="5228028" y="3115917"/>
                  <a:pt x="5192312" y="3115917"/>
                </a:cubicBezTo>
                <a:cubicBezTo>
                  <a:pt x="5156602" y="3115917"/>
                  <a:pt x="5127645" y="3086964"/>
                  <a:pt x="5127645" y="3051250"/>
                </a:cubicBezTo>
                <a:cubicBezTo>
                  <a:pt x="5127645" y="3015536"/>
                  <a:pt x="5156602" y="2986584"/>
                  <a:pt x="5192312" y="2986584"/>
                </a:cubicBezTo>
                <a:close/>
                <a:moveTo>
                  <a:pt x="8296368" y="2986583"/>
                </a:moveTo>
                <a:cubicBezTo>
                  <a:pt x="8332082" y="2986583"/>
                  <a:pt x="8361034" y="3015535"/>
                  <a:pt x="8361034" y="3051249"/>
                </a:cubicBezTo>
                <a:cubicBezTo>
                  <a:pt x="8361034" y="3086963"/>
                  <a:pt x="8332082" y="3115916"/>
                  <a:pt x="8296368" y="3115916"/>
                </a:cubicBezTo>
                <a:cubicBezTo>
                  <a:pt x="8260654" y="3115916"/>
                  <a:pt x="8231702" y="3086963"/>
                  <a:pt x="8231702" y="3051249"/>
                </a:cubicBezTo>
                <a:cubicBezTo>
                  <a:pt x="8231702" y="3015535"/>
                  <a:pt x="8260654" y="2986583"/>
                  <a:pt x="8296368" y="2986583"/>
                </a:cubicBezTo>
                <a:close/>
                <a:moveTo>
                  <a:pt x="7677904" y="2986583"/>
                </a:moveTo>
                <a:cubicBezTo>
                  <a:pt x="7713618" y="2986583"/>
                  <a:pt x="7742570" y="3015535"/>
                  <a:pt x="7742570" y="3051249"/>
                </a:cubicBezTo>
                <a:cubicBezTo>
                  <a:pt x="7742570" y="3086963"/>
                  <a:pt x="7713618" y="3115916"/>
                  <a:pt x="7677904" y="3115916"/>
                </a:cubicBezTo>
                <a:cubicBezTo>
                  <a:pt x="7642190" y="3115916"/>
                  <a:pt x="7613238" y="3086963"/>
                  <a:pt x="7613238" y="3051249"/>
                </a:cubicBezTo>
                <a:cubicBezTo>
                  <a:pt x="7613238" y="3015535"/>
                  <a:pt x="7642190" y="2986583"/>
                  <a:pt x="7677904" y="2986583"/>
                </a:cubicBezTo>
                <a:close/>
                <a:moveTo>
                  <a:pt x="7521331" y="2986583"/>
                </a:moveTo>
                <a:cubicBezTo>
                  <a:pt x="7557045" y="2986583"/>
                  <a:pt x="7585997" y="3015535"/>
                  <a:pt x="7585997" y="3051249"/>
                </a:cubicBezTo>
                <a:cubicBezTo>
                  <a:pt x="7585997" y="3086963"/>
                  <a:pt x="7557045" y="3115916"/>
                  <a:pt x="7521331" y="3115916"/>
                </a:cubicBezTo>
                <a:cubicBezTo>
                  <a:pt x="7485617" y="3115916"/>
                  <a:pt x="7456665" y="3086963"/>
                  <a:pt x="7456665" y="3051249"/>
                </a:cubicBezTo>
                <a:cubicBezTo>
                  <a:pt x="7456665" y="3015535"/>
                  <a:pt x="7485617" y="2986583"/>
                  <a:pt x="7521331" y="2986583"/>
                </a:cubicBezTo>
                <a:close/>
                <a:moveTo>
                  <a:pt x="7212096" y="2986583"/>
                </a:moveTo>
                <a:cubicBezTo>
                  <a:pt x="7247810" y="2986583"/>
                  <a:pt x="7276762" y="3015535"/>
                  <a:pt x="7276762" y="3051249"/>
                </a:cubicBezTo>
                <a:cubicBezTo>
                  <a:pt x="7276762" y="3086963"/>
                  <a:pt x="7247810" y="3115916"/>
                  <a:pt x="7212096" y="3115916"/>
                </a:cubicBezTo>
                <a:cubicBezTo>
                  <a:pt x="7176382" y="3115916"/>
                  <a:pt x="7147430" y="3086963"/>
                  <a:pt x="7147430" y="3051249"/>
                </a:cubicBezTo>
                <a:cubicBezTo>
                  <a:pt x="7147430" y="3015535"/>
                  <a:pt x="7176382" y="2986583"/>
                  <a:pt x="7212096" y="2986583"/>
                </a:cubicBezTo>
                <a:close/>
                <a:moveTo>
                  <a:pt x="7055523" y="2986583"/>
                </a:moveTo>
                <a:cubicBezTo>
                  <a:pt x="7091237" y="2986583"/>
                  <a:pt x="7120189" y="3015535"/>
                  <a:pt x="7120189" y="3051249"/>
                </a:cubicBezTo>
                <a:cubicBezTo>
                  <a:pt x="7120189" y="3086963"/>
                  <a:pt x="7091237" y="3115916"/>
                  <a:pt x="7055523" y="3115916"/>
                </a:cubicBezTo>
                <a:cubicBezTo>
                  <a:pt x="7019809" y="3115916"/>
                  <a:pt x="6990857" y="3086963"/>
                  <a:pt x="6990857" y="3051249"/>
                </a:cubicBezTo>
                <a:cubicBezTo>
                  <a:pt x="6990857" y="3015535"/>
                  <a:pt x="7019809" y="2986583"/>
                  <a:pt x="7055523" y="2986583"/>
                </a:cubicBezTo>
                <a:close/>
                <a:moveTo>
                  <a:pt x="6895037" y="2986583"/>
                </a:moveTo>
                <a:cubicBezTo>
                  <a:pt x="6930751" y="2986583"/>
                  <a:pt x="6959703" y="3015535"/>
                  <a:pt x="6959703" y="3051249"/>
                </a:cubicBezTo>
                <a:cubicBezTo>
                  <a:pt x="6959703" y="3086963"/>
                  <a:pt x="6930751" y="3115916"/>
                  <a:pt x="6895037" y="3115916"/>
                </a:cubicBezTo>
                <a:cubicBezTo>
                  <a:pt x="6859323" y="3115916"/>
                  <a:pt x="6830371" y="3086963"/>
                  <a:pt x="6830371" y="3051249"/>
                </a:cubicBezTo>
                <a:cubicBezTo>
                  <a:pt x="6830371" y="3015535"/>
                  <a:pt x="6859323" y="2986583"/>
                  <a:pt x="6895037" y="2986583"/>
                </a:cubicBezTo>
                <a:close/>
                <a:moveTo>
                  <a:pt x="6585804" y="2986583"/>
                </a:moveTo>
                <a:cubicBezTo>
                  <a:pt x="6621518" y="2986583"/>
                  <a:pt x="6650470" y="3015535"/>
                  <a:pt x="6650470" y="3051249"/>
                </a:cubicBezTo>
                <a:cubicBezTo>
                  <a:pt x="6650470" y="3086963"/>
                  <a:pt x="6621518" y="3115916"/>
                  <a:pt x="6585804" y="3115916"/>
                </a:cubicBezTo>
                <a:cubicBezTo>
                  <a:pt x="6550090" y="3115916"/>
                  <a:pt x="6521138" y="3086963"/>
                  <a:pt x="6521138" y="3051249"/>
                </a:cubicBezTo>
                <a:cubicBezTo>
                  <a:pt x="6521138" y="3015535"/>
                  <a:pt x="6550090" y="2986583"/>
                  <a:pt x="6585804" y="2986583"/>
                </a:cubicBezTo>
                <a:close/>
                <a:moveTo>
                  <a:pt x="6119999" y="2986583"/>
                </a:moveTo>
                <a:cubicBezTo>
                  <a:pt x="6155713" y="2986583"/>
                  <a:pt x="6184665" y="3015535"/>
                  <a:pt x="6184665" y="3051249"/>
                </a:cubicBezTo>
                <a:cubicBezTo>
                  <a:pt x="6184665" y="3086963"/>
                  <a:pt x="6155713" y="3115916"/>
                  <a:pt x="6119999" y="3115916"/>
                </a:cubicBezTo>
                <a:cubicBezTo>
                  <a:pt x="6084285" y="3115916"/>
                  <a:pt x="6055333" y="3086963"/>
                  <a:pt x="6055333" y="3051249"/>
                </a:cubicBezTo>
                <a:cubicBezTo>
                  <a:pt x="6055333" y="3015535"/>
                  <a:pt x="6084285" y="2986583"/>
                  <a:pt x="6119999" y="2986583"/>
                </a:cubicBezTo>
                <a:close/>
                <a:moveTo>
                  <a:pt x="5348883" y="2986583"/>
                </a:moveTo>
                <a:cubicBezTo>
                  <a:pt x="5384600" y="2986583"/>
                  <a:pt x="5413550" y="3015535"/>
                  <a:pt x="5413550" y="3051249"/>
                </a:cubicBezTo>
                <a:cubicBezTo>
                  <a:pt x="5413550" y="3086963"/>
                  <a:pt x="5384600" y="3115916"/>
                  <a:pt x="5348883" y="3115916"/>
                </a:cubicBezTo>
                <a:cubicBezTo>
                  <a:pt x="5313177" y="3115916"/>
                  <a:pt x="5284221" y="3086963"/>
                  <a:pt x="5284221" y="3051249"/>
                </a:cubicBezTo>
                <a:cubicBezTo>
                  <a:pt x="5284221" y="3015535"/>
                  <a:pt x="5313177" y="2986583"/>
                  <a:pt x="5348883" y="2986583"/>
                </a:cubicBezTo>
                <a:close/>
                <a:moveTo>
                  <a:pt x="5031831" y="2986583"/>
                </a:moveTo>
                <a:cubicBezTo>
                  <a:pt x="5067541" y="2986583"/>
                  <a:pt x="5096494" y="3015535"/>
                  <a:pt x="5096494" y="3051249"/>
                </a:cubicBezTo>
                <a:cubicBezTo>
                  <a:pt x="5096494" y="3086963"/>
                  <a:pt x="5067541" y="3115916"/>
                  <a:pt x="5031831" y="3115916"/>
                </a:cubicBezTo>
                <a:cubicBezTo>
                  <a:pt x="4996109" y="3115916"/>
                  <a:pt x="4967160" y="3086963"/>
                  <a:pt x="4967160" y="3051249"/>
                </a:cubicBezTo>
                <a:cubicBezTo>
                  <a:pt x="4967160" y="3015535"/>
                  <a:pt x="4996109" y="2986583"/>
                  <a:pt x="5031831" y="2986583"/>
                </a:cubicBezTo>
                <a:close/>
                <a:moveTo>
                  <a:pt x="2237053" y="2986583"/>
                </a:moveTo>
                <a:cubicBezTo>
                  <a:pt x="2272772" y="2986583"/>
                  <a:pt x="2301728" y="3015535"/>
                  <a:pt x="2301728" y="3051249"/>
                </a:cubicBezTo>
                <a:cubicBezTo>
                  <a:pt x="2301728" y="3086963"/>
                  <a:pt x="2272772" y="3115916"/>
                  <a:pt x="2237053" y="3115916"/>
                </a:cubicBezTo>
                <a:cubicBezTo>
                  <a:pt x="2201334" y="3115916"/>
                  <a:pt x="2172378" y="3086963"/>
                  <a:pt x="2172378" y="3051249"/>
                </a:cubicBezTo>
                <a:cubicBezTo>
                  <a:pt x="2172378" y="3015535"/>
                  <a:pt x="2201334" y="2986583"/>
                  <a:pt x="2237053" y="2986583"/>
                </a:cubicBezTo>
                <a:close/>
                <a:moveTo>
                  <a:pt x="2084380" y="2986583"/>
                </a:moveTo>
                <a:cubicBezTo>
                  <a:pt x="2120098" y="2986583"/>
                  <a:pt x="2149047" y="3015535"/>
                  <a:pt x="2149047" y="3051249"/>
                </a:cubicBezTo>
                <a:cubicBezTo>
                  <a:pt x="2149047" y="3086963"/>
                  <a:pt x="2120098" y="3115916"/>
                  <a:pt x="2084380" y="3115916"/>
                </a:cubicBezTo>
                <a:cubicBezTo>
                  <a:pt x="2048661" y="3115916"/>
                  <a:pt x="2019725" y="3086963"/>
                  <a:pt x="2019725" y="3051249"/>
                </a:cubicBezTo>
                <a:cubicBezTo>
                  <a:pt x="2019725" y="3015535"/>
                  <a:pt x="2048661" y="2986583"/>
                  <a:pt x="2084380" y="2986583"/>
                </a:cubicBezTo>
                <a:close/>
                <a:moveTo>
                  <a:pt x="1927806" y="2986583"/>
                </a:moveTo>
                <a:cubicBezTo>
                  <a:pt x="1963522" y="2986583"/>
                  <a:pt x="1992481" y="3015535"/>
                  <a:pt x="1992481" y="3051249"/>
                </a:cubicBezTo>
                <a:cubicBezTo>
                  <a:pt x="1992481" y="3086963"/>
                  <a:pt x="1963522" y="3115916"/>
                  <a:pt x="1927806" y="3115916"/>
                </a:cubicBezTo>
                <a:cubicBezTo>
                  <a:pt x="1892104" y="3115916"/>
                  <a:pt x="1863153" y="3086963"/>
                  <a:pt x="1863153" y="3051249"/>
                </a:cubicBezTo>
                <a:cubicBezTo>
                  <a:pt x="1863153" y="3015535"/>
                  <a:pt x="1892104" y="2986583"/>
                  <a:pt x="1927806" y="2986583"/>
                </a:cubicBezTo>
                <a:close/>
                <a:moveTo>
                  <a:pt x="9384550" y="2841752"/>
                </a:moveTo>
                <a:cubicBezTo>
                  <a:pt x="9420264" y="2841752"/>
                  <a:pt x="9449216" y="2870704"/>
                  <a:pt x="9449216" y="2906419"/>
                </a:cubicBezTo>
                <a:cubicBezTo>
                  <a:pt x="9449216" y="2942133"/>
                  <a:pt x="9420264" y="2971084"/>
                  <a:pt x="9384550" y="2971084"/>
                </a:cubicBezTo>
                <a:cubicBezTo>
                  <a:pt x="9348836" y="2971084"/>
                  <a:pt x="9319884" y="2942133"/>
                  <a:pt x="9319884" y="2906419"/>
                </a:cubicBezTo>
                <a:cubicBezTo>
                  <a:pt x="9319884" y="2870704"/>
                  <a:pt x="9348836" y="2841752"/>
                  <a:pt x="9384550" y="2841752"/>
                </a:cubicBezTo>
                <a:close/>
                <a:moveTo>
                  <a:pt x="9227977" y="2841752"/>
                </a:moveTo>
                <a:cubicBezTo>
                  <a:pt x="9263691" y="2841752"/>
                  <a:pt x="9292643" y="2870704"/>
                  <a:pt x="9292643" y="2906419"/>
                </a:cubicBezTo>
                <a:cubicBezTo>
                  <a:pt x="9292643" y="2942133"/>
                  <a:pt x="9263691" y="2971084"/>
                  <a:pt x="9227977" y="2971084"/>
                </a:cubicBezTo>
                <a:cubicBezTo>
                  <a:pt x="9192263" y="2971084"/>
                  <a:pt x="9163311" y="2942133"/>
                  <a:pt x="9163311" y="2906419"/>
                </a:cubicBezTo>
                <a:cubicBezTo>
                  <a:pt x="9163311" y="2870704"/>
                  <a:pt x="9192263" y="2841752"/>
                  <a:pt x="9227977" y="2841752"/>
                </a:cubicBezTo>
                <a:close/>
                <a:moveTo>
                  <a:pt x="9075319" y="2841752"/>
                </a:moveTo>
                <a:cubicBezTo>
                  <a:pt x="9111033" y="2841752"/>
                  <a:pt x="9139985" y="2870704"/>
                  <a:pt x="9139985" y="2906419"/>
                </a:cubicBezTo>
                <a:cubicBezTo>
                  <a:pt x="9139985" y="2942133"/>
                  <a:pt x="9111033" y="2971084"/>
                  <a:pt x="9075319" y="2971084"/>
                </a:cubicBezTo>
                <a:cubicBezTo>
                  <a:pt x="9039605" y="2971084"/>
                  <a:pt x="9010653" y="2942133"/>
                  <a:pt x="9010653" y="2906419"/>
                </a:cubicBezTo>
                <a:cubicBezTo>
                  <a:pt x="9010653" y="2870704"/>
                  <a:pt x="9039605" y="2841752"/>
                  <a:pt x="9075319" y="2841752"/>
                </a:cubicBezTo>
                <a:close/>
                <a:moveTo>
                  <a:pt x="8914831" y="2841752"/>
                </a:moveTo>
                <a:cubicBezTo>
                  <a:pt x="8950545" y="2841752"/>
                  <a:pt x="8979497" y="2870704"/>
                  <a:pt x="8979497" y="2906419"/>
                </a:cubicBezTo>
                <a:cubicBezTo>
                  <a:pt x="8979497" y="2942133"/>
                  <a:pt x="8950545" y="2971084"/>
                  <a:pt x="8914831" y="2971084"/>
                </a:cubicBezTo>
                <a:cubicBezTo>
                  <a:pt x="8879117" y="2971084"/>
                  <a:pt x="8850165" y="2942133"/>
                  <a:pt x="8850165" y="2906419"/>
                </a:cubicBezTo>
                <a:cubicBezTo>
                  <a:pt x="8850165" y="2870704"/>
                  <a:pt x="8879117" y="2841752"/>
                  <a:pt x="8914831" y="2841752"/>
                </a:cubicBezTo>
                <a:close/>
                <a:moveTo>
                  <a:pt x="8766086" y="2841752"/>
                </a:moveTo>
                <a:cubicBezTo>
                  <a:pt x="8801800" y="2841752"/>
                  <a:pt x="8830752" y="2870704"/>
                  <a:pt x="8830752" y="2906419"/>
                </a:cubicBezTo>
                <a:cubicBezTo>
                  <a:pt x="8830752" y="2942133"/>
                  <a:pt x="8801800" y="2971084"/>
                  <a:pt x="8766086" y="2971084"/>
                </a:cubicBezTo>
                <a:cubicBezTo>
                  <a:pt x="8730372" y="2971084"/>
                  <a:pt x="8701420" y="2942133"/>
                  <a:pt x="8701420" y="2906419"/>
                </a:cubicBezTo>
                <a:cubicBezTo>
                  <a:pt x="8701420" y="2870704"/>
                  <a:pt x="8730372" y="2841752"/>
                  <a:pt x="8766086" y="2841752"/>
                </a:cubicBezTo>
                <a:close/>
                <a:moveTo>
                  <a:pt x="8601683" y="2841752"/>
                </a:moveTo>
                <a:cubicBezTo>
                  <a:pt x="8637397" y="2841752"/>
                  <a:pt x="8666349" y="2870704"/>
                  <a:pt x="8666349" y="2906419"/>
                </a:cubicBezTo>
                <a:cubicBezTo>
                  <a:pt x="8666349" y="2942133"/>
                  <a:pt x="8637397" y="2971084"/>
                  <a:pt x="8601683" y="2971084"/>
                </a:cubicBezTo>
                <a:cubicBezTo>
                  <a:pt x="8565969" y="2971084"/>
                  <a:pt x="8537017" y="2942133"/>
                  <a:pt x="8537017" y="2906419"/>
                </a:cubicBezTo>
                <a:cubicBezTo>
                  <a:pt x="8537017" y="2870704"/>
                  <a:pt x="8565969" y="2841752"/>
                  <a:pt x="8601683" y="2841752"/>
                </a:cubicBezTo>
                <a:close/>
                <a:moveTo>
                  <a:pt x="8449025" y="2841752"/>
                </a:moveTo>
                <a:cubicBezTo>
                  <a:pt x="8484739" y="2841752"/>
                  <a:pt x="8513691" y="2870704"/>
                  <a:pt x="8513691" y="2906419"/>
                </a:cubicBezTo>
                <a:cubicBezTo>
                  <a:pt x="8513691" y="2942133"/>
                  <a:pt x="8484739" y="2971084"/>
                  <a:pt x="8449025" y="2971084"/>
                </a:cubicBezTo>
                <a:cubicBezTo>
                  <a:pt x="8413311" y="2971084"/>
                  <a:pt x="8384359" y="2942133"/>
                  <a:pt x="8384359" y="2906419"/>
                </a:cubicBezTo>
                <a:cubicBezTo>
                  <a:pt x="8384359" y="2870704"/>
                  <a:pt x="8413311" y="2841752"/>
                  <a:pt x="8449025" y="2841752"/>
                </a:cubicBezTo>
                <a:close/>
                <a:moveTo>
                  <a:pt x="8296368" y="2841752"/>
                </a:moveTo>
                <a:cubicBezTo>
                  <a:pt x="8332082" y="2841752"/>
                  <a:pt x="8361034" y="2870704"/>
                  <a:pt x="8361034" y="2906419"/>
                </a:cubicBezTo>
                <a:cubicBezTo>
                  <a:pt x="8361034" y="2942133"/>
                  <a:pt x="8332082" y="2971084"/>
                  <a:pt x="8296368" y="2971084"/>
                </a:cubicBezTo>
                <a:cubicBezTo>
                  <a:pt x="8260654" y="2971084"/>
                  <a:pt x="8231702" y="2942133"/>
                  <a:pt x="8231702" y="2906419"/>
                </a:cubicBezTo>
                <a:cubicBezTo>
                  <a:pt x="8231702" y="2870704"/>
                  <a:pt x="8260654" y="2841752"/>
                  <a:pt x="8296368" y="2841752"/>
                </a:cubicBezTo>
                <a:close/>
                <a:moveTo>
                  <a:pt x="8139793" y="2841752"/>
                </a:moveTo>
                <a:cubicBezTo>
                  <a:pt x="8175507" y="2841752"/>
                  <a:pt x="8204459" y="2870704"/>
                  <a:pt x="8204459" y="2906419"/>
                </a:cubicBezTo>
                <a:cubicBezTo>
                  <a:pt x="8204459" y="2942133"/>
                  <a:pt x="8175507" y="2971084"/>
                  <a:pt x="8139793" y="2971084"/>
                </a:cubicBezTo>
                <a:cubicBezTo>
                  <a:pt x="8104079" y="2971084"/>
                  <a:pt x="8075127" y="2942133"/>
                  <a:pt x="8075127" y="2906419"/>
                </a:cubicBezTo>
                <a:cubicBezTo>
                  <a:pt x="8075127" y="2870704"/>
                  <a:pt x="8104079" y="2841752"/>
                  <a:pt x="8139793" y="2841752"/>
                </a:cubicBezTo>
                <a:close/>
                <a:moveTo>
                  <a:pt x="7987133" y="2841752"/>
                </a:moveTo>
                <a:cubicBezTo>
                  <a:pt x="8022847" y="2841752"/>
                  <a:pt x="8051799" y="2870704"/>
                  <a:pt x="8051799" y="2906419"/>
                </a:cubicBezTo>
                <a:cubicBezTo>
                  <a:pt x="8051799" y="2942133"/>
                  <a:pt x="8022847" y="2971084"/>
                  <a:pt x="7987133" y="2971084"/>
                </a:cubicBezTo>
                <a:cubicBezTo>
                  <a:pt x="7951419" y="2971084"/>
                  <a:pt x="7922467" y="2942133"/>
                  <a:pt x="7922467" y="2906419"/>
                </a:cubicBezTo>
                <a:cubicBezTo>
                  <a:pt x="7922467" y="2870704"/>
                  <a:pt x="7951419" y="2841752"/>
                  <a:pt x="7987133" y="2841752"/>
                </a:cubicBezTo>
                <a:close/>
                <a:moveTo>
                  <a:pt x="7830562" y="2841752"/>
                </a:moveTo>
                <a:cubicBezTo>
                  <a:pt x="7866276" y="2841752"/>
                  <a:pt x="7895228" y="2870704"/>
                  <a:pt x="7895228" y="2906419"/>
                </a:cubicBezTo>
                <a:cubicBezTo>
                  <a:pt x="7895228" y="2942133"/>
                  <a:pt x="7866276" y="2971084"/>
                  <a:pt x="7830562" y="2971084"/>
                </a:cubicBezTo>
                <a:cubicBezTo>
                  <a:pt x="7794848" y="2971084"/>
                  <a:pt x="7765896" y="2942133"/>
                  <a:pt x="7765896" y="2906419"/>
                </a:cubicBezTo>
                <a:cubicBezTo>
                  <a:pt x="7765896" y="2870704"/>
                  <a:pt x="7794848" y="2841752"/>
                  <a:pt x="7830562" y="2841752"/>
                </a:cubicBezTo>
                <a:close/>
                <a:moveTo>
                  <a:pt x="7677904" y="2841752"/>
                </a:moveTo>
                <a:cubicBezTo>
                  <a:pt x="7713618" y="2841752"/>
                  <a:pt x="7742570" y="2870704"/>
                  <a:pt x="7742570" y="2906419"/>
                </a:cubicBezTo>
                <a:cubicBezTo>
                  <a:pt x="7742570" y="2942133"/>
                  <a:pt x="7713618" y="2971084"/>
                  <a:pt x="7677904" y="2971084"/>
                </a:cubicBezTo>
                <a:cubicBezTo>
                  <a:pt x="7642190" y="2971084"/>
                  <a:pt x="7613238" y="2942133"/>
                  <a:pt x="7613238" y="2906419"/>
                </a:cubicBezTo>
                <a:cubicBezTo>
                  <a:pt x="7613238" y="2870704"/>
                  <a:pt x="7642190" y="2841752"/>
                  <a:pt x="7677904" y="2841752"/>
                </a:cubicBezTo>
                <a:close/>
                <a:moveTo>
                  <a:pt x="7521331" y="2841752"/>
                </a:moveTo>
                <a:cubicBezTo>
                  <a:pt x="7557045" y="2841752"/>
                  <a:pt x="7585997" y="2870704"/>
                  <a:pt x="7585997" y="2906419"/>
                </a:cubicBezTo>
                <a:cubicBezTo>
                  <a:pt x="7585997" y="2942133"/>
                  <a:pt x="7557045" y="2971084"/>
                  <a:pt x="7521331" y="2971084"/>
                </a:cubicBezTo>
                <a:cubicBezTo>
                  <a:pt x="7485617" y="2971084"/>
                  <a:pt x="7456665" y="2942133"/>
                  <a:pt x="7456665" y="2906419"/>
                </a:cubicBezTo>
                <a:cubicBezTo>
                  <a:pt x="7456665" y="2870704"/>
                  <a:pt x="7485617" y="2841752"/>
                  <a:pt x="7521331" y="2841752"/>
                </a:cubicBezTo>
                <a:close/>
                <a:moveTo>
                  <a:pt x="7368669" y="2841752"/>
                </a:moveTo>
                <a:cubicBezTo>
                  <a:pt x="7404383" y="2841752"/>
                  <a:pt x="7433335" y="2870704"/>
                  <a:pt x="7433335" y="2906419"/>
                </a:cubicBezTo>
                <a:cubicBezTo>
                  <a:pt x="7433335" y="2942133"/>
                  <a:pt x="7404383" y="2971084"/>
                  <a:pt x="7368669" y="2971084"/>
                </a:cubicBezTo>
                <a:cubicBezTo>
                  <a:pt x="7332955" y="2971084"/>
                  <a:pt x="7304003" y="2942133"/>
                  <a:pt x="7304003" y="2906419"/>
                </a:cubicBezTo>
                <a:cubicBezTo>
                  <a:pt x="7304003" y="2870704"/>
                  <a:pt x="7332955" y="2841752"/>
                  <a:pt x="7368669" y="2841752"/>
                </a:cubicBezTo>
                <a:close/>
                <a:moveTo>
                  <a:pt x="7212096" y="2841752"/>
                </a:moveTo>
                <a:cubicBezTo>
                  <a:pt x="7247810" y="2841752"/>
                  <a:pt x="7276762" y="2870704"/>
                  <a:pt x="7276762" y="2906419"/>
                </a:cubicBezTo>
                <a:cubicBezTo>
                  <a:pt x="7276762" y="2942133"/>
                  <a:pt x="7247810" y="2971084"/>
                  <a:pt x="7212096" y="2971084"/>
                </a:cubicBezTo>
                <a:cubicBezTo>
                  <a:pt x="7176382" y="2971084"/>
                  <a:pt x="7147430" y="2942133"/>
                  <a:pt x="7147430" y="2906419"/>
                </a:cubicBezTo>
                <a:cubicBezTo>
                  <a:pt x="7147430" y="2870704"/>
                  <a:pt x="7176382" y="2841752"/>
                  <a:pt x="7212096" y="2841752"/>
                </a:cubicBezTo>
                <a:close/>
                <a:moveTo>
                  <a:pt x="7055523" y="2841752"/>
                </a:moveTo>
                <a:cubicBezTo>
                  <a:pt x="7091237" y="2841752"/>
                  <a:pt x="7120189" y="2870704"/>
                  <a:pt x="7120189" y="2906419"/>
                </a:cubicBezTo>
                <a:cubicBezTo>
                  <a:pt x="7120189" y="2942133"/>
                  <a:pt x="7091237" y="2971084"/>
                  <a:pt x="7055523" y="2971084"/>
                </a:cubicBezTo>
                <a:cubicBezTo>
                  <a:pt x="7019809" y="2971084"/>
                  <a:pt x="6990857" y="2942133"/>
                  <a:pt x="6990857" y="2906419"/>
                </a:cubicBezTo>
                <a:cubicBezTo>
                  <a:pt x="6990857" y="2870704"/>
                  <a:pt x="7019809" y="2841752"/>
                  <a:pt x="7055523" y="2841752"/>
                </a:cubicBezTo>
                <a:close/>
                <a:moveTo>
                  <a:pt x="6895037" y="2841752"/>
                </a:moveTo>
                <a:cubicBezTo>
                  <a:pt x="6930751" y="2841752"/>
                  <a:pt x="6959703" y="2870704"/>
                  <a:pt x="6959703" y="2906419"/>
                </a:cubicBezTo>
                <a:cubicBezTo>
                  <a:pt x="6959703" y="2942133"/>
                  <a:pt x="6930751" y="2971084"/>
                  <a:pt x="6895037" y="2971084"/>
                </a:cubicBezTo>
                <a:cubicBezTo>
                  <a:pt x="6859323" y="2971084"/>
                  <a:pt x="6830371" y="2942133"/>
                  <a:pt x="6830371" y="2906419"/>
                </a:cubicBezTo>
                <a:cubicBezTo>
                  <a:pt x="6830371" y="2870704"/>
                  <a:pt x="6859323" y="2841752"/>
                  <a:pt x="6895037" y="2841752"/>
                </a:cubicBezTo>
                <a:close/>
                <a:moveTo>
                  <a:pt x="6742377" y="2841752"/>
                </a:moveTo>
                <a:cubicBezTo>
                  <a:pt x="6778091" y="2841752"/>
                  <a:pt x="6807043" y="2870704"/>
                  <a:pt x="6807043" y="2906419"/>
                </a:cubicBezTo>
                <a:cubicBezTo>
                  <a:pt x="6807043" y="2942133"/>
                  <a:pt x="6778091" y="2971084"/>
                  <a:pt x="6742377" y="2971084"/>
                </a:cubicBezTo>
                <a:cubicBezTo>
                  <a:pt x="6706663" y="2971084"/>
                  <a:pt x="6677711" y="2942133"/>
                  <a:pt x="6677711" y="2906419"/>
                </a:cubicBezTo>
                <a:cubicBezTo>
                  <a:pt x="6677711" y="2870704"/>
                  <a:pt x="6706663" y="2841752"/>
                  <a:pt x="6742377" y="2841752"/>
                </a:cubicBezTo>
                <a:close/>
                <a:moveTo>
                  <a:pt x="6585804" y="2841752"/>
                </a:moveTo>
                <a:cubicBezTo>
                  <a:pt x="6621518" y="2841752"/>
                  <a:pt x="6650470" y="2870704"/>
                  <a:pt x="6650470" y="2906419"/>
                </a:cubicBezTo>
                <a:cubicBezTo>
                  <a:pt x="6650470" y="2942133"/>
                  <a:pt x="6621518" y="2971084"/>
                  <a:pt x="6585804" y="2971084"/>
                </a:cubicBezTo>
                <a:cubicBezTo>
                  <a:pt x="6550090" y="2971084"/>
                  <a:pt x="6521138" y="2942133"/>
                  <a:pt x="6521138" y="2906419"/>
                </a:cubicBezTo>
                <a:cubicBezTo>
                  <a:pt x="6521138" y="2870704"/>
                  <a:pt x="6550090" y="2841752"/>
                  <a:pt x="6585804" y="2841752"/>
                </a:cubicBezTo>
                <a:close/>
                <a:moveTo>
                  <a:pt x="6429229" y="2841752"/>
                </a:moveTo>
                <a:cubicBezTo>
                  <a:pt x="6464943" y="2841752"/>
                  <a:pt x="6493895" y="2870704"/>
                  <a:pt x="6493895" y="2906419"/>
                </a:cubicBezTo>
                <a:cubicBezTo>
                  <a:pt x="6493895" y="2942133"/>
                  <a:pt x="6464943" y="2971084"/>
                  <a:pt x="6429229" y="2971084"/>
                </a:cubicBezTo>
                <a:cubicBezTo>
                  <a:pt x="6393515" y="2971084"/>
                  <a:pt x="6364563" y="2942133"/>
                  <a:pt x="6364563" y="2906419"/>
                </a:cubicBezTo>
                <a:cubicBezTo>
                  <a:pt x="6364563" y="2870704"/>
                  <a:pt x="6393515" y="2841752"/>
                  <a:pt x="6429229" y="2841752"/>
                </a:cubicBezTo>
                <a:close/>
                <a:moveTo>
                  <a:pt x="6276571" y="2841752"/>
                </a:moveTo>
                <a:cubicBezTo>
                  <a:pt x="6312285" y="2841752"/>
                  <a:pt x="6341237" y="2870704"/>
                  <a:pt x="6341237" y="2906419"/>
                </a:cubicBezTo>
                <a:cubicBezTo>
                  <a:pt x="6341237" y="2942133"/>
                  <a:pt x="6312285" y="2971084"/>
                  <a:pt x="6276571" y="2971084"/>
                </a:cubicBezTo>
                <a:cubicBezTo>
                  <a:pt x="6240857" y="2971084"/>
                  <a:pt x="6211905" y="2942133"/>
                  <a:pt x="6211905" y="2906419"/>
                </a:cubicBezTo>
                <a:cubicBezTo>
                  <a:pt x="6211905" y="2870704"/>
                  <a:pt x="6240857" y="2841752"/>
                  <a:pt x="6276571" y="2841752"/>
                </a:cubicBezTo>
                <a:close/>
                <a:moveTo>
                  <a:pt x="6119999" y="2841752"/>
                </a:moveTo>
                <a:cubicBezTo>
                  <a:pt x="6155713" y="2841752"/>
                  <a:pt x="6184665" y="2870704"/>
                  <a:pt x="6184665" y="2906419"/>
                </a:cubicBezTo>
                <a:cubicBezTo>
                  <a:pt x="6184665" y="2942133"/>
                  <a:pt x="6155713" y="2971084"/>
                  <a:pt x="6119999" y="2971084"/>
                </a:cubicBezTo>
                <a:cubicBezTo>
                  <a:pt x="6084285" y="2971084"/>
                  <a:pt x="6055333" y="2942133"/>
                  <a:pt x="6055333" y="2906419"/>
                </a:cubicBezTo>
                <a:cubicBezTo>
                  <a:pt x="6055333" y="2870704"/>
                  <a:pt x="6084285" y="2841752"/>
                  <a:pt x="6119999" y="2841752"/>
                </a:cubicBezTo>
                <a:close/>
                <a:moveTo>
                  <a:pt x="5967339" y="2841752"/>
                </a:moveTo>
                <a:cubicBezTo>
                  <a:pt x="6003053" y="2841752"/>
                  <a:pt x="6032005" y="2870704"/>
                  <a:pt x="6032005" y="2906419"/>
                </a:cubicBezTo>
                <a:cubicBezTo>
                  <a:pt x="6032005" y="2942133"/>
                  <a:pt x="6003053" y="2971084"/>
                  <a:pt x="5967339" y="2971084"/>
                </a:cubicBezTo>
                <a:cubicBezTo>
                  <a:pt x="5931625" y="2971084"/>
                  <a:pt x="5902673" y="2942133"/>
                  <a:pt x="5902673" y="2906419"/>
                </a:cubicBezTo>
                <a:cubicBezTo>
                  <a:pt x="5902673" y="2870704"/>
                  <a:pt x="5931625" y="2841752"/>
                  <a:pt x="5967339" y="2841752"/>
                </a:cubicBezTo>
                <a:close/>
                <a:moveTo>
                  <a:pt x="5810785" y="2841752"/>
                </a:moveTo>
                <a:cubicBezTo>
                  <a:pt x="5846479" y="2841752"/>
                  <a:pt x="5875431" y="2870704"/>
                  <a:pt x="5875431" y="2906419"/>
                </a:cubicBezTo>
                <a:cubicBezTo>
                  <a:pt x="5875431" y="2942133"/>
                  <a:pt x="5846479" y="2971084"/>
                  <a:pt x="5810785" y="2971084"/>
                </a:cubicBezTo>
                <a:cubicBezTo>
                  <a:pt x="5775064" y="2971084"/>
                  <a:pt x="5746108" y="2942133"/>
                  <a:pt x="5746108" y="2906419"/>
                </a:cubicBezTo>
                <a:cubicBezTo>
                  <a:pt x="5746108" y="2870704"/>
                  <a:pt x="5775064" y="2841752"/>
                  <a:pt x="5810785" y="2841752"/>
                </a:cubicBezTo>
                <a:close/>
                <a:moveTo>
                  <a:pt x="5658107" y="2841752"/>
                </a:moveTo>
                <a:cubicBezTo>
                  <a:pt x="5693823" y="2841752"/>
                  <a:pt x="5722779" y="2870704"/>
                  <a:pt x="5722779" y="2906419"/>
                </a:cubicBezTo>
                <a:cubicBezTo>
                  <a:pt x="5722779" y="2942133"/>
                  <a:pt x="5693823" y="2971084"/>
                  <a:pt x="5658107" y="2971084"/>
                </a:cubicBezTo>
                <a:cubicBezTo>
                  <a:pt x="5622395" y="2971084"/>
                  <a:pt x="5593441" y="2942133"/>
                  <a:pt x="5593441" y="2906419"/>
                </a:cubicBezTo>
                <a:cubicBezTo>
                  <a:pt x="5593441" y="2870704"/>
                  <a:pt x="5622395" y="2841752"/>
                  <a:pt x="5658107" y="2841752"/>
                </a:cubicBezTo>
                <a:close/>
                <a:moveTo>
                  <a:pt x="5501538" y="2841752"/>
                </a:moveTo>
                <a:cubicBezTo>
                  <a:pt x="5537252" y="2841752"/>
                  <a:pt x="5566202" y="2870704"/>
                  <a:pt x="5566202" y="2906419"/>
                </a:cubicBezTo>
                <a:cubicBezTo>
                  <a:pt x="5566202" y="2942133"/>
                  <a:pt x="5537252" y="2971084"/>
                  <a:pt x="5501538" y="2971084"/>
                </a:cubicBezTo>
                <a:cubicBezTo>
                  <a:pt x="5465825" y="2971084"/>
                  <a:pt x="5436878" y="2942133"/>
                  <a:pt x="5436878" y="2906419"/>
                </a:cubicBezTo>
                <a:cubicBezTo>
                  <a:pt x="5436878" y="2870704"/>
                  <a:pt x="5465825" y="2841752"/>
                  <a:pt x="5501538" y="2841752"/>
                </a:cubicBezTo>
                <a:close/>
                <a:moveTo>
                  <a:pt x="5348883" y="2841752"/>
                </a:moveTo>
                <a:cubicBezTo>
                  <a:pt x="5384600" y="2841752"/>
                  <a:pt x="5413550" y="2870704"/>
                  <a:pt x="5413550" y="2906419"/>
                </a:cubicBezTo>
                <a:cubicBezTo>
                  <a:pt x="5413550" y="2942133"/>
                  <a:pt x="5384600" y="2971084"/>
                  <a:pt x="5348883" y="2971084"/>
                </a:cubicBezTo>
                <a:cubicBezTo>
                  <a:pt x="5313178" y="2971084"/>
                  <a:pt x="5284222" y="2942133"/>
                  <a:pt x="5284222" y="2906419"/>
                </a:cubicBezTo>
                <a:cubicBezTo>
                  <a:pt x="5284222" y="2870704"/>
                  <a:pt x="5313178" y="2841752"/>
                  <a:pt x="5348883" y="2841752"/>
                </a:cubicBezTo>
                <a:close/>
                <a:moveTo>
                  <a:pt x="5192312" y="2841752"/>
                </a:moveTo>
                <a:cubicBezTo>
                  <a:pt x="5228028" y="2841752"/>
                  <a:pt x="5256975" y="2870704"/>
                  <a:pt x="5256975" y="2906419"/>
                </a:cubicBezTo>
                <a:cubicBezTo>
                  <a:pt x="5256975" y="2942133"/>
                  <a:pt x="5228028" y="2971084"/>
                  <a:pt x="5192312" y="2971084"/>
                </a:cubicBezTo>
                <a:cubicBezTo>
                  <a:pt x="5156602" y="2971084"/>
                  <a:pt x="5127646" y="2942133"/>
                  <a:pt x="5127646" y="2906419"/>
                </a:cubicBezTo>
                <a:cubicBezTo>
                  <a:pt x="5127646" y="2870704"/>
                  <a:pt x="5156602" y="2841752"/>
                  <a:pt x="5192312" y="2841752"/>
                </a:cubicBezTo>
                <a:close/>
                <a:moveTo>
                  <a:pt x="2855510" y="2841752"/>
                </a:moveTo>
                <a:cubicBezTo>
                  <a:pt x="2891221" y="2841752"/>
                  <a:pt x="2920171" y="2870704"/>
                  <a:pt x="2920171" y="2906419"/>
                </a:cubicBezTo>
                <a:cubicBezTo>
                  <a:pt x="2920171" y="2942133"/>
                  <a:pt x="2891221" y="2971084"/>
                  <a:pt x="2855510" y="2971084"/>
                </a:cubicBezTo>
                <a:cubicBezTo>
                  <a:pt x="2819799" y="2971084"/>
                  <a:pt x="2790849" y="2942133"/>
                  <a:pt x="2790849" y="2906419"/>
                </a:cubicBezTo>
                <a:cubicBezTo>
                  <a:pt x="2790849" y="2870704"/>
                  <a:pt x="2819799" y="2841752"/>
                  <a:pt x="2855510" y="2841752"/>
                </a:cubicBezTo>
                <a:close/>
                <a:moveTo>
                  <a:pt x="2237059" y="2841752"/>
                </a:moveTo>
                <a:cubicBezTo>
                  <a:pt x="2272778" y="2841752"/>
                  <a:pt x="2301735" y="2870704"/>
                  <a:pt x="2301735" y="2906419"/>
                </a:cubicBezTo>
                <a:cubicBezTo>
                  <a:pt x="2301735" y="2942133"/>
                  <a:pt x="2272778" y="2971084"/>
                  <a:pt x="2237059" y="2971084"/>
                </a:cubicBezTo>
                <a:cubicBezTo>
                  <a:pt x="2201340" y="2971084"/>
                  <a:pt x="2172383" y="2942133"/>
                  <a:pt x="2172383" y="2906419"/>
                </a:cubicBezTo>
                <a:cubicBezTo>
                  <a:pt x="2172383" y="2870704"/>
                  <a:pt x="2201340" y="2841752"/>
                  <a:pt x="2237059" y="2841752"/>
                </a:cubicBezTo>
                <a:close/>
                <a:moveTo>
                  <a:pt x="2084385" y="2841752"/>
                </a:moveTo>
                <a:cubicBezTo>
                  <a:pt x="2120101" y="2841752"/>
                  <a:pt x="2149052" y="2870704"/>
                  <a:pt x="2149052" y="2906419"/>
                </a:cubicBezTo>
                <a:cubicBezTo>
                  <a:pt x="2149052" y="2942133"/>
                  <a:pt x="2120101" y="2971084"/>
                  <a:pt x="2084385" y="2971084"/>
                </a:cubicBezTo>
                <a:cubicBezTo>
                  <a:pt x="2048665" y="2971084"/>
                  <a:pt x="2019732" y="2942133"/>
                  <a:pt x="2019732" y="2906419"/>
                </a:cubicBezTo>
                <a:cubicBezTo>
                  <a:pt x="2019732" y="2870704"/>
                  <a:pt x="2048665" y="2841752"/>
                  <a:pt x="2084385" y="2841752"/>
                </a:cubicBezTo>
                <a:close/>
                <a:moveTo>
                  <a:pt x="1927808" y="2841752"/>
                </a:moveTo>
                <a:cubicBezTo>
                  <a:pt x="1963522" y="2841752"/>
                  <a:pt x="1992485" y="2870704"/>
                  <a:pt x="1992485" y="2906419"/>
                </a:cubicBezTo>
                <a:cubicBezTo>
                  <a:pt x="1992485" y="2942133"/>
                  <a:pt x="1963522" y="2971084"/>
                  <a:pt x="1927808" y="2971084"/>
                </a:cubicBezTo>
                <a:cubicBezTo>
                  <a:pt x="1892110" y="2971084"/>
                  <a:pt x="1863159" y="2942133"/>
                  <a:pt x="1863159" y="2906419"/>
                </a:cubicBezTo>
                <a:cubicBezTo>
                  <a:pt x="1863159" y="2870704"/>
                  <a:pt x="1892110" y="2841752"/>
                  <a:pt x="1927808" y="2841752"/>
                </a:cubicBezTo>
                <a:close/>
                <a:moveTo>
                  <a:pt x="1775154" y="2841752"/>
                </a:moveTo>
                <a:cubicBezTo>
                  <a:pt x="1810863" y="2841752"/>
                  <a:pt x="1839830" y="2870704"/>
                  <a:pt x="1839830" y="2906419"/>
                </a:cubicBezTo>
                <a:cubicBezTo>
                  <a:pt x="1839830" y="2942133"/>
                  <a:pt x="1810863" y="2971084"/>
                  <a:pt x="1775154" y="2971084"/>
                </a:cubicBezTo>
                <a:cubicBezTo>
                  <a:pt x="1739439" y="2971084"/>
                  <a:pt x="1710486" y="2942133"/>
                  <a:pt x="1710486" y="2906419"/>
                </a:cubicBezTo>
                <a:cubicBezTo>
                  <a:pt x="1710486" y="2870704"/>
                  <a:pt x="1739439" y="2841752"/>
                  <a:pt x="1775154" y="2841752"/>
                </a:cubicBezTo>
                <a:close/>
                <a:moveTo>
                  <a:pt x="8296367" y="2700840"/>
                </a:moveTo>
                <a:cubicBezTo>
                  <a:pt x="8332081" y="2700840"/>
                  <a:pt x="8361033" y="2729792"/>
                  <a:pt x="8361033" y="2765506"/>
                </a:cubicBezTo>
                <a:cubicBezTo>
                  <a:pt x="8361033" y="2801220"/>
                  <a:pt x="8332081" y="2830172"/>
                  <a:pt x="8296367" y="2830172"/>
                </a:cubicBezTo>
                <a:cubicBezTo>
                  <a:pt x="8260653" y="2830172"/>
                  <a:pt x="8231701" y="2801220"/>
                  <a:pt x="8231701" y="2765506"/>
                </a:cubicBezTo>
                <a:cubicBezTo>
                  <a:pt x="8231701" y="2729792"/>
                  <a:pt x="8260653" y="2700840"/>
                  <a:pt x="8296367" y="2700840"/>
                </a:cubicBezTo>
                <a:close/>
                <a:moveTo>
                  <a:pt x="7677902" y="2700840"/>
                </a:moveTo>
                <a:cubicBezTo>
                  <a:pt x="7713616" y="2700840"/>
                  <a:pt x="7742568" y="2729792"/>
                  <a:pt x="7742568" y="2765506"/>
                </a:cubicBezTo>
                <a:cubicBezTo>
                  <a:pt x="7742568" y="2801220"/>
                  <a:pt x="7713616" y="2830172"/>
                  <a:pt x="7677902" y="2830172"/>
                </a:cubicBezTo>
                <a:cubicBezTo>
                  <a:pt x="7642188" y="2830172"/>
                  <a:pt x="7613236" y="2801220"/>
                  <a:pt x="7613236" y="2765506"/>
                </a:cubicBezTo>
                <a:cubicBezTo>
                  <a:pt x="7613236" y="2729792"/>
                  <a:pt x="7642188" y="2700840"/>
                  <a:pt x="7677902" y="2700840"/>
                </a:cubicBezTo>
                <a:close/>
                <a:moveTo>
                  <a:pt x="7521329" y="2700840"/>
                </a:moveTo>
                <a:cubicBezTo>
                  <a:pt x="7557043" y="2700840"/>
                  <a:pt x="7585995" y="2729792"/>
                  <a:pt x="7585995" y="2765506"/>
                </a:cubicBezTo>
                <a:cubicBezTo>
                  <a:pt x="7585995" y="2801220"/>
                  <a:pt x="7557043" y="2830172"/>
                  <a:pt x="7521329" y="2830172"/>
                </a:cubicBezTo>
                <a:cubicBezTo>
                  <a:pt x="7485615" y="2830172"/>
                  <a:pt x="7456663" y="2801220"/>
                  <a:pt x="7456663" y="2765506"/>
                </a:cubicBezTo>
                <a:cubicBezTo>
                  <a:pt x="7456663" y="2729792"/>
                  <a:pt x="7485615" y="2700840"/>
                  <a:pt x="7521329" y="2700840"/>
                </a:cubicBezTo>
                <a:close/>
                <a:moveTo>
                  <a:pt x="7212096" y="2700840"/>
                </a:moveTo>
                <a:cubicBezTo>
                  <a:pt x="7247810" y="2700840"/>
                  <a:pt x="7276762" y="2729792"/>
                  <a:pt x="7276762" y="2765506"/>
                </a:cubicBezTo>
                <a:cubicBezTo>
                  <a:pt x="7276762" y="2801220"/>
                  <a:pt x="7247810" y="2830172"/>
                  <a:pt x="7212096" y="2830172"/>
                </a:cubicBezTo>
                <a:cubicBezTo>
                  <a:pt x="7176382" y="2830172"/>
                  <a:pt x="7147430" y="2801220"/>
                  <a:pt x="7147430" y="2765506"/>
                </a:cubicBezTo>
                <a:cubicBezTo>
                  <a:pt x="7147430" y="2729792"/>
                  <a:pt x="7176382" y="2700840"/>
                  <a:pt x="7212096" y="2700840"/>
                </a:cubicBezTo>
                <a:close/>
                <a:moveTo>
                  <a:pt x="7055523" y="2700840"/>
                </a:moveTo>
                <a:cubicBezTo>
                  <a:pt x="7091237" y="2700840"/>
                  <a:pt x="7120189" y="2729792"/>
                  <a:pt x="7120189" y="2765506"/>
                </a:cubicBezTo>
                <a:cubicBezTo>
                  <a:pt x="7120189" y="2801220"/>
                  <a:pt x="7091237" y="2830172"/>
                  <a:pt x="7055523" y="2830172"/>
                </a:cubicBezTo>
                <a:cubicBezTo>
                  <a:pt x="7019809" y="2830172"/>
                  <a:pt x="6990857" y="2801220"/>
                  <a:pt x="6990857" y="2765506"/>
                </a:cubicBezTo>
                <a:cubicBezTo>
                  <a:pt x="6990857" y="2729792"/>
                  <a:pt x="7019809" y="2700840"/>
                  <a:pt x="7055523" y="2700840"/>
                </a:cubicBezTo>
                <a:close/>
                <a:moveTo>
                  <a:pt x="6895037" y="2700840"/>
                </a:moveTo>
                <a:cubicBezTo>
                  <a:pt x="6930751" y="2700840"/>
                  <a:pt x="6959703" y="2729792"/>
                  <a:pt x="6959703" y="2765506"/>
                </a:cubicBezTo>
                <a:cubicBezTo>
                  <a:pt x="6959703" y="2801220"/>
                  <a:pt x="6930751" y="2830172"/>
                  <a:pt x="6895037" y="2830172"/>
                </a:cubicBezTo>
                <a:cubicBezTo>
                  <a:pt x="6859323" y="2830172"/>
                  <a:pt x="6830371" y="2801220"/>
                  <a:pt x="6830371" y="2765506"/>
                </a:cubicBezTo>
                <a:cubicBezTo>
                  <a:pt x="6830371" y="2729792"/>
                  <a:pt x="6859323" y="2700840"/>
                  <a:pt x="6895037" y="2700840"/>
                </a:cubicBezTo>
                <a:close/>
                <a:moveTo>
                  <a:pt x="6119999" y="2700840"/>
                </a:moveTo>
                <a:cubicBezTo>
                  <a:pt x="6155713" y="2700840"/>
                  <a:pt x="6184665" y="2729792"/>
                  <a:pt x="6184665" y="2765506"/>
                </a:cubicBezTo>
                <a:cubicBezTo>
                  <a:pt x="6184665" y="2801220"/>
                  <a:pt x="6155713" y="2830172"/>
                  <a:pt x="6119999" y="2830172"/>
                </a:cubicBezTo>
                <a:cubicBezTo>
                  <a:pt x="6084285" y="2830172"/>
                  <a:pt x="6055333" y="2801220"/>
                  <a:pt x="6055333" y="2765506"/>
                </a:cubicBezTo>
                <a:cubicBezTo>
                  <a:pt x="6055333" y="2729792"/>
                  <a:pt x="6084285" y="2700840"/>
                  <a:pt x="6119999" y="2700840"/>
                </a:cubicBezTo>
                <a:close/>
                <a:moveTo>
                  <a:pt x="5348883" y="2700840"/>
                </a:moveTo>
                <a:cubicBezTo>
                  <a:pt x="5384600" y="2700840"/>
                  <a:pt x="5413550" y="2729792"/>
                  <a:pt x="5413550" y="2765506"/>
                </a:cubicBezTo>
                <a:cubicBezTo>
                  <a:pt x="5413550" y="2801220"/>
                  <a:pt x="5384600" y="2830172"/>
                  <a:pt x="5348883" y="2830172"/>
                </a:cubicBezTo>
                <a:cubicBezTo>
                  <a:pt x="5313178" y="2830172"/>
                  <a:pt x="5284222" y="2801220"/>
                  <a:pt x="5284222" y="2765506"/>
                </a:cubicBezTo>
                <a:cubicBezTo>
                  <a:pt x="5284222" y="2729792"/>
                  <a:pt x="5313178" y="2700840"/>
                  <a:pt x="5348883" y="2700840"/>
                </a:cubicBezTo>
                <a:close/>
                <a:moveTo>
                  <a:pt x="2855515" y="2700840"/>
                </a:moveTo>
                <a:cubicBezTo>
                  <a:pt x="2891226" y="2700840"/>
                  <a:pt x="2920176" y="2729792"/>
                  <a:pt x="2920176" y="2765506"/>
                </a:cubicBezTo>
                <a:cubicBezTo>
                  <a:pt x="2920176" y="2801220"/>
                  <a:pt x="2891226" y="2830172"/>
                  <a:pt x="2855515" y="2830172"/>
                </a:cubicBezTo>
                <a:cubicBezTo>
                  <a:pt x="2819804" y="2830172"/>
                  <a:pt x="2790855" y="2801220"/>
                  <a:pt x="2790855" y="2765506"/>
                </a:cubicBezTo>
                <a:cubicBezTo>
                  <a:pt x="2790855" y="2729792"/>
                  <a:pt x="2819804" y="2700840"/>
                  <a:pt x="2855515" y="2700840"/>
                </a:cubicBezTo>
                <a:close/>
                <a:moveTo>
                  <a:pt x="2698955" y="2700840"/>
                </a:moveTo>
                <a:cubicBezTo>
                  <a:pt x="2734666" y="2700840"/>
                  <a:pt x="2763616" y="2729792"/>
                  <a:pt x="2763616" y="2765506"/>
                </a:cubicBezTo>
                <a:cubicBezTo>
                  <a:pt x="2763616" y="2801220"/>
                  <a:pt x="2734666" y="2830172"/>
                  <a:pt x="2698955" y="2830172"/>
                </a:cubicBezTo>
                <a:cubicBezTo>
                  <a:pt x="2663244" y="2830172"/>
                  <a:pt x="2634295" y="2801220"/>
                  <a:pt x="2634295" y="2765506"/>
                </a:cubicBezTo>
                <a:cubicBezTo>
                  <a:pt x="2634295" y="2729792"/>
                  <a:pt x="2663244" y="2700840"/>
                  <a:pt x="2698955" y="2700840"/>
                </a:cubicBezTo>
                <a:close/>
                <a:moveTo>
                  <a:pt x="2389740" y="2700840"/>
                </a:moveTo>
                <a:cubicBezTo>
                  <a:pt x="2425458" y="2700840"/>
                  <a:pt x="2454407" y="2729792"/>
                  <a:pt x="2454407" y="2765506"/>
                </a:cubicBezTo>
                <a:cubicBezTo>
                  <a:pt x="2454407" y="2801220"/>
                  <a:pt x="2425458" y="2830172"/>
                  <a:pt x="2389740" y="2830172"/>
                </a:cubicBezTo>
                <a:cubicBezTo>
                  <a:pt x="2354030" y="2830172"/>
                  <a:pt x="2325073" y="2801220"/>
                  <a:pt x="2325073" y="2765506"/>
                </a:cubicBezTo>
                <a:cubicBezTo>
                  <a:pt x="2325073" y="2729792"/>
                  <a:pt x="2354030" y="2700840"/>
                  <a:pt x="2389740" y="2700840"/>
                </a:cubicBezTo>
                <a:close/>
                <a:moveTo>
                  <a:pt x="2237065" y="2700840"/>
                </a:moveTo>
                <a:cubicBezTo>
                  <a:pt x="2272786" y="2700840"/>
                  <a:pt x="2301741" y="2729792"/>
                  <a:pt x="2301741" y="2765506"/>
                </a:cubicBezTo>
                <a:cubicBezTo>
                  <a:pt x="2301741" y="2801220"/>
                  <a:pt x="2272786" y="2830172"/>
                  <a:pt x="2237065" y="2830172"/>
                </a:cubicBezTo>
                <a:cubicBezTo>
                  <a:pt x="2201346" y="2830172"/>
                  <a:pt x="2172389" y="2801220"/>
                  <a:pt x="2172389" y="2765506"/>
                </a:cubicBezTo>
                <a:cubicBezTo>
                  <a:pt x="2172389" y="2729792"/>
                  <a:pt x="2201346" y="2700840"/>
                  <a:pt x="2237065" y="2700840"/>
                </a:cubicBezTo>
                <a:close/>
                <a:moveTo>
                  <a:pt x="2084396" y="2700840"/>
                </a:moveTo>
                <a:cubicBezTo>
                  <a:pt x="2120108" y="2700840"/>
                  <a:pt x="2149059" y="2729792"/>
                  <a:pt x="2149059" y="2765506"/>
                </a:cubicBezTo>
                <a:cubicBezTo>
                  <a:pt x="2149059" y="2801220"/>
                  <a:pt x="2120108" y="2830172"/>
                  <a:pt x="2084396" y="2830172"/>
                </a:cubicBezTo>
                <a:cubicBezTo>
                  <a:pt x="2048673" y="2830172"/>
                  <a:pt x="2019738" y="2801220"/>
                  <a:pt x="2019738" y="2765506"/>
                </a:cubicBezTo>
                <a:cubicBezTo>
                  <a:pt x="2019738" y="2729792"/>
                  <a:pt x="2048673" y="2700840"/>
                  <a:pt x="2084396" y="2700840"/>
                </a:cubicBezTo>
                <a:close/>
                <a:moveTo>
                  <a:pt x="1927818" y="2700840"/>
                </a:moveTo>
                <a:cubicBezTo>
                  <a:pt x="1963542" y="2700840"/>
                  <a:pt x="1992493" y="2729792"/>
                  <a:pt x="1992493" y="2765506"/>
                </a:cubicBezTo>
                <a:cubicBezTo>
                  <a:pt x="1992493" y="2801220"/>
                  <a:pt x="1963542" y="2830172"/>
                  <a:pt x="1927818" y="2830172"/>
                </a:cubicBezTo>
                <a:cubicBezTo>
                  <a:pt x="1892117" y="2830172"/>
                  <a:pt x="1863165" y="2801220"/>
                  <a:pt x="1863165" y="2765506"/>
                </a:cubicBezTo>
                <a:cubicBezTo>
                  <a:pt x="1863165" y="2729792"/>
                  <a:pt x="1892117" y="2700840"/>
                  <a:pt x="1927818" y="2700840"/>
                </a:cubicBezTo>
                <a:close/>
                <a:moveTo>
                  <a:pt x="1775160" y="2700840"/>
                </a:moveTo>
                <a:cubicBezTo>
                  <a:pt x="1810868" y="2700840"/>
                  <a:pt x="1839836" y="2729792"/>
                  <a:pt x="1839836" y="2765506"/>
                </a:cubicBezTo>
                <a:cubicBezTo>
                  <a:pt x="1839836" y="2801220"/>
                  <a:pt x="1810868" y="2830172"/>
                  <a:pt x="1775160" y="2830172"/>
                </a:cubicBezTo>
                <a:cubicBezTo>
                  <a:pt x="1739444" y="2830172"/>
                  <a:pt x="1710491" y="2801220"/>
                  <a:pt x="1710491" y="2765506"/>
                </a:cubicBezTo>
                <a:cubicBezTo>
                  <a:pt x="1710491" y="2729792"/>
                  <a:pt x="1739444" y="2700840"/>
                  <a:pt x="1775160" y="2700840"/>
                </a:cubicBezTo>
                <a:close/>
                <a:moveTo>
                  <a:pt x="8449023" y="2700839"/>
                </a:moveTo>
                <a:cubicBezTo>
                  <a:pt x="8484737" y="2700839"/>
                  <a:pt x="8513689" y="2729790"/>
                  <a:pt x="8513689" y="2765504"/>
                </a:cubicBezTo>
                <a:cubicBezTo>
                  <a:pt x="8513689" y="2801219"/>
                  <a:pt x="8484737" y="2830170"/>
                  <a:pt x="8449023" y="2830170"/>
                </a:cubicBezTo>
                <a:cubicBezTo>
                  <a:pt x="8413309" y="2830170"/>
                  <a:pt x="8384357" y="2801219"/>
                  <a:pt x="8384357" y="2765504"/>
                </a:cubicBezTo>
                <a:cubicBezTo>
                  <a:pt x="8384357" y="2729790"/>
                  <a:pt x="8413309" y="2700839"/>
                  <a:pt x="8449023" y="2700839"/>
                </a:cubicBezTo>
                <a:close/>
                <a:moveTo>
                  <a:pt x="8139792" y="2700839"/>
                </a:moveTo>
                <a:cubicBezTo>
                  <a:pt x="8175506" y="2700839"/>
                  <a:pt x="8204458" y="2729790"/>
                  <a:pt x="8204458" y="2765504"/>
                </a:cubicBezTo>
                <a:cubicBezTo>
                  <a:pt x="8204458" y="2801219"/>
                  <a:pt x="8175506" y="2830170"/>
                  <a:pt x="8139792" y="2830170"/>
                </a:cubicBezTo>
                <a:cubicBezTo>
                  <a:pt x="8104078" y="2830170"/>
                  <a:pt x="8075126" y="2801219"/>
                  <a:pt x="8075126" y="2765504"/>
                </a:cubicBezTo>
                <a:cubicBezTo>
                  <a:pt x="8075126" y="2729790"/>
                  <a:pt x="8104078" y="2700839"/>
                  <a:pt x="8139792" y="2700839"/>
                </a:cubicBezTo>
                <a:close/>
                <a:moveTo>
                  <a:pt x="7987133" y="2700839"/>
                </a:moveTo>
                <a:cubicBezTo>
                  <a:pt x="8022847" y="2700839"/>
                  <a:pt x="8051799" y="2729790"/>
                  <a:pt x="8051799" y="2765504"/>
                </a:cubicBezTo>
                <a:cubicBezTo>
                  <a:pt x="8051799" y="2801219"/>
                  <a:pt x="8022847" y="2830170"/>
                  <a:pt x="7987133" y="2830170"/>
                </a:cubicBezTo>
                <a:cubicBezTo>
                  <a:pt x="7951419" y="2830170"/>
                  <a:pt x="7922467" y="2801219"/>
                  <a:pt x="7922467" y="2765504"/>
                </a:cubicBezTo>
                <a:cubicBezTo>
                  <a:pt x="7922467" y="2729790"/>
                  <a:pt x="7951419" y="2700839"/>
                  <a:pt x="7987133" y="2700839"/>
                </a:cubicBezTo>
                <a:close/>
                <a:moveTo>
                  <a:pt x="7830562" y="2700839"/>
                </a:moveTo>
                <a:cubicBezTo>
                  <a:pt x="7866276" y="2700839"/>
                  <a:pt x="7895228" y="2729790"/>
                  <a:pt x="7895228" y="2765504"/>
                </a:cubicBezTo>
                <a:cubicBezTo>
                  <a:pt x="7895228" y="2801219"/>
                  <a:pt x="7866276" y="2830170"/>
                  <a:pt x="7830562" y="2830170"/>
                </a:cubicBezTo>
                <a:cubicBezTo>
                  <a:pt x="7794848" y="2830170"/>
                  <a:pt x="7765896" y="2801219"/>
                  <a:pt x="7765896" y="2765504"/>
                </a:cubicBezTo>
                <a:cubicBezTo>
                  <a:pt x="7765896" y="2729790"/>
                  <a:pt x="7794848" y="2700839"/>
                  <a:pt x="7830562" y="2700839"/>
                </a:cubicBezTo>
                <a:close/>
                <a:moveTo>
                  <a:pt x="7368669" y="2700839"/>
                </a:moveTo>
                <a:cubicBezTo>
                  <a:pt x="7404383" y="2700839"/>
                  <a:pt x="7433335" y="2729790"/>
                  <a:pt x="7433335" y="2765504"/>
                </a:cubicBezTo>
                <a:cubicBezTo>
                  <a:pt x="7433335" y="2801219"/>
                  <a:pt x="7404383" y="2830170"/>
                  <a:pt x="7368669" y="2830170"/>
                </a:cubicBezTo>
                <a:cubicBezTo>
                  <a:pt x="7332955" y="2830170"/>
                  <a:pt x="7304003" y="2801219"/>
                  <a:pt x="7304003" y="2765504"/>
                </a:cubicBezTo>
                <a:cubicBezTo>
                  <a:pt x="7304003" y="2729790"/>
                  <a:pt x="7332955" y="2700839"/>
                  <a:pt x="7368669" y="2700839"/>
                </a:cubicBezTo>
                <a:close/>
                <a:moveTo>
                  <a:pt x="6742375" y="2700839"/>
                </a:moveTo>
                <a:cubicBezTo>
                  <a:pt x="6778089" y="2700839"/>
                  <a:pt x="6807041" y="2729790"/>
                  <a:pt x="6807041" y="2765504"/>
                </a:cubicBezTo>
                <a:cubicBezTo>
                  <a:pt x="6807041" y="2801219"/>
                  <a:pt x="6778089" y="2830170"/>
                  <a:pt x="6742375" y="2830170"/>
                </a:cubicBezTo>
                <a:cubicBezTo>
                  <a:pt x="6706661" y="2830170"/>
                  <a:pt x="6677709" y="2801219"/>
                  <a:pt x="6677709" y="2765504"/>
                </a:cubicBezTo>
                <a:cubicBezTo>
                  <a:pt x="6677709" y="2729790"/>
                  <a:pt x="6706661" y="2700839"/>
                  <a:pt x="6742375" y="2700839"/>
                </a:cubicBezTo>
                <a:close/>
                <a:moveTo>
                  <a:pt x="6429229" y="2700839"/>
                </a:moveTo>
                <a:cubicBezTo>
                  <a:pt x="6464943" y="2700839"/>
                  <a:pt x="6493895" y="2729790"/>
                  <a:pt x="6493895" y="2765504"/>
                </a:cubicBezTo>
                <a:cubicBezTo>
                  <a:pt x="6493895" y="2801219"/>
                  <a:pt x="6464943" y="2830170"/>
                  <a:pt x="6429229" y="2830170"/>
                </a:cubicBezTo>
                <a:cubicBezTo>
                  <a:pt x="6393515" y="2830170"/>
                  <a:pt x="6364563" y="2801219"/>
                  <a:pt x="6364563" y="2765504"/>
                </a:cubicBezTo>
                <a:cubicBezTo>
                  <a:pt x="6364563" y="2729790"/>
                  <a:pt x="6393515" y="2700839"/>
                  <a:pt x="6429229" y="2700839"/>
                </a:cubicBezTo>
                <a:close/>
                <a:moveTo>
                  <a:pt x="6276571" y="2700839"/>
                </a:moveTo>
                <a:cubicBezTo>
                  <a:pt x="6312285" y="2700839"/>
                  <a:pt x="6341237" y="2729790"/>
                  <a:pt x="6341237" y="2765504"/>
                </a:cubicBezTo>
                <a:cubicBezTo>
                  <a:pt x="6341237" y="2801219"/>
                  <a:pt x="6312285" y="2830170"/>
                  <a:pt x="6276571" y="2830170"/>
                </a:cubicBezTo>
                <a:cubicBezTo>
                  <a:pt x="6240857" y="2830170"/>
                  <a:pt x="6211905" y="2801219"/>
                  <a:pt x="6211905" y="2765504"/>
                </a:cubicBezTo>
                <a:cubicBezTo>
                  <a:pt x="6211905" y="2729790"/>
                  <a:pt x="6240857" y="2700839"/>
                  <a:pt x="6276571" y="2700839"/>
                </a:cubicBezTo>
                <a:close/>
                <a:moveTo>
                  <a:pt x="5967338" y="2700839"/>
                </a:moveTo>
                <a:cubicBezTo>
                  <a:pt x="6003052" y="2700839"/>
                  <a:pt x="6032004" y="2729790"/>
                  <a:pt x="6032004" y="2765504"/>
                </a:cubicBezTo>
                <a:cubicBezTo>
                  <a:pt x="6032004" y="2801219"/>
                  <a:pt x="6003052" y="2830170"/>
                  <a:pt x="5967338" y="2830170"/>
                </a:cubicBezTo>
                <a:cubicBezTo>
                  <a:pt x="5931624" y="2830170"/>
                  <a:pt x="5902672" y="2801219"/>
                  <a:pt x="5902672" y="2765504"/>
                </a:cubicBezTo>
                <a:cubicBezTo>
                  <a:pt x="5902672" y="2729790"/>
                  <a:pt x="5931624" y="2700839"/>
                  <a:pt x="5967338" y="2700839"/>
                </a:cubicBezTo>
                <a:close/>
                <a:moveTo>
                  <a:pt x="5810785" y="2700839"/>
                </a:moveTo>
                <a:cubicBezTo>
                  <a:pt x="5846479" y="2700839"/>
                  <a:pt x="5875431" y="2729790"/>
                  <a:pt x="5875431" y="2765504"/>
                </a:cubicBezTo>
                <a:cubicBezTo>
                  <a:pt x="5875431" y="2801219"/>
                  <a:pt x="5846479" y="2830170"/>
                  <a:pt x="5810785" y="2830170"/>
                </a:cubicBezTo>
                <a:cubicBezTo>
                  <a:pt x="5775066" y="2830170"/>
                  <a:pt x="5746110" y="2801219"/>
                  <a:pt x="5746110" y="2765504"/>
                </a:cubicBezTo>
                <a:cubicBezTo>
                  <a:pt x="5746110" y="2729790"/>
                  <a:pt x="5775066" y="2700839"/>
                  <a:pt x="5810785" y="2700839"/>
                </a:cubicBezTo>
                <a:close/>
                <a:moveTo>
                  <a:pt x="5658107" y="2700839"/>
                </a:moveTo>
                <a:cubicBezTo>
                  <a:pt x="5693823" y="2700839"/>
                  <a:pt x="5722779" y="2729790"/>
                  <a:pt x="5722779" y="2765504"/>
                </a:cubicBezTo>
                <a:cubicBezTo>
                  <a:pt x="5722779" y="2801219"/>
                  <a:pt x="5693823" y="2830170"/>
                  <a:pt x="5658107" y="2830170"/>
                </a:cubicBezTo>
                <a:cubicBezTo>
                  <a:pt x="5622395" y="2830170"/>
                  <a:pt x="5593441" y="2801219"/>
                  <a:pt x="5593441" y="2765504"/>
                </a:cubicBezTo>
                <a:cubicBezTo>
                  <a:pt x="5593441" y="2729790"/>
                  <a:pt x="5622395" y="2700839"/>
                  <a:pt x="5658107" y="2700839"/>
                </a:cubicBezTo>
                <a:close/>
                <a:moveTo>
                  <a:pt x="5501539" y="2700839"/>
                </a:moveTo>
                <a:cubicBezTo>
                  <a:pt x="5537252" y="2700839"/>
                  <a:pt x="5566202" y="2729790"/>
                  <a:pt x="5566202" y="2765504"/>
                </a:cubicBezTo>
                <a:cubicBezTo>
                  <a:pt x="5566202" y="2801219"/>
                  <a:pt x="5537252" y="2830170"/>
                  <a:pt x="5501539" y="2830170"/>
                </a:cubicBezTo>
                <a:cubicBezTo>
                  <a:pt x="5465825" y="2830170"/>
                  <a:pt x="5436879" y="2801219"/>
                  <a:pt x="5436879" y="2765504"/>
                </a:cubicBezTo>
                <a:cubicBezTo>
                  <a:pt x="5436879" y="2729790"/>
                  <a:pt x="5465825" y="2700839"/>
                  <a:pt x="5501539" y="2700839"/>
                </a:cubicBezTo>
                <a:close/>
                <a:moveTo>
                  <a:pt x="5192312" y="2700839"/>
                </a:moveTo>
                <a:cubicBezTo>
                  <a:pt x="5228031" y="2700839"/>
                  <a:pt x="5256977" y="2729790"/>
                  <a:pt x="5256977" y="2765504"/>
                </a:cubicBezTo>
                <a:cubicBezTo>
                  <a:pt x="5256977" y="2801219"/>
                  <a:pt x="5228031" y="2830170"/>
                  <a:pt x="5192312" y="2830170"/>
                </a:cubicBezTo>
                <a:cubicBezTo>
                  <a:pt x="5156602" y="2830170"/>
                  <a:pt x="5127646" y="2801219"/>
                  <a:pt x="5127646" y="2765504"/>
                </a:cubicBezTo>
                <a:cubicBezTo>
                  <a:pt x="5127646" y="2729790"/>
                  <a:pt x="5156602" y="2700839"/>
                  <a:pt x="5192312" y="2700839"/>
                </a:cubicBezTo>
                <a:close/>
                <a:moveTo>
                  <a:pt x="2546309" y="2700839"/>
                </a:moveTo>
                <a:cubicBezTo>
                  <a:pt x="2582021" y="2700839"/>
                  <a:pt x="2610971" y="2729790"/>
                  <a:pt x="2610971" y="2765504"/>
                </a:cubicBezTo>
                <a:cubicBezTo>
                  <a:pt x="2610971" y="2801219"/>
                  <a:pt x="2582021" y="2830170"/>
                  <a:pt x="2546309" y="2830170"/>
                </a:cubicBezTo>
                <a:cubicBezTo>
                  <a:pt x="2510592" y="2830170"/>
                  <a:pt x="2481648" y="2801219"/>
                  <a:pt x="2481648" y="2765504"/>
                </a:cubicBezTo>
                <a:cubicBezTo>
                  <a:pt x="2481648" y="2729790"/>
                  <a:pt x="2510592" y="2700839"/>
                  <a:pt x="2546309" y="2700839"/>
                </a:cubicBezTo>
                <a:close/>
                <a:moveTo>
                  <a:pt x="9384550" y="2700836"/>
                </a:moveTo>
                <a:cubicBezTo>
                  <a:pt x="9420264" y="2700836"/>
                  <a:pt x="9449216" y="2729788"/>
                  <a:pt x="9449216" y="2765504"/>
                </a:cubicBezTo>
                <a:cubicBezTo>
                  <a:pt x="9449216" y="2801216"/>
                  <a:pt x="9420264" y="2830169"/>
                  <a:pt x="9384550" y="2830169"/>
                </a:cubicBezTo>
                <a:cubicBezTo>
                  <a:pt x="9348836" y="2830169"/>
                  <a:pt x="9319884" y="2801216"/>
                  <a:pt x="9319884" y="2765504"/>
                </a:cubicBezTo>
                <a:cubicBezTo>
                  <a:pt x="9319884" y="2729788"/>
                  <a:pt x="9348836" y="2700836"/>
                  <a:pt x="9384550" y="2700836"/>
                </a:cubicBezTo>
                <a:close/>
                <a:moveTo>
                  <a:pt x="9227977" y="2700836"/>
                </a:moveTo>
                <a:cubicBezTo>
                  <a:pt x="9263691" y="2700836"/>
                  <a:pt x="9292643" y="2729788"/>
                  <a:pt x="9292643" y="2765504"/>
                </a:cubicBezTo>
                <a:cubicBezTo>
                  <a:pt x="9292643" y="2801216"/>
                  <a:pt x="9263691" y="2830169"/>
                  <a:pt x="9227977" y="2830169"/>
                </a:cubicBezTo>
                <a:cubicBezTo>
                  <a:pt x="9192263" y="2830169"/>
                  <a:pt x="9163311" y="2801216"/>
                  <a:pt x="9163311" y="2765504"/>
                </a:cubicBezTo>
                <a:cubicBezTo>
                  <a:pt x="9163311" y="2729788"/>
                  <a:pt x="9192263" y="2700836"/>
                  <a:pt x="9227977" y="2700836"/>
                </a:cubicBezTo>
                <a:close/>
                <a:moveTo>
                  <a:pt x="9075319" y="2700836"/>
                </a:moveTo>
                <a:cubicBezTo>
                  <a:pt x="9111033" y="2700836"/>
                  <a:pt x="9139985" y="2729788"/>
                  <a:pt x="9139985" y="2765504"/>
                </a:cubicBezTo>
                <a:cubicBezTo>
                  <a:pt x="9139985" y="2801216"/>
                  <a:pt x="9111033" y="2830169"/>
                  <a:pt x="9075319" y="2830169"/>
                </a:cubicBezTo>
                <a:cubicBezTo>
                  <a:pt x="9039605" y="2830169"/>
                  <a:pt x="9010653" y="2801216"/>
                  <a:pt x="9010653" y="2765504"/>
                </a:cubicBezTo>
                <a:cubicBezTo>
                  <a:pt x="9010653" y="2729788"/>
                  <a:pt x="9039605" y="2700836"/>
                  <a:pt x="9075319" y="2700836"/>
                </a:cubicBezTo>
                <a:close/>
                <a:moveTo>
                  <a:pt x="8914831" y="2700836"/>
                </a:moveTo>
                <a:cubicBezTo>
                  <a:pt x="8950545" y="2700836"/>
                  <a:pt x="8979497" y="2729788"/>
                  <a:pt x="8979497" y="2765504"/>
                </a:cubicBezTo>
                <a:cubicBezTo>
                  <a:pt x="8979497" y="2801216"/>
                  <a:pt x="8950545" y="2830169"/>
                  <a:pt x="8914831" y="2830169"/>
                </a:cubicBezTo>
                <a:cubicBezTo>
                  <a:pt x="8879117" y="2830169"/>
                  <a:pt x="8850165" y="2801216"/>
                  <a:pt x="8850165" y="2765504"/>
                </a:cubicBezTo>
                <a:cubicBezTo>
                  <a:pt x="8850165" y="2729788"/>
                  <a:pt x="8879117" y="2700836"/>
                  <a:pt x="8914831" y="2700836"/>
                </a:cubicBezTo>
                <a:close/>
                <a:moveTo>
                  <a:pt x="8766086" y="2700836"/>
                </a:moveTo>
                <a:cubicBezTo>
                  <a:pt x="8801800" y="2700836"/>
                  <a:pt x="8830752" y="2729788"/>
                  <a:pt x="8830752" y="2765504"/>
                </a:cubicBezTo>
                <a:cubicBezTo>
                  <a:pt x="8830752" y="2801216"/>
                  <a:pt x="8801800" y="2830169"/>
                  <a:pt x="8766086" y="2830169"/>
                </a:cubicBezTo>
                <a:cubicBezTo>
                  <a:pt x="8730372" y="2830169"/>
                  <a:pt x="8701420" y="2801216"/>
                  <a:pt x="8701420" y="2765504"/>
                </a:cubicBezTo>
                <a:cubicBezTo>
                  <a:pt x="8701420" y="2729788"/>
                  <a:pt x="8730372" y="2700836"/>
                  <a:pt x="8766086" y="2700836"/>
                </a:cubicBezTo>
                <a:close/>
                <a:moveTo>
                  <a:pt x="8601683" y="2700836"/>
                </a:moveTo>
                <a:cubicBezTo>
                  <a:pt x="8637397" y="2700836"/>
                  <a:pt x="8666349" y="2729788"/>
                  <a:pt x="8666349" y="2765504"/>
                </a:cubicBezTo>
                <a:cubicBezTo>
                  <a:pt x="8666349" y="2801216"/>
                  <a:pt x="8637397" y="2830169"/>
                  <a:pt x="8601683" y="2830169"/>
                </a:cubicBezTo>
                <a:cubicBezTo>
                  <a:pt x="8565969" y="2830169"/>
                  <a:pt x="8537017" y="2801216"/>
                  <a:pt x="8537017" y="2765504"/>
                </a:cubicBezTo>
                <a:cubicBezTo>
                  <a:pt x="8537017" y="2729788"/>
                  <a:pt x="8565969" y="2700836"/>
                  <a:pt x="8601683" y="2700836"/>
                </a:cubicBezTo>
                <a:close/>
                <a:moveTo>
                  <a:pt x="10003015" y="2559922"/>
                </a:moveTo>
                <a:cubicBezTo>
                  <a:pt x="10038729" y="2559922"/>
                  <a:pt x="10067681" y="2588874"/>
                  <a:pt x="10067681" y="2624589"/>
                </a:cubicBezTo>
                <a:cubicBezTo>
                  <a:pt x="10067681" y="2660302"/>
                  <a:pt x="10038729" y="2689256"/>
                  <a:pt x="10003015" y="2689256"/>
                </a:cubicBezTo>
                <a:cubicBezTo>
                  <a:pt x="9967301" y="2689256"/>
                  <a:pt x="9938349" y="2660302"/>
                  <a:pt x="9938349" y="2624589"/>
                </a:cubicBezTo>
                <a:cubicBezTo>
                  <a:pt x="9938349" y="2588874"/>
                  <a:pt x="9967301" y="2559922"/>
                  <a:pt x="10003015" y="2559922"/>
                </a:cubicBezTo>
                <a:close/>
                <a:moveTo>
                  <a:pt x="9850356" y="2559922"/>
                </a:moveTo>
                <a:cubicBezTo>
                  <a:pt x="9886070" y="2559922"/>
                  <a:pt x="9915022" y="2588874"/>
                  <a:pt x="9915022" y="2624589"/>
                </a:cubicBezTo>
                <a:cubicBezTo>
                  <a:pt x="9915022" y="2660302"/>
                  <a:pt x="9886070" y="2689256"/>
                  <a:pt x="9850356" y="2689256"/>
                </a:cubicBezTo>
                <a:cubicBezTo>
                  <a:pt x="9814642" y="2689256"/>
                  <a:pt x="9785690" y="2660302"/>
                  <a:pt x="9785690" y="2624589"/>
                </a:cubicBezTo>
                <a:cubicBezTo>
                  <a:pt x="9785690" y="2588874"/>
                  <a:pt x="9814642" y="2559922"/>
                  <a:pt x="9850356" y="2559922"/>
                </a:cubicBezTo>
                <a:close/>
                <a:moveTo>
                  <a:pt x="9384549" y="2559922"/>
                </a:moveTo>
                <a:cubicBezTo>
                  <a:pt x="9420263" y="2559922"/>
                  <a:pt x="9449215" y="2588874"/>
                  <a:pt x="9449215" y="2624589"/>
                </a:cubicBezTo>
                <a:cubicBezTo>
                  <a:pt x="9449215" y="2660302"/>
                  <a:pt x="9420263" y="2689256"/>
                  <a:pt x="9384549" y="2689256"/>
                </a:cubicBezTo>
                <a:cubicBezTo>
                  <a:pt x="9348835" y="2689256"/>
                  <a:pt x="9319883" y="2660302"/>
                  <a:pt x="9319883" y="2624589"/>
                </a:cubicBezTo>
                <a:cubicBezTo>
                  <a:pt x="9319883" y="2588874"/>
                  <a:pt x="9348835" y="2559922"/>
                  <a:pt x="9384549" y="2559922"/>
                </a:cubicBezTo>
                <a:close/>
                <a:moveTo>
                  <a:pt x="9227976" y="2559922"/>
                </a:moveTo>
                <a:cubicBezTo>
                  <a:pt x="9263690" y="2559922"/>
                  <a:pt x="9292642" y="2588874"/>
                  <a:pt x="9292642" y="2624589"/>
                </a:cubicBezTo>
                <a:cubicBezTo>
                  <a:pt x="9292642" y="2660302"/>
                  <a:pt x="9263690" y="2689256"/>
                  <a:pt x="9227976" y="2689256"/>
                </a:cubicBezTo>
                <a:cubicBezTo>
                  <a:pt x="9192262" y="2689256"/>
                  <a:pt x="9163310" y="2660302"/>
                  <a:pt x="9163310" y="2624589"/>
                </a:cubicBezTo>
                <a:cubicBezTo>
                  <a:pt x="9163310" y="2588874"/>
                  <a:pt x="9192262" y="2559922"/>
                  <a:pt x="9227976" y="2559922"/>
                </a:cubicBezTo>
                <a:close/>
                <a:moveTo>
                  <a:pt x="9075317" y="2559922"/>
                </a:moveTo>
                <a:cubicBezTo>
                  <a:pt x="9111031" y="2559922"/>
                  <a:pt x="9139983" y="2588874"/>
                  <a:pt x="9139983" y="2624589"/>
                </a:cubicBezTo>
                <a:cubicBezTo>
                  <a:pt x="9139983" y="2660302"/>
                  <a:pt x="9111031" y="2689256"/>
                  <a:pt x="9075317" y="2689256"/>
                </a:cubicBezTo>
                <a:cubicBezTo>
                  <a:pt x="9039603" y="2689256"/>
                  <a:pt x="9010651" y="2660302"/>
                  <a:pt x="9010651" y="2624589"/>
                </a:cubicBezTo>
                <a:cubicBezTo>
                  <a:pt x="9010651" y="2588874"/>
                  <a:pt x="9039603" y="2559922"/>
                  <a:pt x="9075317" y="2559922"/>
                </a:cubicBezTo>
                <a:close/>
                <a:moveTo>
                  <a:pt x="8914829" y="2559922"/>
                </a:moveTo>
                <a:cubicBezTo>
                  <a:pt x="8950543" y="2559922"/>
                  <a:pt x="8979495" y="2588874"/>
                  <a:pt x="8979495" y="2624589"/>
                </a:cubicBezTo>
                <a:cubicBezTo>
                  <a:pt x="8979495" y="2660302"/>
                  <a:pt x="8950543" y="2689256"/>
                  <a:pt x="8914829" y="2689256"/>
                </a:cubicBezTo>
                <a:cubicBezTo>
                  <a:pt x="8879115" y="2689256"/>
                  <a:pt x="8850163" y="2660302"/>
                  <a:pt x="8850163" y="2624589"/>
                </a:cubicBezTo>
                <a:cubicBezTo>
                  <a:pt x="8850163" y="2588874"/>
                  <a:pt x="8879115" y="2559922"/>
                  <a:pt x="8914829" y="2559922"/>
                </a:cubicBezTo>
                <a:close/>
                <a:moveTo>
                  <a:pt x="8766084" y="2559922"/>
                </a:moveTo>
                <a:cubicBezTo>
                  <a:pt x="8801798" y="2559922"/>
                  <a:pt x="8830750" y="2588874"/>
                  <a:pt x="8830750" y="2624589"/>
                </a:cubicBezTo>
                <a:cubicBezTo>
                  <a:pt x="8830750" y="2660302"/>
                  <a:pt x="8801798" y="2689256"/>
                  <a:pt x="8766084" y="2689256"/>
                </a:cubicBezTo>
                <a:cubicBezTo>
                  <a:pt x="8730370" y="2689256"/>
                  <a:pt x="8701418" y="2660302"/>
                  <a:pt x="8701418" y="2624589"/>
                </a:cubicBezTo>
                <a:cubicBezTo>
                  <a:pt x="8701418" y="2588874"/>
                  <a:pt x="8730370" y="2559922"/>
                  <a:pt x="8766084" y="2559922"/>
                </a:cubicBezTo>
                <a:close/>
                <a:moveTo>
                  <a:pt x="8601683" y="2559922"/>
                </a:moveTo>
                <a:cubicBezTo>
                  <a:pt x="8637397" y="2559922"/>
                  <a:pt x="8666349" y="2588874"/>
                  <a:pt x="8666349" y="2624589"/>
                </a:cubicBezTo>
                <a:cubicBezTo>
                  <a:pt x="8666349" y="2660302"/>
                  <a:pt x="8637397" y="2689256"/>
                  <a:pt x="8601683" y="2689256"/>
                </a:cubicBezTo>
                <a:cubicBezTo>
                  <a:pt x="8565969" y="2689256"/>
                  <a:pt x="8537017" y="2660302"/>
                  <a:pt x="8537017" y="2624589"/>
                </a:cubicBezTo>
                <a:cubicBezTo>
                  <a:pt x="8537017" y="2588874"/>
                  <a:pt x="8565969" y="2559922"/>
                  <a:pt x="8601683" y="2559922"/>
                </a:cubicBezTo>
                <a:close/>
                <a:moveTo>
                  <a:pt x="8449023" y="2559922"/>
                </a:moveTo>
                <a:cubicBezTo>
                  <a:pt x="8484737" y="2559922"/>
                  <a:pt x="8513689" y="2588874"/>
                  <a:pt x="8513689" y="2624589"/>
                </a:cubicBezTo>
                <a:cubicBezTo>
                  <a:pt x="8513689" y="2660302"/>
                  <a:pt x="8484737" y="2689256"/>
                  <a:pt x="8449023" y="2689256"/>
                </a:cubicBezTo>
                <a:cubicBezTo>
                  <a:pt x="8413309" y="2689256"/>
                  <a:pt x="8384357" y="2660302"/>
                  <a:pt x="8384357" y="2624589"/>
                </a:cubicBezTo>
                <a:cubicBezTo>
                  <a:pt x="8384357" y="2588874"/>
                  <a:pt x="8413309" y="2559922"/>
                  <a:pt x="8449023" y="2559922"/>
                </a:cubicBezTo>
                <a:close/>
                <a:moveTo>
                  <a:pt x="8296367" y="2559922"/>
                </a:moveTo>
                <a:cubicBezTo>
                  <a:pt x="8332081" y="2559922"/>
                  <a:pt x="8361033" y="2588874"/>
                  <a:pt x="8361033" y="2624589"/>
                </a:cubicBezTo>
                <a:cubicBezTo>
                  <a:pt x="8361033" y="2660302"/>
                  <a:pt x="8332081" y="2689256"/>
                  <a:pt x="8296367" y="2689256"/>
                </a:cubicBezTo>
                <a:cubicBezTo>
                  <a:pt x="8260653" y="2689256"/>
                  <a:pt x="8231701" y="2660302"/>
                  <a:pt x="8231701" y="2624589"/>
                </a:cubicBezTo>
                <a:cubicBezTo>
                  <a:pt x="8231701" y="2588874"/>
                  <a:pt x="8260653" y="2559922"/>
                  <a:pt x="8296367" y="2559922"/>
                </a:cubicBezTo>
                <a:close/>
                <a:moveTo>
                  <a:pt x="8139792" y="2559922"/>
                </a:moveTo>
                <a:cubicBezTo>
                  <a:pt x="8175506" y="2559922"/>
                  <a:pt x="8204458" y="2588874"/>
                  <a:pt x="8204458" y="2624589"/>
                </a:cubicBezTo>
                <a:cubicBezTo>
                  <a:pt x="8204458" y="2660302"/>
                  <a:pt x="8175506" y="2689256"/>
                  <a:pt x="8139792" y="2689256"/>
                </a:cubicBezTo>
                <a:cubicBezTo>
                  <a:pt x="8104078" y="2689256"/>
                  <a:pt x="8075126" y="2660302"/>
                  <a:pt x="8075126" y="2624589"/>
                </a:cubicBezTo>
                <a:cubicBezTo>
                  <a:pt x="8075126" y="2588874"/>
                  <a:pt x="8104078" y="2559922"/>
                  <a:pt x="8139792" y="2559922"/>
                </a:cubicBezTo>
                <a:close/>
                <a:moveTo>
                  <a:pt x="7987133" y="2559922"/>
                </a:moveTo>
                <a:cubicBezTo>
                  <a:pt x="8022847" y="2559922"/>
                  <a:pt x="8051799" y="2588874"/>
                  <a:pt x="8051799" y="2624589"/>
                </a:cubicBezTo>
                <a:cubicBezTo>
                  <a:pt x="8051799" y="2660302"/>
                  <a:pt x="8022847" y="2689256"/>
                  <a:pt x="7987133" y="2689256"/>
                </a:cubicBezTo>
                <a:cubicBezTo>
                  <a:pt x="7951419" y="2689256"/>
                  <a:pt x="7922467" y="2660302"/>
                  <a:pt x="7922467" y="2624589"/>
                </a:cubicBezTo>
                <a:cubicBezTo>
                  <a:pt x="7922467" y="2588874"/>
                  <a:pt x="7951419" y="2559922"/>
                  <a:pt x="7987133" y="2559922"/>
                </a:cubicBezTo>
                <a:close/>
                <a:moveTo>
                  <a:pt x="7830562" y="2559922"/>
                </a:moveTo>
                <a:cubicBezTo>
                  <a:pt x="7866276" y="2559922"/>
                  <a:pt x="7895228" y="2588874"/>
                  <a:pt x="7895228" y="2624589"/>
                </a:cubicBezTo>
                <a:cubicBezTo>
                  <a:pt x="7895228" y="2660302"/>
                  <a:pt x="7866276" y="2689256"/>
                  <a:pt x="7830562" y="2689256"/>
                </a:cubicBezTo>
                <a:cubicBezTo>
                  <a:pt x="7794848" y="2689256"/>
                  <a:pt x="7765896" y="2660302"/>
                  <a:pt x="7765896" y="2624589"/>
                </a:cubicBezTo>
                <a:cubicBezTo>
                  <a:pt x="7765896" y="2588874"/>
                  <a:pt x="7794848" y="2559922"/>
                  <a:pt x="7830562" y="2559922"/>
                </a:cubicBezTo>
                <a:close/>
                <a:moveTo>
                  <a:pt x="7677902" y="2559922"/>
                </a:moveTo>
                <a:cubicBezTo>
                  <a:pt x="7713616" y="2559922"/>
                  <a:pt x="7742568" y="2588874"/>
                  <a:pt x="7742568" y="2624589"/>
                </a:cubicBezTo>
                <a:cubicBezTo>
                  <a:pt x="7742568" y="2660302"/>
                  <a:pt x="7713616" y="2689256"/>
                  <a:pt x="7677902" y="2689256"/>
                </a:cubicBezTo>
                <a:cubicBezTo>
                  <a:pt x="7642188" y="2689256"/>
                  <a:pt x="7613236" y="2660302"/>
                  <a:pt x="7613236" y="2624589"/>
                </a:cubicBezTo>
                <a:cubicBezTo>
                  <a:pt x="7613236" y="2588874"/>
                  <a:pt x="7642188" y="2559922"/>
                  <a:pt x="7677902" y="2559922"/>
                </a:cubicBezTo>
                <a:close/>
                <a:moveTo>
                  <a:pt x="7521329" y="2559922"/>
                </a:moveTo>
                <a:cubicBezTo>
                  <a:pt x="7557043" y="2559922"/>
                  <a:pt x="7585995" y="2588874"/>
                  <a:pt x="7585995" y="2624589"/>
                </a:cubicBezTo>
                <a:cubicBezTo>
                  <a:pt x="7585995" y="2660302"/>
                  <a:pt x="7557043" y="2689256"/>
                  <a:pt x="7521329" y="2689256"/>
                </a:cubicBezTo>
                <a:cubicBezTo>
                  <a:pt x="7485615" y="2689256"/>
                  <a:pt x="7456663" y="2660302"/>
                  <a:pt x="7456663" y="2624589"/>
                </a:cubicBezTo>
                <a:cubicBezTo>
                  <a:pt x="7456663" y="2588874"/>
                  <a:pt x="7485615" y="2559922"/>
                  <a:pt x="7521329" y="2559922"/>
                </a:cubicBezTo>
                <a:close/>
                <a:moveTo>
                  <a:pt x="7368669" y="2559922"/>
                </a:moveTo>
                <a:cubicBezTo>
                  <a:pt x="7404383" y="2559922"/>
                  <a:pt x="7433335" y="2588874"/>
                  <a:pt x="7433335" y="2624589"/>
                </a:cubicBezTo>
                <a:cubicBezTo>
                  <a:pt x="7433335" y="2660302"/>
                  <a:pt x="7404383" y="2689256"/>
                  <a:pt x="7368669" y="2689256"/>
                </a:cubicBezTo>
                <a:cubicBezTo>
                  <a:pt x="7332955" y="2689256"/>
                  <a:pt x="7304003" y="2660302"/>
                  <a:pt x="7304003" y="2624589"/>
                </a:cubicBezTo>
                <a:cubicBezTo>
                  <a:pt x="7304003" y="2588874"/>
                  <a:pt x="7332955" y="2559922"/>
                  <a:pt x="7368669" y="2559922"/>
                </a:cubicBezTo>
                <a:close/>
                <a:moveTo>
                  <a:pt x="7212096" y="2559922"/>
                </a:moveTo>
                <a:cubicBezTo>
                  <a:pt x="7247810" y="2559922"/>
                  <a:pt x="7276762" y="2588874"/>
                  <a:pt x="7276762" y="2624589"/>
                </a:cubicBezTo>
                <a:cubicBezTo>
                  <a:pt x="7276762" y="2660302"/>
                  <a:pt x="7247810" y="2689256"/>
                  <a:pt x="7212096" y="2689256"/>
                </a:cubicBezTo>
                <a:cubicBezTo>
                  <a:pt x="7176382" y="2689256"/>
                  <a:pt x="7147430" y="2660302"/>
                  <a:pt x="7147430" y="2624589"/>
                </a:cubicBezTo>
                <a:cubicBezTo>
                  <a:pt x="7147430" y="2588874"/>
                  <a:pt x="7176382" y="2559922"/>
                  <a:pt x="7212096" y="2559922"/>
                </a:cubicBezTo>
                <a:close/>
                <a:moveTo>
                  <a:pt x="7055523" y="2559922"/>
                </a:moveTo>
                <a:cubicBezTo>
                  <a:pt x="7091237" y="2559922"/>
                  <a:pt x="7120189" y="2588874"/>
                  <a:pt x="7120189" y="2624589"/>
                </a:cubicBezTo>
                <a:cubicBezTo>
                  <a:pt x="7120189" y="2660302"/>
                  <a:pt x="7091237" y="2689256"/>
                  <a:pt x="7055523" y="2689256"/>
                </a:cubicBezTo>
                <a:cubicBezTo>
                  <a:pt x="7019809" y="2689256"/>
                  <a:pt x="6990857" y="2660302"/>
                  <a:pt x="6990857" y="2624589"/>
                </a:cubicBezTo>
                <a:cubicBezTo>
                  <a:pt x="6990857" y="2588874"/>
                  <a:pt x="7019809" y="2559922"/>
                  <a:pt x="7055523" y="2559922"/>
                </a:cubicBezTo>
                <a:close/>
                <a:moveTo>
                  <a:pt x="6895037" y="2559922"/>
                </a:moveTo>
                <a:cubicBezTo>
                  <a:pt x="6930751" y="2559922"/>
                  <a:pt x="6959703" y="2588874"/>
                  <a:pt x="6959703" y="2624589"/>
                </a:cubicBezTo>
                <a:cubicBezTo>
                  <a:pt x="6959703" y="2660302"/>
                  <a:pt x="6930751" y="2689256"/>
                  <a:pt x="6895037" y="2689256"/>
                </a:cubicBezTo>
                <a:cubicBezTo>
                  <a:pt x="6859323" y="2689256"/>
                  <a:pt x="6830371" y="2660302"/>
                  <a:pt x="6830371" y="2624589"/>
                </a:cubicBezTo>
                <a:cubicBezTo>
                  <a:pt x="6830371" y="2588874"/>
                  <a:pt x="6859323" y="2559922"/>
                  <a:pt x="6895037" y="2559922"/>
                </a:cubicBezTo>
                <a:close/>
                <a:moveTo>
                  <a:pt x="6742375" y="2559922"/>
                </a:moveTo>
                <a:cubicBezTo>
                  <a:pt x="6778089" y="2559922"/>
                  <a:pt x="6807041" y="2588874"/>
                  <a:pt x="6807041" y="2624589"/>
                </a:cubicBezTo>
                <a:cubicBezTo>
                  <a:pt x="6807041" y="2660302"/>
                  <a:pt x="6778089" y="2689256"/>
                  <a:pt x="6742375" y="2689256"/>
                </a:cubicBezTo>
                <a:cubicBezTo>
                  <a:pt x="6706661" y="2689256"/>
                  <a:pt x="6677709" y="2660302"/>
                  <a:pt x="6677709" y="2624589"/>
                </a:cubicBezTo>
                <a:cubicBezTo>
                  <a:pt x="6677709" y="2588874"/>
                  <a:pt x="6706661" y="2559922"/>
                  <a:pt x="6742375" y="2559922"/>
                </a:cubicBezTo>
                <a:close/>
                <a:moveTo>
                  <a:pt x="5810787" y="2559922"/>
                </a:moveTo>
                <a:cubicBezTo>
                  <a:pt x="5846479" y="2559922"/>
                  <a:pt x="5875431" y="2588874"/>
                  <a:pt x="5875431" y="2624589"/>
                </a:cubicBezTo>
                <a:cubicBezTo>
                  <a:pt x="5875431" y="2660302"/>
                  <a:pt x="5846479" y="2689256"/>
                  <a:pt x="5810787" y="2689256"/>
                </a:cubicBezTo>
                <a:cubicBezTo>
                  <a:pt x="5775066" y="2689256"/>
                  <a:pt x="5746110" y="2660302"/>
                  <a:pt x="5746110" y="2624589"/>
                </a:cubicBezTo>
                <a:cubicBezTo>
                  <a:pt x="5746110" y="2588874"/>
                  <a:pt x="5775066" y="2559922"/>
                  <a:pt x="5810787" y="2559922"/>
                </a:cubicBezTo>
                <a:close/>
                <a:moveTo>
                  <a:pt x="5658107" y="2559922"/>
                </a:moveTo>
                <a:cubicBezTo>
                  <a:pt x="5693823" y="2559922"/>
                  <a:pt x="5722779" y="2588874"/>
                  <a:pt x="5722779" y="2624589"/>
                </a:cubicBezTo>
                <a:cubicBezTo>
                  <a:pt x="5722779" y="2660302"/>
                  <a:pt x="5693823" y="2689256"/>
                  <a:pt x="5658107" y="2689256"/>
                </a:cubicBezTo>
                <a:cubicBezTo>
                  <a:pt x="5622395" y="2689256"/>
                  <a:pt x="5593441" y="2660302"/>
                  <a:pt x="5593441" y="2624589"/>
                </a:cubicBezTo>
                <a:cubicBezTo>
                  <a:pt x="5593441" y="2588874"/>
                  <a:pt x="5622395" y="2559922"/>
                  <a:pt x="5658107" y="2559922"/>
                </a:cubicBezTo>
                <a:close/>
                <a:moveTo>
                  <a:pt x="5501539" y="2559922"/>
                </a:moveTo>
                <a:cubicBezTo>
                  <a:pt x="5537252" y="2559922"/>
                  <a:pt x="5566203" y="2588874"/>
                  <a:pt x="5566203" y="2624589"/>
                </a:cubicBezTo>
                <a:cubicBezTo>
                  <a:pt x="5566203" y="2660302"/>
                  <a:pt x="5537252" y="2689256"/>
                  <a:pt x="5501539" y="2689256"/>
                </a:cubicBezTo>
                <a:cubicBezTo>
                  <a:pt x="5465825" y="2689256"/>
                  <a:pt x="5436879" y="2660302"/>
                  <a:pt x="5436879" y="2624589"/>
                </a:cubicBezTo>
                <a:cubicBezTo>
                  <a:pt x="5436879" y="2588874"/>
                  <a:pt x="5465825" y="2559922"/>
                  <a:pt x="5501539" y="2559922"/>
                </a:cubicBezTo>
                <a:close/>
                <a:moveTo>
                  <a:pt x="5348883" y="2559922"/>
                </a:moveTo>
                <a:cubicBezTo>
                  <a:pt x="5384600" y="2559922"/>
                  <a:pt x="5413550" y="2588874"/>
                  <a:pt x="5413550" y="2624589"/>
                </a:cubicBezTo>
                <a:cubicBezTo>
                  <a:pt x="5413550" y="2660302"/>
                  <a:pt x="5384600" y="2689256"/>
                  <a:pt x="5348883" y="2689256"/>
                </a:cubicBezTo>
                <a:cubicBezTo>
                  <a:pt x="5313179" y="2689256"/>
                  <a:pt x="5284224" y="2660302"/>
                  <a:pt x="5284224" y="2624589"/>
                </a:cubicBezTo>
                <a:cubicBezTo>
                  <a:pt x="5284224" y="2588874"/>
                  <a:pt x="5313179" y="2559922"/>
                  <a:pt x="5348883" y="2559922"/>
                </a:cubicBezTo>
                <a:close/>
                <a:moveTo>
                  <a:pt x="2855521" y="2559922"/>
                </a:moveTo>
                <a:cubicBezTo>
                  <a:pt x="2891231" y="2559922"/>
                  <a:pt x="2920181" y="2588874"/>
                  <a:pt x="2920181" y="2624589"/>
                </a:cubicBezTo>
                <a:cubicBezTo>
                  <a:pt x="2920181" y="2660302"/>
                  <a:pt x="2891231" y="2689256"/>
                  <a:pt x="2855521" y="2689256"/>
                </a:cubicBezTo>
                <a:cubicBezTo>
                  <a:pt x="2819809" y="2689256"/>
                  <a:pt x="2790860" y="2660302"/>
                  <a:pt x="2790860" y="2624589"/>
                </a:cubicBezTo>
                <a:cubicBezTo>
                  <a:pt x="2790860" y="2588874"/>
                  <a:pt x="2819809" y="2559922"/>
                  <a:pt x="2855521" y="2559922"/>
                </a:cubicBezTo>
                <a:close/>
                <a:moveTo>
                  <a:pt x="2698961" y="2559922"/>
                </a:moveTo>
                <a:cubicBezTo>
                  <a:pt x="2734673" y="2559922"/>
                  <a:pt x="2763622" y="2588874"/>
                  <a:pt x="2763622" y="2624589"/>
                </a:cubicBezTo>
                <a:cubicBezTo>
                  <a:pt x="2763622" y="2660302"/>
                  <a:pt x="2734673" y="2689256"/>
                  <a:pt x="2698961" y="2689256"/>
                </a:cubicBezTo>
                <a:cubicBezTo>
                  <a:pt x="2663251" y="2689256"/>
                  <a:pt x="2634302" y="2660302"/>
                  <a:pt x="2634302" y="2624589"/>
                </a:cubicBezTo>
                <a:cubicBezTo>
                  <a:pt x="2634302" y="2588874"/>
                  <a:pt x="2663251" y="2559922"/>
                  <a:pt x="2698961" y="2559922"/>
                </a:cubicBezTo>
                <a:close/>
                <a:moveTo>
                  <a:pt x="2546316" y="2559922"/>
                </a:moveTo>
                <a:cubicBezTo>
                  <a:pt x="2582028" y="2559922"/>
                  <a:pt x="2610977" y="2588874"/>
                  <a:pt x="2610977" y="2624589"/>
                </a:cubicBezTo>
                <a:cubicBezTo>
                  <a:pt x="2610977" y="2660302"/>
                  <a:pt x="2582028" y="2689256"/>
                  <a:pt x="2546316" y="2689256"/>
                </a:cubicBezTo>
                <a:cubicBezTo>
                  <a:pt x="2510598" y="2689256"/>
                  <a:pt x="2481655" y="2660302"/>
                  <a:pt x="2481655" y="2624589"/>
                </a:cubicBezTo>
                <a:cubicBezTo>
                  <a:pt x="2481655" y="2588874"/>
                  <a:pt x="2510598" y="2559922"/>
                  <a:pt x="2546316" y="2559922"/>
                </a:cubicBezTo>
                <a:close/>
                <a:moveTo>
                  <a:pt x="2389740" y="2559922"/>
                </a:moveTo>
                <a:cubicBezTo>
                  <a:pt x="2425467" y="2559922"/>
                  <a:pt x="2454414" y="2588874"/>
                  <a:pt x="2454414" y="2624589"/>
                </a:cubicBezTo>
                <a:cubicBezTo>
                  <a:pt x="2454414" y="2660302"/>
                  <a:pt x="2425467" y="2689256"/>
                  <a:pt x="2389740" y="2689256"/>
                </a:cubicBezTo>
                <a:cubicBezTo>
                  <a:pt x="2354036" y="2689256"/>
                  <a:pt x="2325081" y="2660302"/>
                  <a:pt x="2325081" y="2624589"/>
                </a:cubicBezTo>
                <a:cubicBezTo>
                  <a:pt x="2325081" y="2588874"/>
                  <a:pt x="2354036" y="2559922"/>
                  <a:pt x="2389740" y="2559922"/>
                </a:cubicBezTo>
                <a:close/>
                <a:moveTo>
                  <a:pt x="2237072" y="2559922"/>
                </a:moveTo>
                <a:cubicBezTo>
                  <a:pt x="2272791" y="2559922"/>
                  <a:pt x="2301749" y="2588874"/>
                  <a:pt x="2301749" y="2624589"/>
                </a:cubicBezTo>
                <a:cubicBezTo>
                  <a:pt x="2301749" y="2660302"/>
                  <a:pt x="2272791" y="2689256"/>
                  <a:pt x="2237072" y="2689256"/>
                </a:cubicBezTo>
                <a:cubicBezTo>
                  <a:pt x="2201352" y="2689256"/>
                  <a:pt x="2172394" y="2660302"/>
                  <a:pt x="2172394" y="2624589"/>
                </a:cubicBezTo>
                <a:cubicBezTo>
                  <a:pt x="2172394" y="2588874"/>
                  <a:pt x="2201352" y="2559922"/>
                  <a:pt x="2237072" y="2559922"/>
                </a:cubicBezTo>
                <a:close/>
                <a:moveTo>
                  <a:pt x="2084396" y="2559922"/>
                </a:moveTo>
                <a:cubicBezTo>
                  <a:pt x="2120112" y="2559922"/>
                  <a:pt x="2149064" y="2588874"/>
                  <a:pt x="2149064" y="2624589"/>
                </a:cubicBezTo>
                <a:cubicBezTo>
                  <a:pt x="2149064" y="2660302"/>
                  <a:pt x="2120112" y="2689256"/>
                  <a:pt x="2084396" y="2689256"/>
                </a:cubicBezTo>
                <a:cubicBezTo>
                  <a:pt x="2048675" y="2689256"/>
                  <a:pt x="2019746" y="2660302"/>
                  <a:pt x="2019746" y="2624589"/>
                </a:cubicBezTo>
                <a:cubicBezTo>
                  <a:pt x="2019746" y="2588874"/>
                  <a:pt x="2048675" y="2559922"/>
                  <a:pt x="2084396" y="2559922"/>
                </a:cubicBezTo>
                <a:close/>
                <a:moveTo>
                  <a:pt x="1927818" y="2559922"/>
                </a:moveTo>
                <a:cubicBezTo>
                  <a:pt x="1963544" y="2559922"/>
                  <a:pt x="1992499" y="2588874"/>
                  <a:pt x="1992499" y="2624589"/>
                </a:cubicBezTo>
                <a:cubicBezTo>
                  <a:pt x="1992499" y="2660302"/>
                  <a:pt x="1963544" y="2689256"/>
                  <a:pt x="1927818" y="2689256"/>
                </a:cubicBezTo>
                <a:cubicBezTo>
                  <a:pt x="1892124" y="2689256"/>
                  <a:pt x="1863171" y="2660302"/>
                  <a:pt x="1863171" y="2624589"/>
                </a:cubicBezTo>
                <a:cubicBezTo>
                  <a:pt x="1863171" y="2588874"/>
                  <a:pt x="1892124" y="2559922"/>
                  <a:pt x="1927818" y="2559922"/>
                </a:cubicBezTo>
                <a:close/>
                <a:moveTo>
                  <a:pt x="1775165" y="2559922"/>
                </a:moveTo>
                <a:cubicBezTo>
                  <a:pt x="1810873" y="2559922"/>
                  <a:pt x="1839842" y="2588874"/>
                  <a:pt x="1839842" y="2624589"/>
                </a:cubicBezTo>
                <a:cubicBezTo>
                  <a:pt x="1839842" y="2660302"/>
                  <a:pt x="1810873" y="2689256"/>
                  <a:pt x="1775165" y="2689256"/>
                </a:cubicBezTo>
                <a:cubicBezTo>
                  <a:pt x="1739451" y="2689256"/>
                  <a:pt x="1710496" y="2660302"/>
                  <a:pt x="1710496" y="2624589"/>
                </a:cubicBezTo>
                <a:cubicBezTo>
                  <a:pt x="1710496" y="2588874"/>
                  <a:pt x="1739451" y="2559922"/>
                  <a:pt x="1775165" y="2559922"/>
                </a:cubicBezTo>
                <a:close/>
                <a:moveTo>
                  <a:pt x="1618586" y="2559922"/>
                </a:moveTo>
                <a:cubicBezTo>
                  <a:pt x="1654302" y="2559922"/>
                  <a:pt x="1683255" y="2588874"/>
                  <a:pt x="1683255" y="2624589"/>
                </a:cubicBezTo>
                <a:cubicBezTo>
                  <a:pt x="1683255" y="2660302"/>
                  <a:pt x="1654302" y="2689256"/>
                  <a:pt x="1618586" y="2689256"/>
                </a:cubicBezTo>
                <a:cubicBezTo>
                  <a:pt x="1582874" y="2689256"/>
                  <a:pt x="1553923" y="2660302"/>
                  <a:pt x="1553923" y="2624589"/>
                </a:cubicBezTo>
                <a:cubicBezTo>
                  <a:pt x="1553923" y="2588874"/>
                  <a:pt x="1582874" y="2559922"/>
                  <a:pt x="1618586" y="2559922"/>
                </a:cubicBezTo>
                <a:close/>
                <a:moveTo>
                  <a:pt x="10003015" y="2422922"/>
                </a:moveTo>
                <a:cubicBezTo>
                  <a:pt x="10038729" y="2422922"/>
                  <a:pt x="10067681" y="2451875"/>
                  <a:pt x="10067681" y="2487589"/>
                </a:cubicBezTo>
                <a:cubicBezTo>
                  <a:pt x="10067681" y="2523303"/>
                  <a:pt x="10038729" y="2552255"/>
                  <a:pt x="10003015" y="2552255"/>
                </a:cubicBezTo>
                <a:cubicBezTo>
                  <a:pt x="9967301" y="2552255"/>
                  <a:pt x="9938349" y="2523303"/>
                  <a:pt x="9938349" y="2487589"/>
                </a:cubicBezTo>
                <a:cubicBezTo>
                  <a:pt x="9938349" y="2451875"/>
                  <a:pt x="9967301" y="2422922"/>
                  <a:pt x="10003015" y="2422922"/>
                </a:cubicBezTo>
                <a:close/>
                <a:moveTo>
                  <a:pt x="9693782" y="2422922"/>
                </a:moveTo>
                <a:cubicBezTo>
                  <a:pt x="9729496" y="2422922"/>
                  <a:pt x="9758448" y="2451875"/>
                  <a:pt x="9758448" y="2487589"/>
                </a:cubicBezTo>
                <a:cubicBezTo>
                  <a:pt x="9758448" y="2523303"/>
                  <a:pt x="9729496" y="2552255"/>
                  <a:pt x="9693782" y="2552255"/>
                </a:cubicBezTo>
                <a:cubicBezTo>
                  <a:pt x="9658068" y="2552255"/>
                  <a:pt x="9629116" y="2523303"/>
                  <a:pt x="9629116" y="2487589"/>
                </a:cubicBezTo>
                <a:cubicBezTo>
                  <a:pt x="9629116" y="2451875"/>
                  <a:pt x="9658068" y="2422922"/>
                  <a:pt x="9693782" y="2422922"/>
                </a:cubicBezTo>
                <a:close/>
                <a:moveTo>
                  <a:pt x="9384549" y="2422922"/>
                </a:moveTo>
                <a:cubicBezTo>
                  <a:pt x="9420263" y="2422922"/>
                  <a:pt x="9449215" y="2451875"/>
                  <a:pt x="9449215" y="2487589"/>
                </a:cubicBezTo>
                <a:cubicBezTo>
                  <a:pt x="9449215" y="2523303"/>
                  <a:pt x="9420263" y="2552255"/>
                  <a:pt x="9384549" y="2552255"/>
                </a:cubicBezTo>
                <a:cubicBezTo>
                  <a:pt x="9348835" y="2552255"/>
                  <a:pt x="9319883" y="2523303"/>
                  <a:pt x="9319883" y="2487589"/>
                </a:cubicBezTo>
                <a:cubicBezTo>
                  <a:pt x="9319883" y="2451875"/>
                  <a:pt x="9348835" y="2422922"/>
                  <a:pt x="9384549" y="2422922"/>
                </a:cubicBezTo>
                <a:close/>
                <a:moveTo>
                  <a:pt x="9227976" y="2422922"/>
                </a:moveTo>
                <a:cubicBezTo>
                  <a:pt x="9263690" y="2422922"/>
                  <a:pt x="9292642" y="2451875"/>
                  <a:pt x="9292642" y="2487589"/>
                </a:cubicBezTo>
                <a:cubicBezTo>
                  <a:pt x="9292642" y="2523303"/>
                  <a:pt x="9263690" y="2552255"/>
                  <a:pt x="9227976" y="2552255"/>
                </a:cubicBezTo>
                <a:cubicBezTo>
                  <a:pt x="9192262" y="2552255"/>
                  <a:pt x="9163310" y="2523303"/>
                  <a:pt x="9163310" y="2487589"/>
                </a:cubicBezTo>
                <a:cubicBezTo>
                  <a:pt x="9163310" y="2451875"/>
                  <a:pt x="9192262" y="2422922"/>
                  <a:pt x="9227976" y="2422922"/>
                </a:cubicBezTo>
                <a:close/>
                <a:moveTo>
                  <a:pt x="9075317" y="2422922"/>
                </a:moveTo>
                <a:cubicBezTo>
                  <a:pt x="9111031" y="2422922"/>
                  <a:pt x="9139983" y="2451875"/>
                  <a:pt x="9139983" y="2487589"/>
                </a:cubicBezTo>
                <a:cubicBezTo>
                  <a:pt x="9139983" y="2523303"/>
                  <a:pt x="9111031" y="2552255"/>
                  <a:pt x="9075317" y="2552255"/>
                </a:cubicBezTo>
                <a:cubicBezTo>
                  <a:pt x="9039603" y="2552255"/>
                  <a:pt x="9010651" y="2523303"/>
                  <a:pt x="9010651" y="2487589"/>
                </a:cubicBezTo>
                <a:cubicBezTo>
                  <a:pt x="9010651" y="2451875"/>
                  <a:pt x="9039603" y="2422922"/>
                  <a:pt x="9075317" y="2422922"/>
                </a:cubicBezTo>
                <a:close/>
                <a:moveTo>
                  <a:pt x="8914831" y="2422922"/>
                </a:moveTo>
                <a:cubicBezTo>
                  <a:pt x="8950545" y="2422922"/>
                  <a:pt x="8979497" y="2451875"/>
                  <a:pt x="8979497" y="2487589"/>
                </a:cubicBezTo>
                <a:cubicBezTo>
                  <a:pt x="8979497" y="2523303"/>
                  <a:pt x="8950545" y="2552255"/>
                  <a:pt x="8914831" y="2552255"/>
                </a:cubicBezTo>
                <a:cubicBezTo>
                  <a:pt x="8879117" y="2552255"/>
                  <a:pt x="8850165" y="2523303"/>
                  <a:pt x="8850165" y="2487589"/>
                </a:cubicBezTo>
                <a:cubicBezTo>
                  <a:pt x="8850165" y="2451875"/>
                  <a:pt x="8879117" y="2422922"/>
                  <a:pt x="8914831" y="2422922"/>
                </a:cubicBezTo>
                <a:close/>
                <a:moveTo>
                  <a:pt x="8766086" y="2422922"/>
                </a:moveTo>
                <a:cubicBezTo>
                  <a:pt x="8801800" y="2422922"/>
                  <a:pt x="8830752" y="2451875"/>
                  <a:pt x="8830752" y="2487589"/>
                </a:cubicBezTo>
                <a:cubicBezTo>
                  <a:pt x="8830752" y="2523303"/>
                  <a:pt x="8801800" y="2552255"/>
                  <a:pt x="8766086" y="2552255"/>
                </a:cubicBezTo>
                <a:cubicBezTo>
                  <a:pt x="8730372" y="2552255"/>
                  <a:pt x="8701420" y="2523303"/>
                  <a:pt x="8701420" y="2487589"/>
                </a:cubicBezTo>
                <a:cubicBezTo>
                  <a:pt x="8701420" y="2451875"/>
                  <a:pt x="8730372" y="2422922"/>
                  <a:pt x="8766086" y="2422922"/>
                </a:cubicBezTo>
                <a:close/>
                <a:moveTo>
                  <a:pt x="8601685" y="2422922"/>
                </a:moveTo>
                <a:cubicBezTo>
                  <a:pt x="8637399" y="2422922"/>
                  <a:pt x="8666351" y="2451875"/>
                  <a:pt x="8666351" y="2487589"/>
                </a:cubicBezTo>
                <a:cubicBezTo>
                  <a:pt x="8666351" y="2523303"/>
                  <a:pt x="8637399" y="2552255"/>
                  <a:pt x="8601685" y="2552255"/>
                </a:cubicBezTo>
                <a:cubicBezTo>
                  <a:pt x="8565971" y="2552255"/>
                  <a:pt x="8537019" y="2523303"/>
                  <a:pt x="8537019" y="2487589"/>
                </a:cubicBezTo>
                <a:cubicBezTo>
                  <a:pt x="8537019" y="2451875"/>
                  <a:pt x="8565971" y="2422922"/>
                  <a:pt x="8601685" y="2422922"/>
                </a:cubicBezTo>
                <a:close/>
                <a:moveTo>
                  <a:pt x="8449025" y="2422922"/>
                </a:moveTo>
                <a:cubicBezTo>
                  <a:pt x="8484739" y="2422922"/>
                  <a:pt x="8513691" y="2451875"/>
                  <a:pt x="8513691" y="2487589"/>
                </a:cubicBezTo>
                <a:cubicBezTo>
                  <a:pt x="8513691" y="2523303"/>
                  <a:pt x="8484739" y="2552255"/>
                  <a:pt x="8449025" y="2552255"/>
                </a:cubicBezTo>
                <a:cubicBezTo>
                  <a:pt x="8413311" y="2552255"/>
                  <a:pt x="8384359" y="2523303"/>
                  <a:pt x="8384359" y="2487589"/>
                </a:cubicBezTo>
                <a:cubicBezTo>
                  <a:pt x="8384359" y="2451875"/>
                  <a:pt x="8413311" y="2422922"/>
                  <a:pt x="8449025" y="2422922"/>
                </a:cubicBezTo>
                <a:close/>
                <a:moveTo>
                  <a:pt x="8296368" y="2422922"/>
                </a:moveTo>
                <a:cubicBezTo>
                  <a:pt x="8332082" y="2422922"/>
                  <a:pt x="8361034" y="2451875"/>
                  <a:pt x="8361034" y="2487589"/>
                </a:cubicBezTo>
                <a:cubicBezTo>
                  <a:pt x="8361034" y="2523303"/>
                  <a:pt x="8332082" y="2552255"/>
                  <a:pt x="8296368" y="2552255"/>
                </a:cubicBezTo>
                <a:cubicBezTo>
                  <a:pt x="8260654" y="2552255"/>
                  <a:pt x="8231702" y="2523303"/>
                  <a:pt x="8231702" y="2487589"/>
                </a:cubicBezTo>
                <a:cubicBezTo>
                  <a:pt x="8231702" y="2451875"/>
                  <a:pt x="8260654" y="2422922"/>
                  <a:pt x="8296368" y="2422922"/>
                </a:cubicBezTo>
                <a:close/>
                <a:moveTo>
                  <a:pt x="8139793" y="2422922"/>
                </a:moveTo>
                <a:cubicBezTo>
                  <a:pt x="8175507" y="2422922"/>
                  <a:pt x="8204459" y="2451875"/>
                  <a:pt x="8204459" y="2487589"/>
                </a:cubicBezTo>
                <a:cubicBezTo>
                  <a:pt x="8204459" y="2523303"/>
                  <a:pt x="8175507" y="2552255"/>
                  <a:pt x="8139793" y="2552255"/>
                </a:cubicBezTo>
                <a:cubicBezTo>
                  <a:pt x="8104079" y="2552255"/>
                  <a:pt x="8075127" y="2523303"/>
                  <a:pt x="8075127" y="2487589"/>
                </a:cubicBezTo>
                <a:cubicBezTo>
                  <a:pt x="8075127" y="2451875"/>
                  <a:pt x="8104079" y="2422922"/>
                  <a:pt x="8139793" y="2422922"/>
                </a:cubicBezTo>
                <a:close/>
                <a:moveTo>
                  <a:pt x="7987133" y="2422922"/>
                </a:moveTo>
                <a:cubicBezTo>
                  <a:pt x="8022847" y="2422922"/>
                  <a:pt x="8051799" y="2451875"/>
                  <a:pt x="8051799" y="2487589"/>
                </a:cubicBezTo>
                <a:cubicBezTo>
                  <a:pt x="8051799" y="2523303"/>
                  <a:pt x="8022847" y="2552255"/>
                  <a:pt x="7987133" y="2552255"/>
                </a:cubicBezTo>
                <a:cubicBezTo>
                  <a:pt x="7951419" y="2552255"/>
                  <a:pt x="7922467" y="2523303"/>
                  <a:pt x="7922467" y="2487589"/>
                </a:cubicBezTo>
                <a:cubicBezTo>
                  <a:pt x="7922467" y="2451875"/>
                  <a:pt x="7951419" y="2422922"/>
                  <a:pt x="7987133" y="2422922"/>
                </a:cubicBezTo>
                <a:close/>
                <a:moveTo>
                  <a:pt x="7830562" y="2422922"/>
                </a:moveTo>
                <a:cubicBezTo>
                  <a:pt x="7866276" y="2422922"/>
                  <a:pt x="7895228" y="2451875"/>
                  <a:pt x="7895228" y="2487589"/>
                </a:cubicBezTo>
                <a:cubicBezTo>
                  <a:pt x="7895228" y="2523303"/>
                  <a:pt x="7866276" y="2552255"/>
                  <a:pt x="7830562" y="2552255"/>
                </a:cubicBezTo>
                <a:cubicBezTo>
                  <a:pt x="7794848" y="2552255"/>
                  <a:pt x="7765896" y="2523303"/>
                  <a:pt x="7765896" y="2487589"/>
                </a:cubicBezTo>
                <a:cubicBezTo>
                  <a:pt x="7765896" y="2451875"/>
                  <a:pt x="7794848" y="2422922"/>
                  <a:pt x="7830562" y="2422922"/>
                </a:cubicBezTo>
                <a:close/>
                <a:moveTo>
                  <a:pt x="7677904" y="2422922"/>
                </a:moveTo>
                <a:cubicBezTo>
                  <a:pt x="7713618" y="2422922"/>
                  <a:pt x="7742570" y="2451875"/>
                  <a:pt x="7742570" y="2487589"/>
                </a:cubicBezTo>
                <a:cubicBezTo>
                  <a:pt x="7742570" y="2523303"/>
                  <a:pt x="7713618" y="2552255"/>
                  <a:pt x="7677904" y="2552255"/>
                </a:cubicBezTo>
                <a:cubicBezTo>
                  <a:pt x="7642190" y="2552255"/>
                  <a:pt x="7613238" y="2523303"/>
                  <a:pt x="7613238" y="2487589"/>
                </a:cubicBezTo>
                <a:cubicBezTo>
                  <a:pt x="7613238" y="2451875"/>
                  <a:pt x="7642190" y="2422922"/>
                  <a:pt x="7677904" y="2422922"/>
                </a:cubicBezTo>
                <a:close/>
                <a:moveTo>
                  <a:pt x="7521331" y="2422922"/>
                </a:moveTo>
                <a:cubicBezTo>
                  <a:pt x="7557045" y="2422922"/>
                  <a:pt x="7585997" y="2451875"/>
                  <a:pt x="7585997" y="2487589"/>
                </a:cubicBezTo>
                <a:cubicBezTo>
                  <a:pt x="7585997" y="2523303"/>
                  <a:pt x="7557045" y="2552255"/>
                  <a:pt x="7521331" y="2552255"/>
                </a:cubicBezTo>
                <a:cubicBezTo>
                  <a:pt x="7485617" y="2552255"/>
                  <a:pt x="7456665" y="2523303"/>
                  <a:pt x="7456665" y="2487589"/>
                </a:cubicBezTo>
                <a:cubicBezTo>
                  <a:pt x="7456665" y="2451875"/>
                  <a:pt x="7485617" y="2422922"/>
                  <a:pt x="7521331" y="2422922"/>
                </a:cubicBezTo>
                <a:close/>
                <a:moveTo>
                  <a:pt x="7368671" y="2422922"/>
                </a:moveTo>
                <a:cubicBezTo>
                  <a:pt x="7404385" y="2422922"/>
                  <a:pt x="7433337" y="2451875"/>
                  <a:pt x="7433337" y="2487589"/>
                </a:cubicBezTo>
                <a:cubicBezTo>
                  <a:pt x="7433337" y="2523303"/>
                  <a:pt x="7404385" y="2552255"/>
                  <a:pt x="7368671" y="2552255"/>
                </a:cubicBezTo>
                <a:cubicBezTo>
                  <a:pt x="7332957" y="2552255"/>
                  <a:pt x="7304005" y="2523303"/>
                  <a:pt x="7304005" y="2487589"/>
                </a:cubicBezTo>
                <a:cubicBezTo>
                  <a:pt x="7304005" y="2451875"/>
                  <a:pt x="7332957" y="2422922"/>
                  <a:pt x="7368671" y="2422922"/>
                </a:cubicBezTo>
                <a:close/>
                <a:moveTo>
                  <a:pt x="7055523" y="2422922"/>
                </a:moveTo>
                <a:cubicBezTo>
                  <a:pt x="7091237" y="2422922"/>
                  <a:pt x="7120189" y="2451875"/>
                  <a:pt x="7120189" y="2487589"/>
                </a:cubicBezTo>
                <a:cubicBezTo>
                  <a:pt x="7120189" y="2523303"/>
                  <a:pt x="7091237" y="2552255"/>
                  <a:pt x="7055523" y="2552255"/>
                </a:cubicBezTo>
                <a:cubicBezTo>
                  <a:pt x="7019809" y="2552255"/>
                  <a:pt x="6990857" y="2523303"/>
                  <a:pt x="6990857" y="2487589"/>
                </a:cubicBezTo>
                <a:cubicBezTo>
                  <a:pt x="6990857" y="2451875"/>
                  <a:pt x="7019809" y="2422922"/>
                  <a:pt x="7055523" y="2422922"/>
                </a:cubicBezTo>
                <a:close/>
                <a:moveTo>
                  <a:pt x="6895037" y="2422922"/>
                </a:moveTo>
                <a:cubicBezTo>
                  <a:pt x="6930751" y="2422922"/>
                  <a:pt x="6959703" y="2451875"/>
                  <a:pt x="6959703" y="2487589"/>
                </a:cubicBezTo>
                <a:cubicBezTo>
                  <a:pt x="6959703" y="2523303"/>
                  <a:pt x="6930751" y="2552255"/>
                  <a:pt x="6895037" y="2552255"/>
                </a:cubicBezTo>
                <a:cubicBezTo>
                  <a:pt x="6859323" y="2552255"/>
                  <a:pt x="6830371" y="2523303"/>
                  <a:pt x="6830371" y="2487589"/>
                </a:cubicBezTo>
                <a:cubicBezTo>
                  <a:pt x="6830371" y="2451875"/>
                  <a:pt x="6859323" y="2422922"/>
                  <a:pt x="6895037" y="2422922"/>
                </a:cubicBezTo>
                <a:close/>
                <a:moveTo>
                  <a:pt x="6742377" y="2422922"/>
                </a:moveTo>
                <a:cubicBezTo>
                  <a:pt x="6778091" y="2422922"/>
                  <a:pt x="6807043" y="2451875"/>
                  <a:pt x="6807043" y="2487589"/>
                </a:cubicBezTo>
                <a:cubicBezTo>
                  <a:pt x="6807043" y="2523303"/>
                  <a:pt x="6778091" y="2552255"/>
                  <a:pt x="6742377" y="2552255"/>
                </a:cubicBezTo>
                <a:cubicBezTo>
                  <a:pt x="6706663" y="2552255"/>
                  <a:pt x="6677711" y="2523303"/>
                  <a:pt x="6677711" y="2487589"/>
                </a:cubicBezTo>
                <a:cubicBezTo>
                  <a:pt x="6677711" y="2451875"/>
                  <a:pt x="6706663" y="2422922"/>
                  <a:pt x="6742377" y="2422922"/>
                </a:cubicBezTo>
                <a:close/>
                <a:moveTo>
                  <a:pt x="6585804" y="2422922"/>
                </a:moveTo>
                <a:cubicBezTo>
                  <a:pt x="6621518" y="2422922"/>
                  <a:pt x="6650470" y="2451875"/>
                  <a:pt x="6650470" y="2487589"/>
                </a:cubicBezTo>
                <a:cubicBezTo>
                  <a:pt x="6650470" y="2523303"/>
                  <a:pt x="6621518" y="2552255"/>
                  <a:pt x="6585804" y="2552255"/>
                </a:cubicBezTo>
                <a:cubicBezTo>
                  <a:pt x="6550090" y="2552255"/>
                  <a:pt x="6521138" y="2523303"/>
                  <a:pt x="6521138" y="2487589"/>
                </a:cubicBezTo>
                <a:cubicBezTo>
                  <a:pt x="6521138" y="2451875"/>
                  <a:pt x="6550090" y="2422922"/>
                  <a:pt x="6585804" y="2422922"/>
                </a:cubicBezTo>
                <a:close/>
                <a:moveTo>
                  <a:pt x="6429231" y="2422922"/>
                </a:moveTo>
                <a:cubicBezTo>
                  <a:pt x="6464945" y="2422922"/>
                  <a:pt x="6493897" y="2451875"/>
                  <a:pt x="6493897" y="2487589"/>
                </a:cubicBezTo>
                <a:cubicBezTo>
                  <a:pt x="6493897" y="2523303"/>
                  <a:pt x="6464945" y="2552255"/>
                  <a:pt x="6429231" y="2552255"/>
                </a:cubicBezTo>
                <a:cubicBezTo>
                  <a:pt x="6393517" y="2552255"/>
                  <a:pt x="6364565" y="2523303"/>
                  <a:pt x="6364565" y="2487589"/>
                </a:cubicBezTo>
                <a:cubicBezTo>
                  <a:pt x="6364565" y="2451875"/>
                  <a:pt x="6393517" y="2422922"/>
                  <a:pt x="6429231" y="2422922"/>
                </a:cubicBezTo>
                <a:close/>
                <a:moveTo>
                  <a:pt x="6276571" y="2422922"/>
                </a:moveTo>
                <a:cubicBezTo>
                  <a:pt x="6312285" y="2422922"/>
                  <a:pt x="6341237" y="2451875"/>
                  <a:pt x="6341237" y="2487589"/>
                </a:cubicBezTo>
                <a:cubicBezTo>
                  <a:pt x="6341237" y="2523303"/>
                  <a:pt x="6312285" y="2552255"/>
                  <a:pt x="6276571" y="2552255"/>
                </a:cubicBezTo>
                <a:cubicBezTo>
                  <a:pt x="6240857" y="2552255"/>
                  <a:pt x="6211905" y="2523303"/>
                  <a:pt x="6211905" y="2487589"/>
                </a:cubicBezTo>
                <a:cubicBezTo>
                  <a:pt x="6211905" y="2451875"/>
                  <a:pt x="6240857" y="2422922"/>
                  <a:pt x="6276571" y="2422922"/>
                </a:cubicBezTo>
                <a:close/>
                <a:moveTo>
                  <a:pt x="5967339" y="2422922"/>
                </a:moveTo>
                <a:cubicBezTo>
                  <a:pt x="6003053" y="2422922"/>
                  <a:pt x="6032005" y="2451875"/>
                  <a:pt x="6032005" y="2487589"/>
                </a:cubicBezTo>
                <a:cubicBezTo>
                  <a:pt x="6032005" y="2523303"/>
                  <a:pt x="6003053" y="2552255"/>
                  <a:pt x="5967339" y="2552255"/>
                </a:cubicBezTo>
                <a:cubicBezTo>
                  <a:pt x="5931625" y="2552255"/>
                  <a:pt x="5902673" y="2523303"/>
                  <a:pt x="5902673" y="2487589"/>
                </a:cubicBezTo>
                <a:cubicBezTo>
                  <a:pt x="5902673" y="2451875"/>
                  <a:pt x="5931625" y="2422922"/>
                  <a:pt x="5967339" y="2422922"/>
                </a:cubicBezTo>
                <a:close/>
                <a:moveTo>
                  <a:pt x="5348888" y="2422922"/>
                </a:moveTo>
                <a:cubicBezTo>
                  <a:pt x="5384602" y="2422922"/>
                  <a:pt x="5413551" y="2451875"/>
                  <a:pt x="5413551" y="2487589"/>
                </a:cubicBezTo>
                <a:cubicBezTo>
                  <a:pt x="5413551" y="2523303"/>
                  <a:pt x="5384602" y="2552255"/>
                  <a:pt x="5348888" y="2552255"/>
                </a:cubicBezTo>
                <a:cubicBezTo>
                  <a:pt x="5313182" y="2552255"/>
                  <a:pt x="5284224" y="2523303"/>
                  <a:pt x="5284224" y="2487589"/>
                </a:cubicBezTo>
                <a:cubicBezTo>
                  <a:pt x="5284224" y="2451875"/>
                  <a:pt x="5313182" y="2422922"/>
                  <a:pt x="5348888" y="2422922"/>
                </a:cubicBezTo>
                <a:close/>
                <a:moveTo>
                  <a:pt x="5192318" y="2422922"/>
                </a:moveTo>
                <a:cubicBezTo>
                  <a:pt x="5228035" y="2422922"/>
                  <a:pt x="5256980" y="2451875"/>
                  <a:pt x="5256980" y="2487589"/>
                </a:cubicBezTo>
                <a:cubicBezTo>
                  <a:pt x="5256980" y="2523303"/>
                  <a:pt x="5228035" y="2552255"/>
                  <a:pt x="5192318" y="2552255"/>
                </a:cubicBezTo>
                <a:cubicBezTo>
                  <a:pt x="5156606" y="2552255"/>
                  <a:pt x="5127651" y="2523303"/>
                  <a:pt x="5127651" y="2487589"/>
                </a:cubicBezTo>
                <a:cubicBezTo>
                  <a:pt x="5127651" y="2451875"/>
                  <a:pt x="5156606" y="2422922"/>
                  <a:pt x="5192318" y="2422922"/>
                </a:cubicBezTo>
                <a:close/>
                <a:moveTo>
                  <a:pt x="3012086" y="2422922"/>
                </a:moveTo>
                <a:cubicBezTo>
                  <a:pt x="3047798" y="2422922"/>
                  <a:pt x="3076754" y="2451875"/>
                  <a:pt x="3076754" y="2487589"/>
                </a:cubicBezTo>
                <a:cubicBezTo>
                  <a:pt x="3076754" y="2523303"/>
                  <a:pt x="3047798" y="2552255"/>
                  <a:pt x="3012086" y="2552255"/>
                </a:cubicBezTo>
                <a:cubicBezTo>
                  <a:pt x="2976375" y="2552255"/>
                  <a:pt x="2947426" y="2523303"/>
                  <a:pt x="2947426" y="2487589"/>
                </a:cubicBezTo>
                <a:cubicBezTo>
                  <a:pt x="2947426" y="2451875"/>
                  <a:pt x="2976375" y="2422922"/>
                  <a:pt x="3012086" y="2422922"/>
                </a:cubicBezTo>
                <a:close/>
                <a:moveTo>
                  <a:pt x="2855526" y="2422922"/>
                </a:moveTo>
                <a:cubicBezTo>
                  <a:pt x="2891237" y="2422922"/>
                  <a:pt x="2920186" y="2451875"/>
                  <a:pt x="2920186" y="2487589"/>
                </a:cubicBezTo>
                <a:cubicBezTo>
                  <a:pt x="2920186" y="2523303"/>
                  <a:pt x="2891237" y="2552255"/>
                  <a:pt x="2855526" y="2552255"/>
                </a:cubicBezTo>
                <a:cubicBezTo>
                  <a:pt x="2819816" y="2552255"/>
                  <a:pt x="2790866" y="2523303"/>
                  <a:pt x="2790866" y="2487589"/>
                </a:cubicBezTo>
                <a:cubicBezTo>
                  <a:pt x="2790866" y="2451875"/>
                  <a:pt x="2819816" y="2422922"/>
                  <a:pt x="2855526" y="2422922"/>
                </a:cubicBezTo>
                <a:close/>
                <a:moveTo>
                  <a:pt x="2698968" y="2422922"/>
                </a:moveTo>
                <a:cubicBezTo>
                  <a:pt x="2734678" y="2422922"/>
                  <a:pt x="2763629" y="2451875"/>
                  <a:pt x="2763629" y="2487589"/>
                </a:cubicBezTo>
                <a:cubicBezTo>
                  <a:pt x="2763629" y="2523303"/>
                  <a:pt x="2734678" y="2552255"/>
                  <a:pt x="2698968" y="2552255"/>
                </a:cubicBezTo>
                <a:cubicBezTo>
                  <a:pt x="2663258" y="2552255"/>
                  <a:pt x="2634309" y="2523303"/>
                  <a:pt x="2634309" y="2487589"/>
                </a:cubicBezTo>
                <a:cubicBezTo>
                  <a:pt x="2634309" y="2451875"/>
                  <a:pt x="2663258" y="2422922"/>
                  <a:pt x="2698968" y="2422922"/>
                </a:cubicBezTo>
                <a:close/>
                <a:moveTo>
                  <a:pt x="2546324" y="2422922"/>
                </a:moveTo>
                <a:cubicBezTo>
                  <a:pt x="2582035" y="2422922"/>
                  <a:pt x="2610985" y="2451875"/>
                  <a:pt x="2610985" y="2487589"/>
                </a:cubicBezTo>
                <a:cubicBezTo>
                  <a:pt x="2610985" y="2523303"/>
                  <a:pt x="2582035" y="2552255"/>
                  <a:pt x="2546324" y="2552255"/>
                </a:cubicBezTo>
                <a:cubicBezTo>
                  <a:pt x="2510602" y="2552255"/>
                  <a:pt x="2481663" y="2523303"/>
                  <a:pt x="2481663" y="2487589"/>
                </a:cubicBezTo>
                <a:cubicBezTo>
                  <a:pt x="2481663" y="2451875"/>
                  <a:pt x="2510602" y="2422922"/>
                  <a:pt x="2546324" y="2422922"/>
                </a:cubicBezTo>
                <a:close/>
                <a:moveTo>
                  <a:pt x="2389740" y="2422922"/>
                </a:moveTo>
                <a:cubicBezTo>
                  <a:pt x="2425476" y="2422922"/>
                  <a:pt x="2454426" y="2451875"/>
                  <a:pt x="2454426" y="2487589"/>
                </a:cubicBezTo>
                <a:cubicBezTo>
                  <a:pt x="2454426" y="2523303"/>
                  <a:pt x="2425476" y="2552255"/>
                  <a:pt x="2389740" y="2552255"/>
                </a:cubicBezTo>
                <a:cubicBezTo>
                  <a:pt x="2354046" y="2552255"/>
                  <a:pt x="2325089" y="2523303"/>
                  <a:pt x="2325089" y="2487589"/>
                </a:cubicBezTo>
                <a:cubicBezTo>
                  <a:pt x="2325089" y="2451875"/>
                  <a:pt x="2354046" y="2422922"/>
                  <a:pt x="2389740" y="2422922"/>
                </a:cubicBezTo>
                <a:close/>
                <a:moveTo>
                  <a:pt x="2237079" y="2422922"/>
                </a:moveTo>
                <a:cubicBezTo>
                  <a:pt x="2272800" y="2422922"/>
                  <a:pt x="2301758" y="2451875"/>
                  <a:pt x="2301758" y="2487589"/>
                </a:cubicBezTo>
                <a:cubicBezTo>
                  <a:pt x="2301758" y="2523303"/>
                  <a:pt x="2272800" y="2552255"/>
                  <a:pt x="2237079" y="2552255"/>
                </a:cubicBezTo>
                <a:cubicBezTo>
                  <a:pt x="2201359" y="2552255"/>
                  <a:pt x="2172401" y="2523303"/>
                  <a:pt x="2172401" y="2487589"/>
                </a:cubicBezTo>
                <a:cubicBezTo>
                  <a:pt x="2172401" y="2451875"/>
                  <a:pt x="2201359" y="2422922"/>
                  <a:pt x="2237079" y="2422922"/>
                </a:cubicBezTo>
                <a:close/>
                <a:moveTo>
                  <a:pt x="2084402" y="2422922"/>
                </a:moveTo>
                <a:cubicBezTo>
                  <a:pt x="2120120" y="2422922"/>
                  <a:pt x="2149069" y="2451875"/>
                  <a:pt x="2149069" y="2487589"/>
                </a:cubicBezTo>
                <a:cubicBezTo>
                  <a:pt x="2149069" y="2523303"/>
                  <a:pt x="2120120" y="2552255"/>
                  <a:pt x="2084402" y="2552255"/>
                </a:cubicBezTo>
                <a:cubicBezTo>
                  <a:pt x="2048680" y="2552255"/>
                  <a:pt x="2019753" y="2523303"/>
                  <a:pt x="2019753" y="2487589"/>
                </a:cubicBezTo>
                <a:cubicBezTo>
                  <a:pt x="2019753" y="2451875"/>
                  <a:pt x="2048680" y="2422922"/>
                  <a:pt x="2084402" y="2422922"/>
                </a:cubicBezTo>
                <a:close/>
                <a:moveTo>
                  <a:pt x="1927830" y="2422922"/>
                </a:moveTo>
                <a:cubicBezTo>
                  <a:pt x="1963544" y="2422922"/>
                  <a:pt x="1992505" y="2451875"/>
                  <a:pt x="1992505" y="2487589"/>
                </a:cubicBezTo>
                <a:cubicBezTo>
                  <a:pt x="1992505" y="2523303"/>
                  <a:pt x="1963544" y="2552255"/>
                  <a:pt x="1927830" y="2552255"/>
                </a:cubicBezTo>
                <a:cubicBezTo>
                  <a:pt x="1892129" y="2552255"/>
                  <a:pt x="1863179" y="2523303"/>
                  <a:pt x="1863179" y="2487589"/>
                </a:cubicBezTo>
                <a:cubicBezTo>
                  <a:pt x="1863179" y="2451875"/>
                  <a:pt x="1892129" y="2422922"/>
                  <a:pt x="1927830" y="2422922"/>
                </a:cubicBezTo>
                <a:close/>
                <a:moveTo>
                  <a:pt x="1775172" y="2422922"/>
                </a:moveTo>
                <a:cubicBezTo>
                  <a:pt x="1810880" y="2422922"/>
                  <a:pt x="1839851" y="2451875"/>
                  <a:pt x="1839851" y="2487589"/>
                </a:cubicBezTo>
                <a:cubicBezTo>
                  <a:pt x="1839851" y="2523303"/>
                  <a:pt x="1810880" y="2552255"/>
                  <a:pt x="1775172" y="2552255"/>
                </a:cubicBezTo>
                <a:cubicBezTo>
                  <a:pt x="1739456" y="2552255"/>
                  <a:pt x="1710504" y="2523303"/>
                  <a:pt x="1710504" y="2487589"/>
                </a:cubicBezTo>
                <a:cubicBezTo>
                  <a:pt x="1710504" y="2451875"/>
                  <a:pt x="1739456" y="2422922"/>
                  <a:pt x="1775172" y="2422922"/>
                </a:cubicBezTo>
                <a:close/>
                <a:moveTo>
                  <a:pt x="1618593" y="2422922"/>
                </a:moveTo>
                <a:cubicBezTo>
                  <a:pt x="1654311" y="2422922"/>
                  <a:pt x="1683262" y="2451875"/>
                  <a:pt x="1683262" y="2487589"/>
                </a:cubicBezTo>
                <a:cubicBezTo>
                  <a:pt x="1683262" y="2523303"/>
                  <a:pt x="1654311" y="2552255"/>
                  <a:pt x="1618593" y="2552255"/>
                </a:cubicBezTo>
                <a:cubicBezTo>
                  <a:pt x="1582881" y="2552255"/>
                  <a:pt x="1553929" y="2523303"/>
                  <a:pt x="1553929" y="2487589"/>
                </a:cubicBezTo>
                <a:cubicBezTo>
                  <a:pt x="1553929" y="2451875"/>
                  <a:pt x="1582881" y="2422922"/>
                  <a:pt x="1618593" y="2422922"/>
                </a:cubicBezTo>
                <a:close/>
                <a:moveTo>
                  <a:pt x="1465935" y="2422922"/>
                </a:moveTo>
                <a:cubicBezTo>
                  <a:pt x="1501649" y="2422922"/>
                  <a:pt x="1530601" y="2451875"/>
                  <a:pt x="1530601" y="2487589"/>
                </a:cubicBezTo>
                <a:cubicBezTo>
                  <a:pt x="1530601" y="2523303"/>
                  <a:pt x="1501649" y="2552255"/>
                  <a:pt x="1465935" y="2552255"/>
                </a:cubicBezTo>
                <a:cubicBezTo>
                  <a:pt x="1430221" y="2552255"/>
                  <a:pt x="1401271" y="2523303"/>
                  <a:pt x="1401271" y="2487589"/>
                </a:cubicBezTo>
                <a:cubicBezTo>
                  <a:pt x="1401271" y="2451875"/>
                  <a:pt x="1430221" y="2422922"/>
                  <a:pt x="1465935" y="2422922"/>
                </a:cubicBezTo>
                <a:close/>
                <a:moveTo>
                  <a:pt x="1465941" y="2278094"/>
                </a:moveTo>
                <a:cubicBezTo>
                  <a:pt x="1501654" y="2278094"/>
                  <a:pt x="1530607" y="2307046"/>
                  <a:pt x="1530607" y="2342760"/>
                </a:cubicBezTo>
                <a:cubicBezTo>
                  <a:pt x="1530607" y="2378474"/>
                  <a:pt x="1501654" y="2407426"/>
                  <a:pt x="1465941" y="2407426"/>
                </a:cubicBezTo>
                <a:cubicBezTo>
                  <a:pt x="1430228" y="2407426"/>
                  <a:pt x="1401277" y="2378474"/>
                  <a:pt x="1401277" y="2342760"/>
                </a:cubicBezTo>
                <a:cubicBezTo>
                  <a:pt x="1401277" y="2307046"/>
                  <a:pt x="1430228" y="2278094"/>
                  <a:pt x="1465941" y="2278094"/>
                </a:cubicBezTo>
                <a:close/>
                <a:moveTo>
                  <a:pt x="2084411" y="2278092"/>
                </a:moveTo>
                <a:cubicBezTo>
                  <a:pt x="2120125" y="2278092"/>
                  <a:pt x="2149075" y="2307044"/>
                  <a:pt x="2149075" y="2342758"/>
                </a:cubicBezTo>
                <a:cubicBezTo>
                  <a:pt x="2149075" y="2378472"/>
                  <a:pt x="2120125" y="2407425"/>
                  <a:pt x="2084411" y="2407425"/>
                </a:cubicBezTo>
                <a:cubicBezTo>
                  <a:pt x="2048687" y="2407425"/>
                  <a:pt x="2019760" y="2378472"/>
                  <a:pt x="2019760" y="2342758"/>
                </a:cubicBezTo>
                <a:cubicBezTo>
                  <a:pt x="2019760" y="2307044"/>
                  <a:pt x="2048687" y="2278092"/>
                  <a:pt x="2084411" y="2278092"/>
                </a:cubicBezTo>
                <a:close/>
                <a:moveTo>
                  <a:pt x="1927830" y="2278092"/>
                </a:moveTo>
                <a:cubicBezTo>
                  <a:pt x="1963544" y="2278092"/>
                  <a:pt x="1992511" y="2307044"/>
                  <a:pt x="1992511" y="2342758"/>
                </a:cubicBezTo>
                <a:cubicBezTo>
                  <a:pt x="1992511" y="2378472"/>
                  <a:pt x="1963544" y="2407425"/>
                  <a:pt x="1927830" y="2407425"/>
                </a:cubicBezTo>
                <a:cubicBezTo>
                  <a:pt x="1892137" y="2407425"/>
                  <a:pt x="1863187" y="2378472"/>
                  <a:pt x="1863187" y="2342758"/>
                </a:cubicBezTo>
                <a:cubicBezTo>
                  <a:pt x="1863187" y="2307044"/>
                  <a:pt x="1892137" y="2278092"/>
                  <a:pt x="1927830" y="2278092"/>
                </a:cubicBezTo>
                <a:close/>
                <a:moveTo>
                  <a:pt x="1775179" y="2278092"/>
                </a:moveTo>
                <a:cubicBezTo>
                  <a:pt x="1810886" y="2278092"/>
                  <a:pt x="1839858" y="2307044"/>
                  <a:pt x="1839858" y="2342758"/>
                </a:cubicBezTo>
                <a:cubicBezTo>
                  <a:pt x="1839858" y="2378472"/>
                  <a:pt x="1810886" y="2407425"/>
                  <a:pt x="1775179" y="2407425"/>
                </a:cubicBezTo>
                <a:cubicBezTo>
                  <a:pt x="1739462" y="2407425"/>
                  <a:pt x="1710510" y="2378472"/>
                  <a:pt x="1710510" y="2342758"/>
                </a:cubicBezTo>
                <a:cubicBezTo>
                  <a:pt x="1710510" y="2307044"/>
                  <a:pt x="1739462" y="2278092"/>
                  <a:pt x="1775179" y="2278092"/>
                </a:cubicBezTo>
                <a:close/>
                <a:moveTo>
                  <a:pt x="1618599" y="2278092"/>
                </a:moveTo>
                <a:cubicBezTo>
                  <a:pt x="1654318" y="2278092"/>
                  <a:pt x="1683268" y="2307044"/>
                  <a:pt x="1683268" y="2342758"/>
                </a:cubicBezTo>
                <a:cubicBezTo>
                  <a:pt x="1683268" y="2378472"/>
                  <a:pt x="1654318" y="2407425"/>
                  <a:pt x="1618599" y="2407425"/>
                </a:cubicBezTo>
                <a:cubicBezTo>
                  <a:pt x="1582887" y="2407425"/>
                  <a:pt x="1553936" y="2378472"/>
                  <a:pt x="1553936" y="2342758"/>
                </a:cubicBezTo>
                <a:cubicBezTo>
                  <a:pt x="1553936" y="2307044"/>
                  <a:pt x="1582887" y="2278092"/>
                  <a:pt x="1618599" y="2278092"/>
                </a:cubicBezTo>
                <a:close/>
                <a:moveTo>
                  <a:pt x="10003016" y="2278090"/>
                </a:moveTo>
                <a:cubicBezTo>
                  <a:pt x="10038730" y="2278090"/>
                  <a:pt x="10067682" y="2307043"/>
                  <a:pt x="10067682" y="2342756"/>
                </a:cubicBezTo>
                <a:cubicBezTo>
                  <a:pt x="10067682" y="2378470"/>
                  <a:pt x="10038730" y="2407423"/>
                  <a:pt x="10003016" y="2407423"/>
                </a:cubicBezTo>
                <a:cubicBezTo>
                  <a:pt x="9967302" y="2407423"/>
                  <a:pt x="9938350" y="2378470"/>
                  <a:pt x="9938350" y="2342756"/>
                </a:cubicBezTo>
                <a:cubicBezTo>
                  <a:pt x="9938350" y="2307043"/>
                  <a:pt x="9967302" y="2278090"/>
                  <a:pt x="10003016" y="2278090"/>
                </a:cubicBezTo>
                <a:close/>
                <a:moveTo>
                  <a:pt x="9693783" y="2278090"/>
                </a:moveTo>
                <a:cubicBezTo>
                  <a:pt x="9729497" y="2278090"/>
                  <a:pt x="9758449" y="2307043"/>
                  <a:pt x="9758449" y="2342756"/>
                </a:cubicBezTo>
                <a:cubicBezTo>
                  <a:pt x="9758449" y="2378470"/>
                  <a:pt x="9729497" y="2407423"/>
                  <a:pt x="9693783" y="2407423"/>
                </a:cubicBezTo>
                <a:cubicBezTo>
                  <a:pt x="9658069" y="2407423"/>
                  <a:pt x="9629117" y="2378470"/>
                  <a:pt x="9629117" y="2342756"/>
                </a:cubicBezTo>
                <a:cubicBezTo>
                  <a:pt x="9629117" y="2307043"/>
                  <a:pt x="9658069" y="2278090"/>
                  <a:pt x="9693783" y="2278090"/>
                </a:cubicBezTo>
                <a:close/>
                <a:moveTo>
                  <a:pt x="9541123" y="2278090"/>
                </a:moveTo>
                <a:cubicBezTo>
                  <a:pt x="9576837" y="2278090"/>
                  <a:pt x="9605789" y="2307043"/>
                  <a:pt x="9605789" y="2342756"/>
                </a:cubicBezTo>
                <a:cubicBezTo>
                  <a:pt x="9605789" y="2378470"/>
                  <a:pt x="9576837" y="2407423"/>
                  <a:pt x="9541123" y="2407423"/>
                </a:cubicBezTo>
                <a:cubicBezTo>
                  <a:pt x="9505409" y="2407423"/>
                  <a:pt x="9476457" y="2378470"/>
                  <a:pt x="9476457" y="2342756"/>
                </a:cubicBezTo>
                <a:cubicBezTo>
                  <a:pt x="9476457" y="2307043"/>
                  <a:pt x="9505409" y="2278090"/>
                  <a:pt x="9541123" y="2278090"/>
                </a:cubicBezTo>
                <a:close/>
                <a:moveTo>
                  <a:pt x="9384550" y="2278090"/>
                </a:moveTo>
                <a:cubicBezTo>
                  <a:pt x="9420264" y="2278090"/>
                  <a:pt x="9449216" y="2307043"/>
                  <a:pt x="9449216" y="2342756"/>
                </a:cubicBezTo>
                <a:cubicBezTo>
                  <a:pt x="9449216" y="2378470"/>
                  <a:pt x="9420264" y="2407423"/>
                  <a:pt x="9384550" y="2407423"/>
                </a:cubicBezTo>
                <a:cubicBezTo>
                  <a:pt x="9348836" y="2407423"/>
                  <a:pt x="9319884" y="2378470"/>
                  <a:pt x="9319884" y="2342756"/>
                </a:cubicBezTo>
                <a:cubicBezTo>
                  <a:pt x="9319884" y="2307043"/>
                  <a:pt x="9348836" y="2278090"/>
                  <a:pt x="9384550" y="2278090"/>
                </a:cubicBezTo>
                <a:close/>
                <a:moveTo>
                  <a:pt x="9227977" y="2278090"/>
                </a:moveTo>
                <a:cubicBezTo>
                  <a:pt x="9263691" y="2278090"/>
                  <a:pt x="9292643" y="2307043"/>
                  <a:pt x="9292643" y="2342756"/>
                </a:cubicBezTo>
                <a:cubicBezTo>
                  <a:pt x="9292643" y="2378470"/>
                  <a:pt x="9263691" y="2407423"/>
                  <a:pt x="9227977" y="2407423"/>
                </a:cubicBezTo>
                <a:cubicBezTo>
                  <a:pt x="9192263" y="2407423"/>
                  <a:pt x="9163311" y="2378470"/>
                  <a:pt x="9163311" y="2342756"/>
                </a:cubicBezTo>
                <a:cubicBezTo>
                  <a:pt x="9163311" y="2307043"/>
                  <a:pt x="9192263" y="2278090"/>
                  <a:pt x="9227977" y="2278090"/>
                </a:cubicBezTo>
                <a:close/>
                <a:moveTo>
                  <a:pt x="9075319" y="2278090"/>
                </a:moveTo>
                <a:cubicBezTo>
                  <a:pt x="9111033" y="2278090"/>
                  <a:pt x="9139985" y="2307043"/>
                  <a:pt x="9139985" y="2342756"/>
                </a:cubicBezTo>
                <a:cubicBezTo>
                  <a:pt x="9139985" y="2378470"/>
                  <a:pt x="9111033" y="2407423"/>
                  <a:pt x="9075319" y="2407423"/>
                </a:cubicBezTo>
                <a:cubicBezTo>
                  <a:pt x="9039605" y="2407423"/>
                  <a:pt x="9010653" y="2378470"/>
                  <a:pt x="9010653" y="2342756"/>
                </a:cubicBezTo>
                <a:cubicBezTo>
                  <a:pt x="9010653" y="2307043"/>
                  <a:pt x="9039605" y="2278090"/>
                  <a:pt x="9075319" y="2278090"/>
                </a:cubicBezTo>
                <a:close/>
                <a:moveTo>
                  <a:pt x="8914831" y="2278090"/>
                </a:moveTo>
                <a:cubicBezTo>
                  <a:pt x="8950545" y="2278090"/>
                  <a:pt x="8979497" y="2307043"/>
                  <a:pt x="8979497" y="2342756"/>
                </a:cubicBezTo>
                <a:cubicBezTo>
                  <a:pt x="8979497" y="2378470"/>
                  <a:pt x="8950545" y="2407423"/>
                  <a:pt x="8914831" y="2407423"/>
                </a:cubicBezTo>
                <a:cubicBezTo>
                  <a:pt x="8879117" y="2407423"/>
                  <a:pt x="8850165" y="2378470"/>
                  <a:pt x="8850165" y="2342756"/>
                </a:cubicBezTo>
                <a:cubicBezTo>
                  <a:pt x="8850165" y="2307043"/>
                  <a:pt x="8879117" y="2278090"/>
                  <a:pt x="8914831" y="2278090"/>
                </a:cubicBezTo>
                <a:close/>
                <a:moveTo>
                  <a:pt x="8766086" y="2278090"/>
                </a:moveTo>
                <a:cubicBezTo>
                  <a:pt x="8801800" y="2278090"/>
                  <a:pt x="8830752" y="2307043"/>
                  <a:pt x="8830752" y="2342756"/>
                </a:cubicBezTo>
                <a:cubicBezTo>
                  <a:pt x="8830752" y="2378470"/>
                  <a:pt x="8801800" y="2407423"/>
                  <a:pt x="8766086" y="2407423"/>
                </a:cubicBezTo>
                <a:cubicBezTo>
                  <a:pt x="8730372" y="2407423"/>
                  <a:pt x="8701420" y="2378470"/>
                  <a:pt x="8701420" y="2342756"/>
                </a:cubicBezTo>
                <a:cubicBezTo>
                  <a:pt x="8701420" y="2307043"/>
                  <a:pt x="8730372" y="2278090"/>
                  <a:pt x="8766086" y="2278090"/>
                </a:cubicBezTo>
                <a:close/>
                <a:moveTo>
                  <a:pt x="8601685" y="2278090"/>
                </a:moveTo>
                <a:cubicBezTo>
                  <a:pt x="8637399" y="2278090"/>
                  <a:pt x="8666351" y="2307043"/>
                  <a:pt x="8666351" y="2342756"/>
                </a:cubicBezTo>
                <a:cubicBezTo>
                  <a:pt x="8666351" y="2378470"/>
                  <a:pt x="8637399" y="2407423"/>
                  <a:pt x="8601685" y="2407423"/>
                </a:cubicBezTo>
                <a:cubicBezTo>
                  <a:pt x="8565971" y="2407423"/>
                  <a:pt x="8537019" y="2378470"/>
                  <a:pt x="8537019" y="2342756"/>
                </a:cubicBezTo>
                <a:cubicBezTo>
                  <a:pt x="8537019" y="2307043"/>
                  <a:pt x="8565971" y="2278090"/>
                  <a:pt x="8601685" y="2278090"/>
                </a:cubicBezTo>
                <a:close/>
                <a:moveTo>
                  <a:pt x="8449025" y="2278090"/>
                </a:moveTo>
                <a:cubicBezTo>
                  <a:pt x="8484739" y="2278090"/>
                  <a:pt x="8513691" y="2307043"/>
                  <a:pt x="8513691" y="2342756"/>
                </a:cubicBezTo>
                <a:cubicBezTo>
                  <a:pt x="8513691" y="2378470"/>
                  <a:pt x="8484739" y="2407423"/>
                  <a:pt x="8449025" y="2407423"/>
                </a:cubicBezTo>
                <a:cubicBezTo>
                  <a:pt x="8413311" y="2407423"/>
                  <a:pt x="8384359" y="2378470"/>
                  <a:pt x="8384359" y="2342756"/>
                </a:cubicBezTo>
                <a:cubicBezTo>
                  <a:pt x="8384359" y="2307043"/>
                  <a:pt x="8413311" y="2278090"/>
                  <a:pt x="8449025" y="2278090"/>
                </a:cubicBezTo>
                <a:close/>
                <a:moveTo>
                  <a:pt x="8296368" y="2278090"/>
                </a:moveTo>
                <a:cubicBezTo>
                  <a:pt x="8332082" y="2278090"/>
                  <a:pt x="8361034" y="2307043"/>
                  <a:pt x="8361034" y="2342756"/>
                </a:cubicBezTo>
                <a:cubicBezTo>
                  <a:pt x="8361034" y="2378470"/>
                  <a:pt x="8332082" y="2407423"/>
                  <a:pt x="8296368" y="2407423"/>
                </a:cubicBezTo>
                <a:cubicBezTo>
                  <a:pt x="8260654" y="2407423"/>
                  <a:pt x="8231702" y="2378470"/>
                  <a:pt x="8231702" y="2342756"/>
                </a:cubicBezTo>
                <a:cubicBezTo>
                  <a:pt x="8231702" y="2307043"/>
                  <a:pt x="8260654" y="2278090"/>
                  <a:pt x="8296368" y="2278090"/>
                </a:cubicBezTo>
                <a:close/>
                <a:moveTo>
                  <a:pt x="8139793" y="2278090"/>
                </a:moveTo>
                <a:cubicBezTo>
                  <a:pt x="8175507" y="2278090"/>
                  <a:pt x="8204459" y="2307043"/>
                  <a:pt x="8204459" y="2342756"/>
                </a:cubicBezTo>
                <a:cubicBezTo>
                  <a:pt x="8204459" y="2378470"/>
                  <a:pt x="8175507" y="2407423"/>
                  <a:pt x="8139793" y="2407423"/>
                </a:cubicBezTo>
                <a:cubicBezTo>
                  <a:pt x="8104079" y="2407423"/>
                  <a:pt x="8075127" y="2378470"/>
                  <a:pt x="8075127" y="2342756"/>
                </a:cubicBezTo>
                <a:cubicBezTo>
                  <a:pt x="8075127" y="2307043"/>
                  <a:pt x="8104079" y="2278090"/>
                  <a:pt x="8139793" y="2278090"/>
                </a:cubicBezTo>
                <a:close/>
                <a:moveTo>
                  <a:pt x="7987133" y="2278090"/>
                </a:moveTo>
                <a:cubicBezTo>
                  <a:pt x="8022847" y="2278090"/>
                  <a:pt x="8051799" y="2307043"/>
                  <a:pt x="8051799" y="2342756"/>
                </a:cubicBezTo>
                <a:cubicBezTo>
                  <a:pt x="8051799" y="2378470"/>
                  <a:pt x="8022847" y="2407423"/>
                  <a:pt x="7987133" y="2407423"/>
                </a:cubicBezTo>
                <a:cubicBezTo>
                  <a:pt x="7951419" y="2407423"/>
                  <a:pt x="7922467" y="2378470"/>
                  <a:pt x="7922467" y="2342756"/>
                </a:cubicBezTo>
                <a:cubicBezTo>
                  <a:pt x="7922467" y="2307043"/>
                  <a:pt x="7951419" y="2278090"/>
                  <a:pt x="7987133" y="2278090"/>
                </a:cubicBezTo>
                <a:close/>
                <a:moveTo>
                  <a:pt x="7830562" y="2278090"/>
                </a:moveTo>
                <a:cubicBezTo>
                  <a:pt x="7866276" y="2278090"/>
                  <a:pt x="7895228" y="2307043"/>
                  <a:pt x="7895228" y="2342756"/>
                </a:cubicBezTo>
                <a:cubicBezTo>
                  <a:pt x="7895228" y="2378470"/>
                  <a:pt x="7866276" y="2407423"/>
                  <a:pt x="7830562" y="2407423"/>
                </a:cubicBezTo>
                <a:cubicBezTo>
                  <a:pt x="7794848" y="2407423"/>
                  <a:pt x="7765896" y="2378470"/>
                  <a:pt x="7765896" y="2342756"/>
                </a:cubicBezTo>
                <a:cubicBezTo>
                  <a:pt x="7765896" y="2307043"/>
                  <a:pt x="7794848" y="2278090"/>
                  <a:pt x="7830562" y="2278090"/>
                </a:cubicBezTo>
                <a:close/>
                <a:moveTo>
                  <a:pt x="7677904" y="2278090"/>
                </a:moveTo>
                <a:cubicBezTo>
                  <a:pt x="7713618" y="2278090"/>
                  <a:pt x="7742570" y="2307043"/>
                  <a:pt x="7742570" y="2342756"/>
                </a:cubicBezTo>
                <a:cubicBezTo>
                  <a:pt x="7742570" y="2378470"/>
                  <a:pt x="7713618" y="2407423"/>
                  <a:pt x="7677904" y="2407423"/>
                </a:cubicBezTo>
                <a:cubicBezTo>
                  <a:pt x="7642190" y="2407423"/>
                  <a:pt x="7613238" y="2378470"/>
                  <a:pt x="7613238" y="2342756"/>
                </a:cubicBezTo>
                <a:cubicBezTo>
                  <a:pt x="7613238" y="2307043"/>
                  <a:pt x="7642190" y="2278090"/>
                  <a:pt x="7677904" y="2278090"/>
                </a:cubicBezTo>
                <a:close/>
                <a:moveTo>
                  <a:pt x="7521331" y="2278090"/>
                </a:moveTo>
                <a:cubicBezTo>
                  <a:pt x="7557045" y="2278090"/>
                  <a:pt x="7585997" y="2307043"/>
                  <a:pt x="7585997" y="2342756"/>
                </a:cubicBezTo>
                <a:cubicBezTo>
                  <a:pt x="7585997" y="2378470"/>
                  <a:pt x="7557045" y="2407423"/>
                  <a:pt x="7521331" y="2407423"/>
                </a:cubicBezTo>
                <a:cubicBezTo>
                  <a:pt x="7485617" y="2407423"/>
                  <a:pt x="7456665" y="2378470"/>
                  <a:pt x="7456665" y="2342756"/>
                </a:cubicBezTo>
                <a:cubicBezTo>
                  <a:pt x="7456665" y="2307043"/>
                  <a:pt x="7485617" y="2278090"/>
                  <a:pt x="7521331" y="2278090"/>
                </a:cubicBezTo>
                <a:close/>
                <a:moveTo>
                  <a:pt x="7368671" y="2278090"/>
                </a:moveTo>
                <a:cubicBezTo>
                  <a:pt x="7404385" y="2278090"/>
                  <a:pt x="7433337" y="2307043"/>
                  <a:pt x="7433337" y="2342756"/>
                </a:cubicBezTo>
                <a:cubicBezTo>
                  <a:pt x="7433337" y="2378470"/>
                  <a:pt x="7404385" y="2407423"/>
                  <a:pt x="7368671" y="2407423"/>
                </a:cubicBezTo>
                <a:cubicBezTo>
                  <a:pt x="7332957" y="2407423"/>
                  <a:pt x="7304005" y="2378470"/>
                  <a:pt x="7304005" y="2342756"/>
                </a:cubicBezTo>
                <a:cubicBezTo>
                  <a:pt x="7304005" y="2307043"/>
                  <a:pt x="7332957" y="2278090"/>
                  <a:pt x="7368671" y="2278090"/>
                </a:cubicBezTo>
                <a:close/>
                <a:moveTo>
                  <a:pt x="7055523" y="2278090"/>
                </a:moveTo>
                <a:cubicBezTo>
                  <a:pt x="7091237" y="2278090"/>
                  <a:pt x="7120189" y="2307043"/>
                  <a:pt x="7120189" y="2342756"/>
                </a:cubicBezTo>
                <a:cubicBezTo>
                  <a:pt x="7120189" y="2378470"/>
                  <a:pt x="7091237" y="2407423"/>
                  <a:pt x="7055523" y="2407423"/>
                </a:cubicBezTo>
                <a:cubicBezTo>
                  <a:pt x="7019809" y="2407423"/>
                  <a:pt x="6990857" y="2378470"/>
                  <a:pt x="6990857" y="2342756"/>
                </a:cubicBezTo>
                <a:cubicBezTo>
                  <a:pt x="6990857" y="2307043"/>
                  <a:pt x="7019809" y="2278090"/>
                  <a:pt x="7055523" y="2278090"/>
                </a:cubicBezTo>
                <a:close/>
                <a:moveTo>
                  <a:pt x="6895037" y="2278090"/>
                </a:moveTo>
                <a:cubicBezTo>
                  <a:pt x="6930751" y="2278090"/>
                  <a:pt x="6959703" y="2307043"/>
                  <a:pt x="6959703" y="2342756"/>
                </a:cubicBezTo>
                <a:cubicBezTo>
                  <a:pt x="6959703" y="2378470"/>
                  <a:pt x="6930751" y="2407423"/>
                  <a:pt x="6895037" y="2407423"/>
                </a:cubicBezTo>
                <a:cubicBezTo>
                  <a:pt x="6859323" y="2407423"/>
                  <a:pt x="6830371" y="2378470"/>
                  <a:pt x="6830371" y="2342756"/>
                </a:cubicBezTo>
                <a:cubicBezTo>
                  <a:pt x="6830371" y="2307043"/>
                  <a:pt x="6859323" y="2278090"/>
                  <a:pt x="6895037" y="2278090"/>
                </a:cubicBezTo>
                <a:close/>
                <a:moveTo>
                  <a:pt x="6742377" y="2278090"/>
                </a:moveTo>
                <a:cubicBezTo>
                  <a:pt x="6778091" y="2278090"/>
                  <a:pt x="6807043" y="2307043"/>
                  <a:pt x="6807043" y="2342756"/>
                </a:cubicBezTo>
                <a:cubicBezTo>
                  <a:pt x="6807043" y="2378470"/>
                  <a:pt x="6778091" y="2407423"/>
                  <a:pt x="6742377" y="2407423"/>
                </a:cubicBezTo>
                <a:cubicBezTo>
                  <a:pt x="6706663" y="2407423"/>
                  <a:pt x="6677711" y="2378470"/>
                  <a:pt x="6677711" y="2342756"/>
                </a:cubicBezTo>
                <a:cubicBezTo>
                  <a:pt x="6677711" y="2307043"/>
                  <a:pt x="6706663" y="2278090"/>
                  <a:pt x="6742377" y="2278090"/>
                </a:cubicBezTo>
                <a:close/>
                <a:moveTo>
                  <a:pt x="6585804" y="2278090"/>
                </a:moveTo>
                <a:cubicBezTo>
                  <a:pt x="6621518" y="2278090"/>
                  <a:pt x="6650470" y="2307043"/>
                  <a:pt x="6650470" y="2342756"/>
                </a:cubicBezTo>
                <a:cubicBezTo>
                  <a:pt x="6650470" y="2378470"/>
                  <a:pt x="6621518" y="2407423"/>
                  <a:pt x="6585804" y="2407423"/>
                </a:cubicBezTo>
                <a:cubicBezTo>
                  <a:pt x="6550090" y="2407423"/>
                  <a:pt x="6521138" y="2378470"/>
                  <a:pt x="6521138" y="2342756"/>
                </a:cubicBezTo>
                <a:cubicBezTo>
                  <a:pt x="6521138" y="2307043"/>
                  <a:pt x="6550090" y="2278090"/>
                  <a:pt x="6585804" y="2278090"/>
                </a:cubicBezTo>
                <a:close/>
                <a:moveTo>
                  <a:pt x="6429231" y="2278090"/>
                </a:moveTo>
                <a:cubicBezTo>
                  <a:pt x="6464945" y="2278090"/>
                  <a:pt x="6493897" y="2307043"/>
                  <a:pt x="6493897" y="2342756"/>
                </a:cubicBezTo>
                <a:cubicBezTo>
                  <a:pt x="6493897" y="2378470"/>
                  <a:pt x="6464945" y="2407423"/>
                  <a:pt x="6429231" y="2407423"/>
                </a:cubicBezTo>
                <a:cubicBezTo>
                  <a:pt x="6393517" y="2407423"/>
                  <a:pt x="6364565" y="2378470"/>
                  <a:pt x="6364565" y="2342756"/>
                </a:cubicBezTo>
                <a:cubicBezTo>
                  <a:pt x="6364565" y="2307043"/>
                  <a:pt x="6393517" y="2278090"/>
                  <a:pt x="6429231" y="2278090"/>
                </a:cubicBezTo>
                <a:close/>
                <a:moveTo>
                  <a:pt x="6276571" y="2278090"/>
                </a:moveTo>
                <a:cubicBezTo>
                  <a:pt x="6312285" y="2278090"/>
                  <a:pt x="6341237" y="2307043"/>
                  <a:pt x="6341237" y="2342756"/>
                </a:cubicBezTo>
                <a:cubicBezTo>
                  <a:pt x="6341237" y="2378470"/>
                  <a:pt x="6312285" y="2407423"/>
                  <a:pt x="6276571" y="2407423"/>
                </a:cubicBezTo>
                <a:cubicBezTo>
                  <a:pt x="6240857" y="2407423"/>
                  <a:pt x="6211905" y="2378470"/>
                  <a:pt x="6211905" y="2342756"/>
                </a:cubicBezTo>
                <a:cubicBezTo>
                  <a:pt x="6211905" y="2307043"/>
                  <a:pt x="6240857" y="2278090"/>
                  <a:pt x="6276571" y="2278090"/>
                </a:cubicBezTo>
                <a:close/>
                <a:moveTo>
                  <a:pt x="6119999" y="2278090"/>
                </a:moveTo>
                <a:cubicBezTo>
                  <a:pt x="6155713" y="2278090"/>
                  <a:pt x="6184665" y="2307043"/>
                  <a:pt x="6184665" y="2342756"/>
                </a:cubicBezTo>
                <a:cubicBezTo>
                  <a:pt x="6184665" y="2378470"/>
                  <a:pt x="6155713" y="2407423"/>
                  <a:pt x="6119999" y="2407423"/>
                </a:cubicBezTo>
                <a:cubicBezTo>
                  <a:pt x="6084285" y="2407423"/>
                  <a:pt x="6055333" y="2378470"/>
                  <a:pt x="6055333" y="2342756"/>
                </a:cubicBezTo>
                <a:cubicBezTo>
                  <a:pt x="6055333" y="2307043"/>
                  <a:pt x="6084285" y="2278090"/>
                  <a:pt x="6119999" y="2278090"/>
                </a:cubicBezTo>
                <a:close/>
                <a:moveTo>
                  <a:pt x="5967339" y="2278090"/>
                </a:moveTo>
                <a:cubicBezTo>
                  <a:pt x="6003053" y="2278090"/>
                  <a:pt x="6032005" y="2307043"/>
                  <a:pt x="6032005" y="2342756"/>
                </a:cubicBezTo>
                <a:cubicBezTo>
                  <a:pt x="6032005" y="2378470"/>
                  <a:pt x="6003053" y="2407423"/>
                  <a:pt x="5967339" y="2407423"/>
                </a:cubicBezTo>
                <a:cubicBezTo>
                  <a:pt x="5931625" y="2407423"/>
                  <a:pt x="5902673" y="2378470"/>
                  <a:pt x="5902673" y="2342756"/>
                </a:cubicBezTo>
                <a:cubicBezTo>
                  <a:pt x="5902673" y="2307043"/>
                  <a:pt x="5931625" y="2278090"/>
                  <a:pt x="5967339" y="2278090"/>
                </a:cubicBezTo>
                <a:close/>
                <a:moveTo>
                  <a:pt x="5501540" y="2278090"/>
                </a:moveTo>
                <a:cubicBezTo>
                  <a:pt x="5537254" y="2278090"/>
                  <a:pt x="5566203" y="2307043"/>
                  <a:pt x="5566203" y="2342756"/>
                </a:cubicBezTo>
                <a:cubicBezTo>
                  <a:pt x="5566203" y="2378470"/>
                  <a:pt x="5537254" y="2407423"/>
                  <a:pt x="5501540" y="2407423"/>
                </a:cubicBezTo>
                <a:cubicBezTo>
                  <a:pt x="5465826" y="2407423"/>
                  <a:pt x="5436881" y="2378470"/>
                  <a:pt x="5436881" y="2342756"/>
                </a:cubicBezTo>
                <a:cubicBezTo>
                  <a:pt x="5436881" y="2307043"/>
                  <a:pt x="5465826" y="2278090"/>
                  <a:pt x="5501540" y="2278090"/>
                </a:cubicBezTo>
                <a:close/>
                <a:moveTo>
                  <a:pt x="5348888" y="2278090"/>
                </a:moveTo>
                <a:cubicBezTo>
                  <a:pt x="5384602" y="2278090"/>
                  <a:pt x="5413553" y="2307043"/>
                  <a:pt x="5413553" y="2342756"/>
                </a:cubicBezTo>
                <a:cubicBezTo>
                  <a:pt x="5413553" y="2378470"/>
                  <a:pt x="5384602" y="2407423"/>
                  <a:pt x="5348888" y="2407423"/>
                </a:cubicBezTo>
                <a:cubicBezTo>
                  <a:pt x="5313182" y="2407423"/>
                  <a:pt x="5284227" y="2378470"/>
                  <a:pt x="5284227" y="2342756"/>
                </a:cubicBezTo>
                <a:cubicBezTo>
                  <a:pt x="5284227" y="2307043"/>
                  <a:pt x="5313182" y="2278090"/>
                  <a:pt x="5348888" y="2278090"/>
                </a:cubicBezTo>
                <a:close/>
                <a:moveTo>
                  <a:pt x="5192318" y="2278090"/>
                </a:moveTo>
                <a:cubicBezTo>
                  <a:pt x="5228037" y="2278090"/>
                  <a:pt x="5256980" y="2307043"/>
                  <a:pt x="5256980" y="2342756"/>
                </a:cubicBezTo>
                <a:cubicBezTo>
                  <a:pt x="5256980" y="2378470"/>
                  <a:pt x="5228037" y="2407423"/>
                  <a:pt x="5192318" y="2407423"/>
                </a:cubicBezTo>
                <a:cubicBezTo>
                  <a:pt x="5156609" y="2407423"/>
                  <a:pt x="5127652" y="2378470"/>
                  <a:pt x="5127652" y="2342756"/>
                </a:cubicBezTo>
                <a:cubicBezTo>
                  <a:pt x="5127652" y="2307043"/>
                  <a:pt x="5156609" y="2278090"/>
                  <a:pt x="5192318" y="2278090"/>
                </a:cubicBezTo>
                <a:close/>
                <a:moveTo>
                  <a:pt x="3172598" y="2278090"/>
                </a:moveTo>
                <a:cubicBezTo>
                  <a:pt x="3208318" y="2278090"/>
                  <a:pt x="3237268" y="2307043"/>
                  <a:pt x="3237268" y="2342756"/>
                </a:cubicBezTo>
                <a:cubicBezTo>
                  <a:pt x="3237268" y="2378470"/>
                  <a:pt x="3208318" y="2407423"/>
                  <a:pt x="3172598" y="2407423"/>
                </a:cubicBezTo>
                <a:cubicBezTo>
                  <a:pt x="3136878" y="2407423"/>
                  <a:pt x="3107920" y="2378470"/>
                  <a:pt x="3107920" y="2342756"/>
                </a:cubicBezTo>
                <a:cubicBezTo>
                  <a:pt x="3107920" y="2307043"/>
                  <a:pt x="3136878" y="2278090"/>
                  <a:pt x="3172598" y="2278090"/>
                </a:cubicBezTo>
                <a:close/>
                <a:moveTo>
                  <a:pt x="3012091" y="2278090"/>
                </a:moveTo>
                <a:cubicBezTo>
                  <a:pt x="3047802" y="2278090"/>
                  <a:pt x="3076760" y="2307043"/>
                  <a:pt x="3076760" y="2342756"/>
                </a:cubicBezTo>
                <a:cubicBezTo>
                  <a:pt x="3076760" y="2378470"/>
                  <a:pt x="3047802" y="2407423"/>
                  <a:pt x="3012091" y="2407423"/>
                </a:cubicBezTo>
                <a:cubicBezTo>
                  <a:pt x="2976381" y="2407423"/>
                  <a:pt x="2947431" y="2378470"/>
                  <a:pt x="2947431" y="2342756"/>
                </a:cubicBezTo>
                <a:cubicBezTo>
                  <a:pt x="2947431" y="2307043"/>
                  <a:pt x="2976381" y="2278090"/>
                  <a:pt x="3012091" y="2278090"/>
                </a:cubicBezTo>
                <a:close/>
                <a:moveTo>
                  <a:pt x="2855533" y="2278090"/>
                </a:moveTo>
                <a:cubicBezTo>
                  <a:pt x="2891243" y="2278090"/>
                  <a:pt x="2920192" y="2307043"/>
                  <a:pt x="2920192" y="2342756"/>
                </a:cubicBezTo>
                <a:cubicBezTo>
                  <a:pt x="2920192" y="2378470"/>
                  <a:pt x="2891243" y="2407423"/>
                  <a:pt x="2855533" y="2407423"/>
                </a:cubicBezTo>
                <a:cubicBezTo>
                  <a:pt x="2819822" y="2407423"/>
                  <a:pt x="2790873" y="2378470"/>
                  <a:pt x="2790873" y="2342756"/>
                </a:cubicBezTo>
                <a:cubicBezTo>
                  <a:pt x="2790873" y="2307043"/>
                  <a:pt x="2819822" y="2278090"/>
                  <a:pt x="2855533" y="2278090"/>
                </a:cubicBezTo>
                <a:close/>
                <a:moveTo>
                  <a:pt x="2698976" y="2278090"/>
                </a:moveTo>
                <a:cubicBezTo>
                  <a:pt x="2734686" y="2278090"/>
                  <a:pt x="2763635" y="2307043"/>
                  <a:pt x="2763635" y="2342756"/>
                </a:cubicBezTo>
                <a:cubicBezTo>
                  <a:pt x="2763635" y="2378470"/>
                  <a:pt x="2734686" y="2407423"/>
                  <a:pt x="2698976" y="2407423"/>
                </a:cubicBezTo>
                <a:cubicBezTo>
                  <a:pt x="2663266" y="2407423"/>
                  <a:pt x="2634317" y="2378470"/>
                  <a:pt x="2634317" y="2342756"/>
                </a:cubicBezTo>
                <a:cubicBezTo>
                  <a:pt x="2634317" y="2307043"/>
                  <a:pt x="2663266" y="2278090"/>
                  <a:pt x="2698976" y="2278090"/>
                </a:cubicBezTo>
                <a:close/>
                <a:moveTo>
                  <a:pt x="2546333" y="2278090"/>
                </a:moveTo>
                <a:cubicBezTo>
                  <a:pt x="2582041" y="2278090"/>
                  <a:pt x="2610993" y="2307043"/>
                  <a:pt x="2610993" y="2342756"/>
                </a:cubicBezTo>
                <a:cubicBezTo>
                  <a:pt x="2610993" y="2378470"/>
                  <a:pt x="2582041" y="2407423"/>
                  <a:pt x="2546333" y="2407423"/>
                </a:cubicBezTo>
                <a:cubicBezTo>
                  <a:pt x="2510612" y="2407423"/>
                  <a:pt x="2481673" y="2378470"/>
                  <a:pt x="2481673" y="2342756"/>
                </a:cubicBezTo>
                <a:cubicBezTo>
                  <a:pt x="2481673" y="2307043"/>
                  <a:pt x="2510612" y="2278090"/>
                  <a:pt x="2546333" y="2278090"/>
                </a:cubicBezTo>
                <a:close/>
                <a:moveTo>
                  <a:pt x="2389761" y="2278090"/>
                </a:moveTo>
                <a:cubicBezTo>
                  <a:pt x="2425486" y="2278090"/>
                  <a:pt x="2454433" y="2307043"/>
                  <a:pt x="2454433" y="2342756"/>
                </a:cubicBezTo>
                <a:cubicBezTo>
                  <a:pt x="2454433" y="2378470"/>
                  <a:pt x="2425486" y="2407423"/>
                  <a:pt x="2389761" y="2407423"/>
                </a:cubicBezTo>
                <a:cubicBezTo>
                  <a:pt x="2354056" y="2407423"/>
                  <a:pt x="2325098" y="2378470"/>
                  <a:pt x="2325098" y="2342756"/>
                </a:cubicBezTo>
                <a:cubicBezTo>
                  <a:pt x="2325098" y="2307043"/>
                  <a:pt x="2354056" y="2278090"/>
                  <a:pt x="2389761" y="2278090"/>
                </a:cubicBezTo>
                <a:close/>
                <a:moveTo>
                  <a:pt x="2237087" y="2278090"/>
                </a:moveTo>
                <a:cubicBezTo>
                  <a:pt x="2272808" y="2278090"/>
                  <a:pt x="2301766" y="2307043"/>
                  <a:pt x="2301766" y="2342756"/>
                </a:cubicBezTo>
                <a:cubicBezTo>
                  <a:pt x="2301766" y="2378470"/>
                  <a:pt x="2272808" y="2407423"/>
                  <a:pt x="2237087" y="2407423"/>
                </a:cubicBezTo>
                <a:cubicBezTo>
                  <a:pt x="2201366" y="2407423"/>
                  <a:pt x="2172408" y="2378470"/>
                  <a:pt x="2172408" y="2342756"/>
                </a:cubicBezTo>
                <a:cubicBezTo>
                  <a:pt x="2172408" y="2307043"/>
                  <a:pt x="2201366" y="2278090"/>
                  <a:pt x="2237087" y="2278090"/>
                </a:cubicBezTo>
                <a:close/>
                <a:moveTo>
                  <a:pt x="9850358" y="2137178"/>
                </a:moveTo>
                <a:cubicBezTo>
                  <a:pt x="9886072" y="2137178"/>
                  <a:pt x="9915024" y="2166130"/>
                  <a:pt x="9915024" y="2201844"/>
                </a:cubicBezTo>
                <a:cubicBezTo>
                  <a:pt x="9915024" y="2237558"/>
                  <a:pt x="9886072" y="2266510"/>
                  <a:pt x="9850358" y="2266510"/>
                </a:cubicBezTo>
                <a:cubicBezTo>
                  <a:pt x="9814644" y="2266510"/>
                  <a:pt x="9785692" y="2237558"/>
                  <a:pt x="9785692" y="2201844"/>
                </a:cubicBezTo>
                <a:cubicBezTo>
                  <a:pt x="9785692" y="2166130"/>
                  <a:pt x="9814644" y="2137178"/>
                  <a:pt x="9850358" y="2137178"/>
                </a:cubicBezTo>
                <a:close/>
                <a:moveTo>
                  <a:pt x="9693783" y="2137178"/>
                </a:moveTo>
                <a:cubicBezTo>
                  <a:pt x="9729497" y="2137178"/>
                  <a:pt x="9758449" y="2166130"/>
                  <a:pt x="9758449" y="2201844"/>
                </a:cubicBezTo>
                <a:cubicBezTo>
                  <a:pt x="9758449" y="2237558"/>
                  <a:pt x="9729497" y="2266510"/>
                  <a:pt x="9693783" y="2266510"/>
                </a:cubicBezTo>
                <a:cubicBezTo>
                  <a:pt x="9658069" y="2266510"/>
                  <a:pt x="9629117" y="2237558"/>
                  <a:pt x="9629117" y="2201844"/>
                </a:cubicBezTo>
                <a:cubicBezTo>
                  <a:pt x="9629117" y="2166130"/>
                  <a:pt x="9658069" y="2137178"/>
                  <a:pt x="9693783" y="2137178"/>
                </a:cubicBezTo>
                <a:close/>
                <a:moveTo>
                  <a:pt x="9541123" y="2137178"/>
                </a:moveTo>
                <a:cubicBezTo>
                  <a:pt x="9576837" y="2137178"/>
                  <a:pt x="9605789" y="2166130"/>
                  <a:pt x="9605789" y="2201844"/>
                </a:cubicBezTo>
                <a:cubicBezTo>
                  <a:pt x="9605789" y="2237558"/>
                  <a:pt x="9576837" y="2266510"/>
                  <a:pt x="9541123" y="2266510"/>
                </a:cubicBezTo>
                <a:cubicBezTo>
                  <a:pt x="9505409" y="2266510"/>
                  <a:pt x="9476457" y="2237558"/>
                  <a:pt x="9476457" y="2201844"/>
                </a:cubicBezTo>
                <a:cubicBezTo>
                  <a:pt x="9476457" y="2166130"/>
                  <a:pt x="9505409" y="2137178"/>
                  <a:pt x="9541123" y="2137178"/>
                </a:cubicBezTo>
                <a:close/>
                <a:moveTo>
                  <a:pt x="9384550" y="2137178"/>
                </a:moveTo>
                <a:cubicBezTo>
                  <a:pt x="9420264" y="2137178"/>
                  <a:pt x="9449216" y="2166130"/>
                  <a:pt x="9449216" y="2201844"/>
                </a:cubicBezTo>
                <a:cubicBezTo>
                  <a:pt x="9449216" y="2237558"/>
                  <a:pt x="9420264" y="2266510"/>
                  <a:pt x="9384550" y="2266510"/>
                </a:cubicBezTo>
                <a:cubicBezTo>
                  <a:pt x="9348836" y="2266510"/>
                  <a:pt x="9319884" y="2237558"/>
                  <a:pt x="9319884" y="2201844"/>
                </a:cubicBezTo>
                <a:cubicBezTo>
                  <a:pt x="9319884" y="2166130"/>
                  <a:pt x="9348836" y="2137178"/>
                  <a:pt x="9384550" y="2137178"/>
                </a:cubicBezTo>
                <a:close/>
                <a:moveTo>
                  <a:pt x="9227977" y="2137178"/>
                </a:moveTo>
                <a:cubicBezTo>
                  <a:pt x="9263691" y="2137178"/>
                  <a:pt x="9292643" y="2166130"/>
                  <a:pt x="9292643" y="2201844"/>
                </a:cubicBezTo>
                <a:cubicBezTo>
                  <a:pt x="9292643" y="2237558"/>
                  <a:pt x="9263691" y="2266510"/>
                  <a:pt x="9227977" y="2266510"/>
                </a:cubicBezTo>
                <a:cubicBezTo>
                  <a:pt x="9192263" y="2266510"/>
                  <a:pt x="9163311" y="2237558"/>
                  <a:pt x="9163311" y="2201844"/>
                </a:cubicBezTo>
                <a:cubicBezTo>
                  <a:pt x="9163311" y="2166130"/>
                  <a:pt x="9192263" y="2137178"/>
                  <a:pt x="9227977" y="2137178"/>
                </a:cubicBezTo>
                <a:close/>
                <a:moveTo>
                  <a:pt x="9075319" y="2137178"/>
                </a:moveTo>
                <a:cubicBezTo>
                  <a:pt x="9111033" y="2137178"/>
                  <a:pt x="9139985" y="2166130"/>
                  <a:pt x="9139985" y="2201844"/>
                </a:cubicBezTo>
                <a:cubicBezTo>
                  <a:pt x="9139985" y="2237558"/>
                  <a:pt x="9111033" y="2266510"/>
                  <a:pt x="9075319" y="2266510"/>
                </a:cubicBezTo>
                <a:cubicBezTo>
                  <a:pt x="9039605" y="2266510"/>
                  <a:pt x="9010653" y="2237558"/>
                  <a:pt x="9010653" y="2201844"/>
                </a:cubicBezTo>
                <a:cubicBezTo>
                  <a:pt x="9010653" y="2166130"/>
                  <a:pt x="9039605" y="2137178"/>
                  <a:pt x="9075319" y="2137178"/>
                </a:cubicBezTo>
                <a:close/>
                <a:moveTo>
                  <a:pt x="8914831" y="2137178"/>
                </a:moveTo>
                <a:cubicBezTo>
                  <a:pt x="8950545" y="2137178"/>
                  <a:pt x="8979497" y="2166130"/>
                  <a:pt x="8979497" y="2201844"/>
                </a:cubicBezTo>
                <a:cubicBezTo>
                  <a:pt x="8979497" y="2237558"/>
                  <a:pt x="8950545" y="2266510"/>
                  <a:pt x="8914831" y="2266510"/>
                </a:cubicBezTo>
                <a:cubicBezTo>
                  <a:pt x="8879117" y="2266510"/>
                  <a:pt x="8850165" y="2237558"/>
                  <a:pt x="8850165" y="2201844"/>
                </a:cubicBezTo>
                <a:cubicBezTo>
                  <a:pt x="8850165" y="2166130"/>
                  <a:pt x="8879117" y="2137178"/>
                  <a:pt x="8914831" y="2137178"/>
                </a:cubicBezTo>
                <a:close/>
                <a:moveTo>
                  <a:pt x="8766086" y="2137178"/>
                </a:moveTo>
                <a:cubicBezTo>
                  <a:pt x="8801800" y="2137178"/>
                  <a:pt x="8830752" y="2166130"/>
                  <a:pt x="8830752" y="2201844"/>
                </a:cubicBezTo>
                <a:cubicBezTo>
                  <a:pt x="8830752" y="2237558"/>
                  <a:pt x="8801800" y="2266510"/>
                  <a:pt x="8766086" y="2266510"/>
                </a:cubicBezTo>
                <a:cubicBezTo>
                  <a:pt x="8730372" y="2266510"/>
                  <a:pt x="8701420" y="2237558"/>
                  <a:pt x="8701420" y="2201844"/>
                </a:cubicBezTo>
                <a:cubicBezTo>
                  <a:pt x="8701420" y="2166130"/>
                  <a:pt x="8730372" y="2137178"/>
                  <a:pt x="8766086" y="2137178"/>
                </a:cubicBezTo>
                <a:close/>
                <a:moveTo>
                  <a:pt x="8601685" y="2137178"/>
                </a:moveTo>
                <a:cubicBezTo>
                  <a:pt x="8637399" y="2137178"/>
                  <a:pt x="8666351" y="2166130"/>
                  <a:pt x="8666351" y="2201844"/>
                </a:cubicBezTo>
                <a:cubicBezTo>
                  <a:pt x="8666351" y="2237558"/>
                  <a:pt x="8637399" y="2266510"/>
                  <a:pt x="8601685" y="2266510"/>
                </a:cubicBezTo>
                <a:cubicBezTo>
                  <a:pt x="8565971" y="2266510"/>
                  <a:pt x="8537019" y="2237558"/>
                  <a:pt x="8537019" y="2201844"/>
                </a:cubicBezTo>
                <a:cubicBezTo>
                  <a:pt x="8537019" y="2166130"/>
                  <a:pt x="8565971" y="2137178"/>
                  <a:pt x="8601685" y="2137178"/>
                </a:cubicBezTo>
                <a:close/>
                <a:moveTo>
                  <a:pt x="8449025" y="2137178"/>
                </a:moveTo>
                <a:cubicBezTo>
                  <a:pt x="8484739" y="2137178"/>
                  <a:pt x="8513691" y="2166130"/>
                  <a:pt x="8513691" y="2201844"/>
                </a:cubicBezTo>
                <a:cubicBezTo>
                  <a:pt x="8513691" y="2237558"/>
                  <a:pt x="8484739" y="2266510"/>
                  <a:pt x="8449025" y="2266510"/>
                </a:cubicBezTo>
                <a:cubicBezTo>
                  <a:pt x="8413311" y="2266510"/>
                  <a:pt x="8384359" y="2237558"/>
                  <a:pt x="8384359" y="2201844"/>
                </a:cubicBezTo>
                <a:cubicBezTo>
                  <a:pt x="8384359" y="2166130"/>
                  <a:pt x="8413311" y="2137178"/>
                  <a:pt x="8449025" y="2137178"/>
                </a:cubicBezTo>
                <a:close/>
                <a:moveTo>
                  <a:pt x="8296368" y="2137178"/>
                </a:moveTo>
                <a:cubicBezTo>
                  <a:pt x="8332082" y="2137178"/>
                  <a:pt x="8361034" y="2166130"/>
                  <a:pt x="8361034" y="2201844"/>
                </a:cubicBezTo>
                <a:cubicBezTo>
                  <a:pt x="8361034" y="2237558"/>
                  <a:pt x="8332082" y="2266510"/>
                  <a:pt x="8296368" y="2266510"/>
                </a:cubicBezTo>
                <a:cubicBezTo>
                  <a:pt x="8260654" y="2266510"/>
                  <a:pt x="8231702" y="2237558"/>
                  <a:pt x="8231702" y="2201844"/>
                </a:cubicBezTo>
                <a:cubicBezTo>
                  <a:pt x="8231702" y="2166130"/>
                  <a:pt x="8260654" y="2137178"/>
                  <a:pt x="8296368" y="2137178"/>
                </a:cubicBezTo>
                <a:close/>
                <a:moveTo>
                  <a:pt x="8139793" y="2137178"/>
                </a:moveTo>
                <a:cubicBezTo>
                  <a:pt x="8175507" y="2137178"/>
                  <a:pt x="8204459" y="2166130"/>
                  <a:pt x="8204459" y="2201844"/>
                </a:cubicBezTo>
                <a:cubicBezTo>
                  <a:pt x="8204459" y="2237558"/>
                  <a:pt x="8175507" y="2266510"/>
                  <a:pt x="8139793" y="2266510"/>
                </a:cubicBezTo>
                <a:cubicBezTo>
                  <a:pt x="8104079" y="2266510"/>
                  <a:pt x="8075127" y="2237558"/>
                  <a:pt x="8075127" y="2201844"/>
                </a:cubicBezTo>
                <a:cubicBezTo>
                  <a:pt x="8075127" y="2166130"/>
                  <a:pt x="8104079" y="2137178"/>
                  <a:pt x="8139793" y="2137178"/>
                </a:cubicBezTo>
                <a:close/>
                <a:moveTo>
                  <a:pt x="7987133" y="2137178"/>
                </a:moveTo>
                <a:cubicBezTo>
                  <a:pt x="8022847" y="2137178"/>
                  <a:pt x="8051799" y="2166130"/>
                  <a:pt x="8051799" y="2201844"/>
                </a:cubicBezTo>
                <a:cubicBezTo>
                  <a:pt x="8051799" y="2237558"/>
                  <a:pt x="8022847" y="2266510"/>
                  <a:pt x="7987133" y="2266510"/>
                </a:cubicBezTo>
                <a:cubicBezTo>
                  <a:pt x="7951419" y="2266510"/>
                  <a:pt x="7922467" y="2237558"/>
                  <a:pt x="7922467" y="2201844"/>
                </a:cubicBezTo>
                <a:cubicBezTo>
                  <a:pt x="7922467" y="2166130"/>
                  <a:pt x="7951419" y="2137178"/>
                  <a:pt x="7987133" y="2137178"/>
                </a:cubicBezTo>
                <a:close/>
                <a:moveTo>
                  <a:pt x="7830562" y="2137178"/>
                </a:moveTo>
                <a:cubicBezTo>
                  <a:pt x="7866276" y="2137178"/>
                  <a:pt x="7895228" y="2166130"/>
                  <a:pt x="7895228" y="2201844"/>
                </a:cubicBezTo>
                <a:cubicBezTo>
                  <a:pt x="7895228" y="2237558"/>
                  <a:pt x="7866276" y="2266510"/>
                  <a:pt x="7830562" y="2266510"/>
                </a:cubicBezTo>
                <a:cubicBezTo>
                  <a:pt x="7794848" y="2266510"/>
                  <a:pt x="7765896" y="2237558"/>
                  <a:pt x="7765896" y="2201844"/>
                </a:cubicBezTo>
                <a:cubicBezTo>
                  <a:pt x="7765896" y="2166130"/>
                  <a:pt x="7794848" y="2137178"/>
                  <a:pt x="7830562" y="2137178"/>
                </a:cubicBezTo>
                <a:close/>
                <a:moveTo>
                  <a:pt x="7677904" y="2137178"/>
                </a:moveTo>
                <a:cubicBezTo>
                  <a:pt x="7713618" y="2137178"/>
                  <a:pt x="7742570" y="2166130"/>
                  <a:pt x="7742570" y="2201844"/>
                </a:cubicBezTo>
                <a:cubicBezTo>
                  <a:pt x="7742570" y="2237558"/>
                  <a:pt x="7713618" y="2266510"/>
                  <a:pt x="7677904" y="2266510"/>
                </a:cubicBezTo>
                <a:cubicBezTo>
                  <a:pt x="7642190" y="2266510"/>
                  <a:pt x="7613238" y="2237558"/>
                  <a:pt x="7613238" y="2201844"/>
                </a:cubicBezTo>
                <a:cubicBezTo>
                  <a:pt x="7613238" y="2166130"/>
                  <a:pt x="7642190" y="2137178"/>
                  <a:pt x="7677904" y="2137178"/>
                </a:cubicBezTo>
                <a:close/>
                <a:moveTo>
                  <a:pt x="7368669" y="2137178"/>
                </a:moveTo>
                <a:cubicBezTo>
                  <a:pt x="7404383" y="2137178"/>
                  <a:pt x="7433335" y="2166130"/>
                  <a:pt x="7433335" y="2201844"/>
                </a:cubicBezTo>
                <a:cubicBezTo>
                  <a:pt x="7433335" y="2237558"/>
                  <a:pt x="7404383" y="2266510"/>
                  <a:pt x="7368669" y="2266510"/>
                </a:cubicBezTo>
                <a:cubicBezTo>
                  <a:pt x="7332955" y="2266510"/>
                  <a:pt x="7304003" y="2237558"/>
                  <a:pt x="7304003" y="2201844"/>
                </a:cubicBezTo>
                <a:cubicBezTo>
                  <a:pt x="7304003" y="2166130"/>
                  <a:pt x="7332955" y="2137178"/>
                  <a:pt x="7368669" y="2137178"/>
                </a:cubicBezTo>
                <a:close/>
                <a:moveTo>
                  <a:pt x="7212096" y="2137178"/>
                </a:moveTo>
                <a:cubicBezTo>
                  <a:pt x="7247810" y="2137178"/>
                  <a:pt x="7276762" y="2166130"/>
                  <a:pt x="7276762" y="2201844"/>
                </a:cubicBezTo>
                <a:cubicBezTo>
                  <a:pt x="7276762" y="2237558"/>
                  <a:pt x="7247810" y="2266510"/>
                  <a:pt x="7212096" y="2266510"/>
                </a:cubicBezTo>
                <a:cubicBezTo>
                  <a:pt x="7176382" y="2266510"/>
                  <a:pt x="7147430" y="2237558"/>
                  <a:pt x="7147430" y="2201844"/>
                </a:cubicBezTo>
                <a:cubicBezTo>
                  <a:pt x="7147430" y="2166130"/>
                  <a:pt x="7176382" y="2137178"/>
                  <a:pt x="7212096" y="2137178"/>
                </a:cubicBezTo>
                <a:close/>
                <a:moveTo>
                  <a:pt x="7055523" y="2137178"/>
                </a:moveTo>
                <a:cubicBezTo>
                  <a:pt x="7091237" y="2137178"/>
                  <a:pt x="7120189" y="2166130"/>
                  <a:pt x="7120189" y="2201844"/>
                </a:cubicBezTo>
                <a:cubicBezTo>
                  <a:pt x="7120189" y="2237558"/>
                  <a:pt x="7091237" y="2266510"/>
                  <a:pt x="7055523" y="2266510"/>
                </a:cubicBezTo>
                <a:cubicBezTo>
                  <a:pt x="7019809" y="2266510"/>
                  <a:pt x="6990857" y="2237558"/>
                  <a:pt x="6990857" y="2201844"/>
                </a:cubicBezTo>
                <a:cubicBezTo>
                  <a:pt x="6990857" y="2166130"/>
                  <a:pt x="7019809" y="2137178"/>
                  <a:pt x="7055523" y="2137178"/>
                </a:cubicBezTo>
                <a:close/>
                <a:moveTo>
                  <a:pt x="6895037" y="2137178"/>
                </a:moveTo>
                <a:cubicBezTo>
                  <a:pt x="6930751" y="2137178"/>
                  <a:pt x="6959703" y="2166130"/>
                  <a:pt x="6959703" y="2201844"/>
                </a:cubicBezTo>
                <a:cubicBezTo>
                  <a:pt x="6959703" y="2237558"/>
                  <a:pt x="6930751" y="2266510"/>
                  <a:pt x="6895037" y="2266510"/>
                </a:cubicBezTo>
                <a:cubicBezTo>
                  <a:pt x="6859323" y="2266510"/>
                  <a:pt x="6830371" y="2237558"/>
                  <a:pt x="6830371" y="2201844"/>
                </a:cubicBezTo>
                <a:cubicBezTo>
                  <a:pt x="6830371" y="2166130"/>
                  <a:pt x="6859323" y="2137178"/>
                  <a:pt x="6895037" y="2137178"/>
                </a:cubicBezTo>
                <a:close/>
                <a:moveTo>
                  <a:pt x="6742377" y="2137178"/>
                </a:moveTo>
                <a:cubicBezTo>
                  <a:pt x="6778091" y="2137178"/>
                  <a:pt x="6807043" y="2166130"/>
                  <a:pt x="6807043" y="2201844"/>
                </a:cubicBezTo>
                <a:cubicBezTo>
                  <a:pt x="6807043" y="2237558"/>
                  <a:pt x="6778091" y="2266510"/>
                  <a:pt x="6742377" y="2266510"/>
                </a:cubicBezTo>
                <a:cubicBezTo>
                  <a:pt x="6706663" y="2266510"/>
                  <a:pt x="6677711" y="2237558"/>
                  <a:pt x="6677711" y="2201844"/>
                </a:cubicBezTo>
                <a:cubicBezTo>
                  <a:pt x="6677711" y="2166130"/>
                  <a:pt x="6706663" y="2137178"/>
                  <a:pt x="6742377" y="2137178"/>
                </a:cubicBezTo>
                <a:close/>
                <a:moveTo>
                  <a:pt x="6429231" y="2137178"/>
                </a:moveTo>
                <a:cubicBezTo>
                  <a:pt x="6464945" y="2137178"/>
                  <a:pt x="6493897" y="2166130"/>
                  <a:pt x="6493897" y="2201844"/>
                </a:cubicBezTo>
                <a:cubicBezTo>
                  <a:pt x="6493897" y="2237558"/>
                  <a:pt x="6464945" y="2266510"/>
                  <a:pt x="6429231" y="2266510"/>
                </a:cubicBezTo>
                <a:cubicBezTo>
                  <a:pt x="6393517" y="2266510"/>
                  <a:pt x="6364565" y="2237558"/>
                  <a:pt x="6364565" y="2201844"/>
                </a:cubicBezTo>
                <a:cubicBezTo>
                  <a:pt x="6364565" y="2166130"/>
                  <a:pt x="6393517" y="2137178"/>
                  <a:pt x="6429231" y="2137178"/>
                </a:cubicBezTo>
                <a:close/>
                <a:moveTo>
                  <a:pt x="6276571" y="2137178"/>
                </a:moveTo>
                <a:cubicBezTo>
                  <a:pt x="6312285" y="2137178"/>
                  <a:pt x="6341237" y="2166130"/>
                  <a:pt x="6341237" y="2201844"/>
                </a:cubicBezTo>
                <a:cubicBezTo>
                  <a:pt x="6341237" y="2237558"/>
                  <a:pt x="6312285" y="2266510"/>
                  <a:pt x="6276571" y="2266510"/>
                </a:cubicBezTo>
                <a:cubicBezTo>
                  <a:pt x="6240857" y="2266510"/>
                  <a:pt x="6211905" y="2237558"/>
                  <a:pt x="6211905" y="2201844"/>
                </a:cubicBezTo>
                <a:cubicBezTo>
                  <a:pt x="6211905" y="2166130"/>
                  <a:pt x="6240857" y="2137178"/>
                  <a:pt x="6276571" y="2137178"/>
                </a:cubicBezTo>
                <a:close/>
                <a:moveTo>
                  <a:pt x="6119999" y="2137178"/>
                </a:moveTo>
                <a:cubicBezTo>
                  <a:pt x="6155713" y="2137178"/>
                  <a:pt x="6184665" y="2166130"/>
                  <a:pt x="6184665" y="2201844"/>
                </a:cubicBezTo>
                <a:cubicBezTo>
                  <a:pt x="6184665" y="2237558"/>
                  <a:pt x="6155713" y="2266510"/>
                  <a:pt x="6119999" y="2266510"/>
                </a:cubicBezTo>
                <a:cubicBezTo>
                  <a:pt x="6084285" y="2266510"/>
                  <a:pt x="6055333" y="2237558"/>
                  <a:pt x="6055333" y="2201844"/>
                </a:cubicBezTo>
                <a:cubicBezTo>
                  <a:pt x="6055333" y="2166130"/>
                  <a:pt x="6084285" y="2137178"/>
                  <a:pt x="6119999" y="2137178"/>
                </a:cubicBezTo>
                <a:close/>
                <a:moveTo>
                  <a:pt x="5967339" y="2137178"/>
                </a:moveTo>
                <a:cubicBezTo>
                  <a:pt x="6003053" y="2137178"/>
                  <a:pt x="6032005" y="2166130"/>
                  <a:pt x="6032005" y="2201844"/>
                </a:cubicBezTo>
                <a:cubicBezTo>
                  <a:pt x="6032005" y="2237558"/>
                  <a:pt x="6003053" y="2266510"/>
                  <a:pt x="5967339" y="2266510"/>
                </a:cubicBezTo>
                <a:cubicBezTo>
                  <a:pt x="5931625" y="2266510"/>
                  <a:pt x="5902673" y="2237558"/>
                  <a:pt x="5902673" y="2201844"/>
                </a:cubicBezTo>
                <a:cubicBezTo>
                  <a:pt x="5902673" y="2166130"/>
                  <a:pt x="5931625" y="2137178"/>
                  <a:pt x="5967339" y="2137178"/>
                </a:cubicBezTo>
                <a:close/>
                <a:moveTo>
                  <a:pt x="5810794" y="2137178"/>
                </a:moveTo>
                <a:cubicBezTo>
                  <a:pt x="5846480" y="2137178"/>
                  <a:pt x="5875432" y="2166130"/>
                  <a:pt x="5875432" y="2201844"/>
                </a:cubicBezTo>
                <a:cubicBezTo>
                  <a:pt x="5875432" y="2237558"/>
                  <a:pt x="5846480" y="2266510"/>
                  <a:pt x="5810794" y="2266510"/>
                </a:cubicBezTo>
                <a:cubicBezTo>
                  <a:pt x="5775072" y="2266510"/>
                  <a:pt x="5746114" y="2237558"/>
                  <a:pt x="5746114" y="2201844"/>
                </a:cubicBezTo>
                <a:cubicBezTo>
                  <a:pt x="5746114" y="2166130"/>
                  <a:pt x="5775072" y="2137178"/>
                  <a:pt x="5810794" y="2137178"/>
                </a:cubicBezTo>
                <a:close/>
                <a:moveTo>
                  <a:pt x="5658108" y="2137178"/>
                </a:moveTo>
                <a:cubicBezTo>
                  <a:pt x="5693823" y="2137178"/>
                  <a:pt x="5722781" y="2166130"/>
                  <a:pt x="5722781" y="2201844"/>
                </a:cubicBezTo>
                <a:cubicBezTo>
                  <a:pt x="5722781" y="2237558"/>
                  <a:pt x="5693823" y="2266510"/>
                  <a:pt x="5658108" y="2266510"/>
                </a:cubicBezTo>
                <a:cubicBezTo>
                  <a:pt x="5622396" y="2266510"/>
                  <a:pt x="5593441" y="2237558"/>
                  <a:pt x="5593441" y="2201844"/>
                </a:cubicBezTo>
                <a:cubicBezTo>
                  <a:pt x="5593441" y="2166130"/>
                  <a:pt x="5622396" y="2137178"/>
                  <a:pt x="5658108" y="2137178"/>
                </a:cubicBezTo>
                <a:close/>
                <a:moveTo>
                  <a:pt x="5501540" y="2137178"/>
                </a:moveTo>
                <a:cubicBezTo>
                  <a:pt x="5537254" y="2137178"/>
                  <a:pt x="5566204" y="2166130"/>
                  <a:pt x="5566204" y="2201844"/>
                </a:cubicBezTo>
                <a:cubicBezTo>
                  <a:pt x="5566204" y="2237558"/>
                  <a:pt x="5537254" y="2266510"/>
                  <a:pt x="5501540" y="2266510"/>
                </a:cubicBezTo>
                <a:cubicBezTo>
                  <a:pt x="5465826" y="2266510"/>
                  <a:pt x="5436883" y="2237558"/>
                  <a:pt x="5436883" y="2201844"/>
                </a:cubicBezTo>
                <a:cubicBezTo>
                  <a:pt x="5436883" y="2166130"/>
                  <a:pt x="5465826" y="2137178"/>
                  <a:pt x="5501540" y="2137178"/>
                </a:cubicBezTo>
                <a:close/>
                <a:moveTo>
                  <a:pt x="3321359" y="2137178"/>
                </a:moveTo>
                <a:cubicBezTo>
                  <a:pt x="3357071" y="2137178"/>
                  <a:pt x="3386011" y="2166130"/>
                  <a:pt x="3386011" y="2201844"/>
                </a:cubicBezTo>
                <a:cubicBezTo>
                  <a:pt x="3386011" y="2237558"/>
                  <a:pt x="3357071" y="2266510"/>
                  <a:pt x="3321359" y="2266510"/>
                </a:cubicBezTo>
                <a:cubicBezTo>
                  <a:pt x="3285638" y="2266510"/>
                  <a:pt x="3256695" y="2237558"/>
                  <a:pt x="3256695" y="2201844"/>
                </a:cubicBezTo>
                <a:cubicBezTo>
                  <a:pt x="3256695" y="2166130"/>
                  <a:pt x="3285638" y="2137178"/>
                  <a:pt x="3321359" y="2137178"/>
                </a:cubicBezTo>
                <a:close/>
                <a:moveTo>
                  <a:pt x="3172606" y="2137178"/>
                </a:moveTo>
                <a:cubicBezTo>
                  <a:pt x="3208327" y="2137178"/>
                  <a:pt x="3237278" y="2166130"/>
                  <a:pt x="3237278" y="2201844"/>
                </a:cubicBezTo>
                <a:cubicBezTo>
                  <a:pt x="3237278" y="2237558"/>
                  <a:pt x="3208327" y="2266510"/>
                  <a:pt x="3172606" y="2266510"/>
                </a:cubicBezTo>
                <a:cubicBezTo>
                  <a:pt x="3136884" y="2266510"/>
                  <a:pt x="3107925" y="2237558"/>
                  <a:pt x="3107925" y="2201844"/>
                </a:cubicBezTo>
                <a:cubicBezTo>
                  <a:pt x="3107925" y="2166130"/>
                  <a:pt x="3136884" y="2137178"/>
                  <a:pt x="3172606" y="2137178"/>
                </a:cubicBezTo>
                <a:close/>
                <a:moveTo>
                  <a:pt x="3012096" y="2137178"/>
                </a:moveTo>
                <a:cubicBezTo>
                  <a:pt x="3047807" y="2137178"/>
                  <a:pt x="3076765" y="2166130"/>
                  <a:pt x="3076765" y="2201844"/>
                </a:cubicBezTo>
                <a:cubicBezTo>
                  <a:pt x="3076765" y="2237558"/>
                  <a:pt x="3047807" y="2266510"/>
                  <a:pt x="3012096" y="2266510"/>
                </a:cubicBezTo>
                <a:cubicBezTo>
                  <a:pt x="2976386" y="2266510"/>
                  <a:pt x="2947438" y="2237558"/>
                  <a:pt x="2947438" y="2201844"/>
                </a:cubicBezTo>
                <a:cubicBezTo>
                  <a:pt x="2947438" y="2166130"/>
                  <a:pt x="2976386" y="2137178"/>
                  <a:pt x="3012096" y="2137178"/>
                </a:cubicBezTo>
                <a:close/>
                <a:moveTo>
                  <a:pt x="2855539" y="2137178"/>
                </a:moveTo>
                <a:cubicBezTo>
                  <a:pt x="2891249" y="2137178"/>
                  <a:pt x="2920198" y="2166130"/>
                  <a:pt x="2920198" y="2201844"/>
                </a:cubicBezTo>
                <a:cubicBezTo>
                  <a:pt x="2920198" y="2237558"/>
                  <a:pt x="2891249" y="2266510"/>
                  <a:pt x="2855539" y="2266510"/>
                </a:cubicBezTo>
                <a:cubicBezTo>
                  <a:pt x="2819829" y="2266510"/>
                  <a:pt x="2790880" y="2237558"/>
                  <a:pt x="2790880" y="2201844"/>
                </a:cubicBezTo>
                <a:cubicBezTo>
                  <a:pt x="2790880" y="2166130"/>
                  <a:pt x="2819829" y="2137178"/>
                  <a:pt x="2855539" y="2137178"/>
                </a:cubicBezTo>
                <a:close/>
                <a:moveTo>
                  <a:pt x="2698983" y="2137178"/>
                </a:moveTo>
                <a:cubicBezTo>
                  <a:pt x="2734694" y="2137178"/>
                  <a:pt x="2763642" y="2166130"/>
                  <a:pt x="2763642" y="2201844"/>
                </a:cubicBezTo>
                <a:cubicBezTo>
                  <a:pt x="2763642" y="2237558"/>
                  <a:pt x="2734694" y="2266510"/>
                  <a:pt x="2698983" y="2266510"/>
                </a:cubicBezTo>
                <a:cubicBezTo>
                  <a:pt x="2663274" y="2266510"/>
                  <a:pt x="2634325" y="2237558"/>
                  <a:pt x="2634325" y="2201844"/>
                </a:cubicBezTo>
                <a:cubicBezTo>
                  <a:pt x="2634325" y="2166130"/>
                  <a:pt x="2663274" y="2137178"/>
                  <a:pt x="2698983" y="2137178"/>
                </a:cubicBezTo>
                <a:close/>
                <a:moveTo>
                  <a:pt x="2546341" y="2137178"/>
                </a:moveTo>
                <a:cubicBezTo>
                  <a:pt x="2582052" y="2137178"/>
                  <a:pt x="2611002" y="2166130"/>
                  <a:pt x="2611002" y="2201844"/>
                </a:cubicBezTo>
                <a:cubicBezTo>
                  <a:pt x="2611002" y="2237558"/>
                  <a:pt x="2582052" y="2266510"/>
                  <a:pt x="2546341" y="2266510"/>
                </a:cubicBezTo>
                <a:cubicBezTo>
                  <a:pt x="2510621" y="2266510"/>
                  <a:pt x="2481681" y="2237558"/>
                  <a:pt x="2481681" y="2201844"/>
                </a:cubicBezTo>
                <a:cubicBezTo>
                  <a:pt x="2481681" y="2166130"/>
                  <a:pt x="2510621" y="2137178"/>
                  <a:pt x="2546341" y="2137178"/>
                </a:cubicBezTo>
                <a:close/>
                <a:moveTo>
                  <a:pt x="2389761" y="2137178"/>
                </a:moveTo>
                <a:cubicBezTo>
                  <a:pt x="2425494" y="2137178"/>
                  <a:pt x="2454444" y="2166130"/>
                  <a:pt x="2454444" y="2201844"/>
                </a:cubicBezTo>
                <a:cubicBezTo>
                  <a:pt x="2454444" y="2237558"/>
                  <a:pt x="2425494" y="2266510"/>
                  <a:pt x="2389761" y="2266510"/>
                </a:cubicBezTo>
                <a:cubicBezTo>
                  <a:pt x="2354065" y="2266510"/>
                  <a:pt x="2325107" y="2237558"/>
                  <a:pt x="2325107" y="2201844"/>
                </a:cubicBezTo>
                <a:cubicBezTo>
                  <a:pt x="2325107" y="2166130"/>
                  <a:pt x="2354065" y="2137178"/>
                  <a:pt x="2389761" y="2137178"/>
                </a:cubicBezTo>
                <a:close/>
                <a:moveTo>
                  <a:pt x="2237094" y="2137178"/>
                </a:moveTo>
                <a:cubicBezTo>
                  <a:pt x="2272816" y="2137178"/>
                  <a:pt x="2301774" y="2166130"/>
                  <a:pt x="2301774" y="2201844"/>
                </a:cubicBezTo>
                <a:cubicBezTo>
                  <a:pt x="2301774" y="2237558"/>
                  <a:pt x="2272816" y="2266510"/>
                  <a:pt x="2237094" y="2266510"/>
                </a:cubicBezTo>
                <a:cubicBezTo>
                  <a:pt x="2201372" y="2266510"/>
                  <a:pt x="2172414" y="2237558"/>
                  <a:pt x="2172414" y="2201844"/>
                </a:cubicBezTo>
                <a:cubicBezTo>
                  <a:pt x="2172414" y="2166130"/>
                  <a:pt x="2201372" y="2137178"/>
                  <a:pt x="2237094" y="2137178"/>
                </a:cubicBezTo>
                <a:close/>
                <a:moveTo>
                  <a:pt x="2084416" y="2137178"/>
                </a:moveTo>
                <a:cubicBezTo>
                  <a:pt x="2120132" y="2137178"/>
                  <a:pt x="2149082" y="2166130"/>
                  <a:pt x="2149082" y="2201844"/>
                </a:cubicBezTo>
                <a:cubicBezTo>
                  <a:pt x="2149082" y="2237558"/>
                  <a:pt x="2120132" y="2266510"/>
                  <a:pt x="2084416" y="2266510"/>
                </a:cubicBezTo>
                <a:cubicBezTo>
                  <a:pt x="2048693" y="2266510"/>
                  <a:pt x="2019767" y="2237558"/>
                  <a:pt x="2019767" y="2201844"/>
                </a:cubicBezTo>
                <a:cubicBezTo>
                  <a:pt x="2019767" y="2166130"/>
                  <a:pt x="2048693" y="2137178"/>
                  <a:pt x="2084416" y="2137178"/>
                </a:cubicBezTo>
                <a:close/>
                <a:moveTo>
                  <a:pt x="1927830" y="2137178"/>
                </a:moveTo>
                <a:cubicBezTo>
                  <a:pt x="1963544" y="2137178"/>
                  <a:pt x="1992519" y="2166130"/>
                  <a:pt x="1992519" y="2201844"/>
                </a:cubicBezTo>
                <a:cubicBezTo>
                  <a:pt x="1992519" y="2237558"/>
                  <a:pt x="1963544" y="2266510"/>
                  <a:pt x="1927830" y="2266510"/>
                </a:cubicBezTo>
                <a:cubicBezTo>
                  <a:pt x="1892146" y="2266510"/>
                  <a:pt x="1863193" y="2237558"/>
                  <a:pt x="1863193" y="2201844"/>
                </a:cubicBezTo>
                <a:cubicBezTo>
                  <a:pt x="1863193" y="2166130"/>
                  <a:pt x="1892146" y="2137178"/>
                  <a:pt x="1927830" y="2137178"/>
                </a:cubicBezTo>
                <a:close/>
                <a:moveTo>
                  <a:pt x="1775186" y="2137178"/>
                </a:moveTo>
                <a:cubicBezTo>
                  <a:pt x="1810892" y="2137178"/>
                  <a:pt x="1839865" y="2166130"/>
                  <a:pt x="1839865" y="2201844"/>
                </a:cubicBezTo>
                <a:cubicBezTo>
                  <a:pt x="1839865" y="2237558"/>
                  <a:pt x="1810892" y="2266510"/>
                  <a:pt x="1775186" y="2266510"/>
                </a:cubicBezTo>
                <a:cubicBezTo>
                  <a:pt x="1739466" y="2266510"/>
                  <a:pt x="1710516" y="2237558"/>
                  <a:pt x="1710516" y="2201844"/>
                </a:cubicBezTo>
                <a:cubicBezTo>
                  <a:pt x="1710516" y="2166130"/>
                  <a:pt x="1739466" y="2137178"/>
                  <a:pt x="1775186" y="2137178"/>
                </a:cubicBezTo>
                <a:close/>
                <a:moveTo>
                  <a:pt x="1618605" y="2137178"/>
                </a:moveTo>
                <a:cubicBezTo>
                  <a:pt x="1654322" y="2137178"/>
                  <a:pt x="1683274" y="2166130"/>
                  <a:pt x="1683274" y="2201844"/>
                </a:cubicBezTo>
                <a:cubicBezTo>
                  <a:pt x="1683274" y="2237558"/>
                  <a:pt x="1654322" y="2266510"/>
                  <a:pt x="1618605" y="2266510"/>
                </a:cubicBezTo>
                <a:cubicBezTo>
                  <a:pt x="1582893" y="2266510"/>
                  <a:pt x="1553941" y="2237558"/>
                  <a:pt x="1553941" y="2201844"/>
                </a:cubicBezTo>
                <a:cubicBezTo>
                  <a:pt x="1553941" y="2166130"/>
                  <a:pt x="1582893" y="2137178"/>
                  <a:pt x="1618605" y="2137178"/>
                </a:cubicBezTo>
                <a:close/>
                <a:moveTo>
                  <a:pt x="1465947" y="2137178"/>
                </a:moveTo>
                <a:cubicBezTo>
                  <a:pt x="1501661" y="2137178"/>
                  <a:pt x="1530613" y="2166130"/>
                  <a:pt x="1530613" y="2201844"/>
                </a:cubicBezTo>
                <a:cubicBezTo>
                  <a:pt x="1530613" y="2237558"/>
                  <a:pt x="1501661" y="2266510"/>
                  <a:pt x="1465947" y="2266510"/>
                </a:cubicBezTo>
                <a:cubicBezTo>
                  <a:pt x="1430233" y="2266510"/>
                  <a:pt x="1401283" y="2237558"/>
                  <a:pt x="1401283" y="2201844"/>
                </a:cubicBezTo>
                <a:cubicBezTo>
                  <a:pt x="1401283" y="2166130"/>
                  <a:pt x="1430233" y="2137178"/>
                  <a:pt x="1465947" y="2137178"/>
                </a:cubicBezTo>
                <a:close/>
                <a:moveTo>
                  <a:pt x="5348894" y="2137174"/>
                </a:moveTo>
                <a:cubicBezTo>
                  <a:pt x="5384609" y="2137174"/>
                  <a:pt x="5413562" y="2166127"/>
                  <a:pt x="5413562" y="2201840"/>
                </a:cubicBezTo>
                <a:cubicBezTo>
                  <a:pt x="5413562" y="2237555"/>
                  <a:pt x="5384609" y="2266507"/>
                  <a:pt x="5348894" y="2266507"/>
                </a:cubicBezTo>
                <a:cubicBezTo>
                  <a:pt x="5313199" y="2266507"/>
                  <a:pt x="5284237" y="2237555"/>
                  <a:pt x="5284237" y="2201840"/>
                </a:cubicBezTo>
                <a:cubicBezTo>
                  <a:pt x="5284237" y="2166127"/>
                  <a:pt x="5313199" y="2137174"/>
                  <a:pt x="5348894" y="2137174"/>
                </a:cubicBezTo>
                <a:close/>
                <a:moveTo>
                  <a:pt x="5192302" y="2137174"/>
                </a:moveTo>
                <a:cubicBezTo>
                  <a:pt x="5228016" y="2137174"/>
                  <a:pt x="5256968" y="2166126"/>
                  <a:pt x="5256968" y="2201840"/>
                </a:cubicBezTo>
                <a:cubicBezTo>
                  <a:pt x="5256968" y="2237554"/>
                  <a:pt x="5228016" y="2266506"/>
                  <a:pt x="5192302" y="2266506"/>
                </a:cubicBezTo>
                <a:cubicBezTo>
                  <a:pt x="5156588" y="2266506"/>
                  <a:pt x="5127636" y="2237554"/>
                  <a:pt x="5127636" y="2201840"/>
                </a:cubicBezTo>
                <a:cubicBezTo>
                  <a:pt x="5127636" y="2166126"/>
                  <a:pt x="5156588" y="2137174"/>
                  <a:pt x="5192302" y="2137174"/>
                </a:cubicBezTo>
                <a:close/>
                <a:moveTo>
                  <a:pt x="10312248" y="2000175"/>
                </a:moveTo>
                <a:cubicBezTo>
                  <a:pt x="10347962" y="2000175"/>
                  <a:pt x="10376914" y="2029127"/>
                  <a:pt x="10376914" y="2064841"/>
                </a:cubicBezTo>
                <a:cubicBezTo>
                  <a:pt x="10376914" y="2100555"/>
                  <a:pt x="10347962" y="2129508"/>
                  <a:pt x="10312248" y="2129508"/>
                </a:cubicBezTo>
                <a:cubicBezTo>
                  <a:pt x="10276534" y="2129508"/>
                  <a:pt x="10247582" y="2100555"/>
                  <a:pt x="10247582" y="2064841"/>
                </a:cubicBezTo>
                <a:cubicBezTo>
                  <a:pt x="10247582" y="2029127"/>
                  <a:pt x="10276534" y="2000175"/>
                  <a:pt x="10312248" y="2000175"/>
                </a:cubicBezTo>
                <a:close/>
                <a:moveTo>
                  <a:pt x="10159588" y="2000175"/>
                </a:moveTo>
                <a:cubicBezTo>
                  <a:pt x="10195302" y="2000175"/>
                  <a:pt x="10224254" y="2029127"/>
                  <a:pt x="10224254" y="2064841"/>
                </a:cubicBezTo>
                <a:cubicBezTo>
                  <a:pt x="10224254" y="2100555"/>
                  <a:pt x="10195302" y="2129508"/>
                  <a:pt x="10159588" y="2129508"/>
                </a:cubicBezTo>
                <a:cubicBezTo>
                  <a:pt x="10123874" y="2129508"/>
                  <a:pt x="10094922" y="2100555"/>
                  <a:pt x="10094922" y="2064841"/>
                </a:cubicBezTo>
                <a:cubicBezTo>
                  <a:pt x="10094922" y="2029127"/>
                  <a:pt x="10123874" y="2000175"/>
                  <a:pt x="10159588" y="2000175"/>
                </a:cubicBezTo>
                <a:close/>
                <a:moveTo>
                  <a:pt x="10003016" y="2000175"/>
                </a:moveTo>
                <a:cubicBezTo>
                  <a:pt x="10038730" y="2000175"/>
                  <a:pt x="10067682" y="2029127"/>
                  <a:pt x="10067682" y="2064841"/>
                </a:cubicBezTo>
                <a:cubicBezTo>
                  <a:pt x="10067682" y="2100555"/>
                  <a:pt x="10038730" y="2129508"/>
                  <a:pt x="10003016" y="2129508"/>
                </a:cubicBezTo>
                <a:cubicBezTo>
                  <a:pt x="9967302" y="2129508"/>
                  <a:pt x="9938350" y="2100555"/>
                  <a:pt x="9938350" y="2064841"/>
                </a:cubicBezTo>
                <a:cubicBezTo>
                  <a:pt x="9938350" y="2029127"/>
                  <a:pt x="9967302" y="2000175"/>
                  <a:pt x="10003016" y="2000175"/>
                </a:cubicBezTo>
                <a:close/>
                <a:moveTo>
                  <a:pt x="9850358" y="2000175"/>
                </a:moveTo>
                <a:cubicBezTo>
                  <a:pt x="9886072" y="2000175"/>
                  <a:pt x="9915024" y="2029127"/>
                  <a:pt x="9915024" y="2064841"/>
                </a:cubicBezTo>
                <a:cubicBezTo>
                  <a:pt x="9915024" y="2100555"/>
                  <a:pt x="9886072" y="2129508"/>
                  <a:pt x="9850358" y="2129508"/>
                </a:cubicBezTo>
                <a:cubicBezTo>
                  <a:pt x="9814644" y="2129508"/>
                  <a:pt x="9785692" y="2100555"/>
                  <a:pt x="9785692" y="2064841"/>
                </a:cubicBezTo>
                <a:cubicBezTo>
                  <a:pt x="9785692" y="2029127"/>
                  <a:pt x="9814644" y="2000175"/>
                  <a:pt x="9850358" y="2000175"/>
                </a:cubicBezTo>
                <a:close/>
                <a:moveTo>
                  <a:pt x="9693783" y="2000175"/>
                </a:moveTo>
                <a:cubicBezTo>
                  <a:pt x="9729497" y="2000175"/>
                  <a:pt x="9758449" y="2029127"/>
                  <a:pt x="9758449" y="2064841"/>
                </a:cubicBezTo>
                <a:cubicBezTo>
                  <a:pt x="9758449" y="2100555"/>
                  <a:pt x="9729497" y="2129508"/>
                  <a:pt x="9693783" y="2129508"/>
                </a:cubicBezTo>
                <a:cubicBezTo>
                  <a:pt x="9658069" y="2129508"/>
                  <a:pt x="9629117" y="2100555"/>
                  <a:pt x="9629117" y="2064841"/>
                </a:cubicBezTo>
                <a:cubicBezTo>
                  <a:pt x="9629117" y="2029127"/>
                  <a:pt x="9658069" y="2000175"/>
                  <a:pt x="9693783" y="2000175"/>
                </a:cubicBezTo>
                <a:close/>
                <a:moveTo>
                  <a:pt x="9541123" y="2000175"/>
                </a:moveTo>
                <a:cubicBezTo>
                  <a:pt x="9576837" y="2000175"/>
                  <a:pt x="9605789" y="2029127"/>
                  <a:pt x="9605789" y="2064841"/>
                </a:cubicBezTo>
                <a:cubicBezTo>
                  <a:pt x="9605789" y="2100555"/>
                  <a:pt x="9576837" y="2129508"/>
                  <a:pt x="9541123" y="2129508"/>
                </a:cubicBezTo>
                <a:cubicBezTo>
                  <a:pt x="9505409" y="2129508"/>
                  <a:pt x="9476457" y="2100555"/>
                  <a:pt x="9476457" y="2064841"/>
                </a:cubicBezTo>
                <a:cubicBezTo>
                  <a:pt x="9476457" y="2029127"/>
                  <a:pt x="9505409" y="2000175"/>
                  <a:pt x="9541123" y="2000175"/>
                </a:cubicBezTo>
                <a:close/>
                <a:moveTo>
                  <a:pt x="9384550" y="2000175"/>
                </a:moveTo>
                <a:cubicBezTo>
                  <a:pt x="9420264" y="2000175"/>
                  <a:pt x="9449216" y="2029127"/>
                  <a:pt x="9449216" y="2064841"/>
                </a:cubicBezTo>
                <a:cubicBezTo>
                  <a:pt x="9449216" y="2100555"/>
                  <a:pt x="9420264" y="2129508"/>
                  <a:pt x="9384550" y="2129508"/>
                </a:cubicBezTo>
                <a:cubicBezTo>
                  <a:pt x="9348836" y="2129508"/>
                  <a:pt x="9319884" y="2100555"/>
                  <a:pt x="9319884" y="2064841"/>
                </a:cubicBezTo>
                <a:cubicBezTo>
                  <a:pt x="9319884" y="2029127"/>
                  <a:pt x="9348836" y="2000175"/>
                  <a:pt x="9384550" y="2000175"/>
                </a:cubicBezTo>
                <a:close/>
                <a:moveTo>
                  <a:pt x="9227977" y="2000175"/>
                </a:moveTo>
                <a:cubicBezTo>
                  <a:pt x="9263691" y="2000175"/>
                  <a:pt x="9292643" y="2029127"/>
                  <a:pt x="9292643" y="2064841"/>
                </a:cubicBezTo>
                <a:cubicBezTo>
                  <a:pt x="9292643" y="2100555"/>
                  <a:pt x="9263691" y="2129508"/>
                  <a:pt x="9227977" y="2129508"/>
                </a:cubicBezTo>
                <a:cubicBezTo>
                  <a:pt x="9192263" y="2129508"/>
                  <a:pt x="9163311" y="2100555"/>
                  <a:pt x="9163311" y="2064841"/>
                </a:cubicBezTo>
                <a:cubicBezTo>
                  <a:pt x="9163311" y="2029127"/>
                  <a:pt x="9192263" y="2000175"/>
                  <a:pt x="9227977" y="2000175"/>
                </a:cubicBezTo>
                <a:close/>
                <a:moveTo>
                  <a:pt x="9075319" y="2000175"/>
                </a:moveTo>
                <a:cubicBezTo>
                  <a:pt x="9111033" y="2000175"/>
                  <a:pt x="9139985" y="2029127"/>
                  <a:pt x="9139985" y="2064841"/>
                </a:cubicBezTo>
                <a:cubicBezTo>
                  <a:pt x="9139985" y="2100555"/>
                  <a:pt x="9111033" y="2129508"/>
                  <a:pt x="9075319" y="2129508"/>
                </a:cubicBezTo>
                <a:cubicBezTo>
                  <a:pt x="9039605" y="2129508"/>
                  <a:pt x="9010653" y="2100555"/>
                  <a:pt x="9010653" y="2064841"/>
                </a:cubicBezTo>
                <a:cubicBezTo>
                  <a:pt x="9010653" y="2029127"/>
                  <a:pt x="9039605" y="2000175"/>
                  <a:pt x="9075319" y="2000175"/>
                </a:cubicBezTo>
                <a:close/>
                <a:moveTo>
                  <a:pt x="8914831" y="2000175"/>
                </a:moveTo>
                <a:cubicBezTo>
                  <a:pt x="8950545" y="2000175"/>
                  <a:pt x="8979497" y="2029127"/>
                  <a:pt x="8979497" y="2064841"/>
                </a:cubicBezTo>
                <a:cubicBezTo>
                  <a:pt x="8979497" y="2100555"/>
                  <a:pt x="8950545" y="2129508"/>
                  <a:pt x="8914831" y="2129508"/>
                </a:cubicBezTo>
                <a:cubicBezTo>
                  <a:pt x="8879117" y="2129508"/>
                  <a:pt x="8850165" y="2100555"/>
                  <a:pt x="8850165" y="2064841"/>
                </a:cubicBezTo>
                <a:cubicBezTo>
                  <a:pt x="8850165" y="2029127"/>
                  <a:pt x="8879117" y="2000175"/>
                  <a:pt x="8914831" y="2000175"/>
                </a:cubicBezTo>
                <a:close/>
                <a:moveTo>
                  <a:pt x="8766086" y="2000175"/>
                </a:moveTo>
                <a:cubicBezTo>
                  <a:pt x="8801800" y="2000175"/>
                  <a:pt x="8830752" y="2029127"/>
                  <a:pt x="8830752" y="2064841"/>
                </a:cubicBezTo>
                <a:cubicBezTo>
                  <a:pt x="8830752" y="2100555"/>
                  <a:pt x="8801800" y="2129508"/>
                  <a:pt x="8766086" y="2129508"/>
                </a:cubicBezTo>
                <a:cubicBezTo>
                  <a:pt x="8730372" y="2129508"/>
                  <a:pt x="8701420" y="2100555"/>
                  <a:pt x="8701420" y="2064841"/>
                </a:cubicBezTo>
                <a:cubicBezTo>
                  <a:pt x="8701420" y="2029127"/>
                  <a:pt x="8730372" y="2000175"/>
                  <a:pt x="8766086" y="2000175"/>
                </a:cubicBezTo>
                <a:close/>
                <a:moveTo>
                  <a:pt x="8601685" y="2000175"/>
                </a:moveTo>
                <a:cubicBezTo>
                  <a:pt x="8637399" y="2000175"/>
                  <a:pt x="8666351" y="2029127"/>
                  <a:pt x="8666351" y="2064841"/>
                </a:cubicBezTo>
                <a:cubicBezTo>
                  <a:pt x="8666351" y="2100555"/>
                  <a:pt x="8637399" y="2129508"/>
                  <a:pt x="8601685" y="2129508"/>
                </a:cubicBezTo>
                <a:cubicBezTo>
                  <a:pt x="8565971" y="2129508"/>
                  <a:pt x="8537019" y="2100555"/>
                  <a:pt x="8537019" y="2064841"/>
                </a:cubicBezTo>
                <a:cubicBezTo>
                  <a:pt x="8537019" y="2029127"/>
                  <a:pt x="8565971" y="2000175"/>
                  <a:pt x="8601685" y="2000175"/>
                </a:cubicBezTo>
                <a:close/>
                <a:moveTo>
                  <a:pt x="8449025" y="2000175"/>
                </a:moveTo>
                <a:cubicBezTo>
                  <a:pt x="8484739" y="2000175"/>
                  <a:pt x="8513691" y="2029127"/>
                  <a:pt x="8513691" y="2064841"/>
                </a:cubicBezTo>
                <a:cubicBezTo>
                  <a:pt x="8513691" y="2100555"/>
                  <a:pt x="8484739" y="2129508"/>
                  <a:pt x="8449025" y="2129508"/>
                </a:cubicBezTo>
                <a:cubicBezTo>
                  <a:pt x="8413311" y="2129508"/>
                  <a:pt x="8384359" y="2100555"/>
                  <a:pt x="8384359" y="2064841"/>
                </a:cubicBezTo>
                <a:cubicBezTo>
                  <a:pt x="8384359" y="2029127"/>
                  <a:pt x="8413311" y="2000175"/>
                  <a:pt x="8449025" y="2000175"/>
                </a:cubicBezTo>
                <a:close/>
                <a:moveTo>
                  <a:pt x="8296368" y="2000175"/>
                </a:moveTo>
                <a:cubicBezTo>
                  <a:pt x="8332082" y="2000175"/>
                  <a:pt x="8361034" y="2029127"/>
                  <a:pt x="8361034" y="2064841"/>
                </a:cubicBezTo>
                <a:cubicBezTo>
                  <a:pt x="8361034" y="2100555"/>
                  <a:pt x="8332082" y="2129508"/>
                  <a:pt x="8296368" y="2129508"/>
                </a:cubicBezTo>
                <a:cubicBezTo>
                  <a:pt x="8260654" y="2129508"/>
                  <a:pt x="8231702" y="2100555"/>
                  <a:pt x="8231702" y="2064841"/>
                </a:cubicBezTo>
                <a:cubicBezTo>
                  <a:pt x="8231702" y="2029127"/>
                  <a:pt x="8260654" y="2000175"/>
                  <a:pt x="8296368" y="2000175"/>
                </a:cubicBezTo>
                <a:close/>
                <a:moveTo>
                  <a:pt x="8139793" y="2000175"/>
                </a:moveTo>
                <a:cubicBezTo>
                  <a:pt x="8175507" y="2000175"/>
                  <a:pt x="8204459" y="2029127"/>
                  <a:pt x="8204459" y="2064841"/>
                </a:cubicBezTo>
                <a:cubicBezTo>
                  <a:pt x="8204459" y="2100555"/>
                  <a:pt x="8175507" y="2129508"/>
                  <a:pt x="8139793" y="2129508"/>
                </a:cubicBezTo>
                <a:cubicBezTo>
                  <a:pt x="8104079" y="2129508"/>
                  <a:pt x="8075127" y="2100555"/>
                  <a:pt x="8075127" y="2064841"/>
                </a:cubicBezTo>
                <a:cubicBezTo>
                  <a:pt x="8075127" y="2029127"/>
                  <a:pt x="8104079" y="2000175"/>
                  <a:pt x="8139793" y="2000175"/>
                </a:cubicBezTo>
                <a:close/>
                <a:moveTo>
                  <a:pt x="7987133" y="2000175"/>
                </a:moveTo>
                <a:cubicBezTo>
                  <a:pt x="8022847" y="2000175"/>
                  <a:pt x="8051799" y="2029127"/>
                  <a:pt x="8051799" y="2064841"/>
                </a:cubicBezTo>
                <a:cubicBezTo>
                  <a:pt x="8051799" y="2100555"/>
                  <a:pt x="8022847" y="2129508"/>
                  <a:pt x="7987133" y="2129508"/>
                </a:cubicBezTo>
                <a:cubicBezTo>
                  <a:pt x="7951419" y="2129508"/>
                  <a:pt x="7922467" y="2100555"/>
                  <a:pt x="7922467" y="2064841"/>
                </a:cubicBezTo>
                <a:cubicBezTo>
                  <a:pt x="7922467" y="2029127"/>
                  <a:pt x="7951419" y="2000175"/>
                  <a:pt x="7987133" y="2000175"/>
                </a:cubicBezTo>
                <a:close/>
                <a:moveTo>
                  <a:pt x="7830562" y="2000175"/>
                </a:moveTo>
                <a:cubicBezTo>
                  <a:pt x="7866276" y="2000175"/>
                  <a:pt x="7895228" y="2029127"/>
                  <a:pt x="7895228" y="2064841"/>
                </a:cubicBezTo>
                <a:cubicBezTo>
                  <a:pt x="7895228" y="2100555"/>
                  <a:pt x="7866276" y="2129508"/>
                  <a:pt x="7830562" y="2129508"/>
                </a:cubicBezTo>
                <a:cubicBezTo>
                  <a:pt x="7794848" y="2129508"/>
                  <a:pt x="7765896" y="2100555"/>
                  <a:pt x="7765896" y="2064841"/>
                </a:cubicBezTo>
                <a:cubicBezTo>
                  <a:pt x="7765896" y="2029127"/>
                  <a:pt x="7794848" y="2000175"/>
                  <a:pt x="7830562" y="2000175"/>
                </a:cubicBezTo>
                <a:close/>
                <a:moveTo>
                  <a:pt x="7677904" y="2000175"/>
                </a:moveTo>
                <a:cubicBezTo>
                  <a:pt x="7713618" y="2000175"/>
                  <a:pt x="7742570" y="2029127"/>
                  <a:pt x="7742570" y="2064841"/>
                </a:cubicBezTo>
                <a:cubicBezTo>
                  <a:pt x="7742570" y="2100555"/>
                  <a:pt x="7713618" y="2129508"/>
                  <a:pt x="7677904" y="2129508"/>
                </a:cubicBezTo>
                <a:cubicBezTo>
                  <a:pt x="7642190" y="2129508"/>
                  <a:pt x="7613238" y="2100555"/>
                  <a:pt x="7613238" y="2064841"/>
                </a:cubicBezTo>
                <a:cubicBezTo>
                  <a:pt x="7613238" y="2029127"/>
                  <a:pt x="7642190" y="2000175"/>
                  <a:pt x="7677904" y="2000175"/>
                </a:cubicBezTo>
                <a:close/>
                <a:moveTo>
                  <a:pt x="7521331" y="2000175"/>
                </a:moveTo>
                <a:cubicBezTo>
                  <a:pt x="7557045" y="2000175"/>
                  <a:pt x="7585997" y="2029127"/>
                  <a:pt x="7585997" y="2064841"/>
                </a:cubicBezTo>
                <a:cubicBezTo>
                  <a:pt x="7585997" y="2100555"/>
                  <a:pt x="7557045" y="2129508"/>
                  <a:pt x="7521331" y="2129508"/>
                </a:cubicBezTo>
                <a:cubicBezTo>
                  <a:pt x="7485617" y="2129508"/>
                  <a:pt x="7456665" y="2100555"/>
                  <a:pt x="7456665" y="2064841"/>
                </a:cubicBezTo>
                <a:cubicBezTo>
                  <a:pt x="7456665" y="2029127"/>
                  <a:pt x="7485617" y="2000175"/>
                  <a:pt x="7521331" y="2000175"/>
                </a:cubicBezTo>
                <a:close/>
                <a:moveTo>
                  <a:pt x="7368669" y="2000175"/>
                </a:moveTo>
                <a:cubicBezTo>
                  <a:pt x="7404383" y="2000175"/>
                  <a:pt x="7433335" y="2029127"/>
                  <a:pt x="7433335" y="2064841"/>
                </a:cubicBezTo>
                <a:cubicBezTo>
                  <a:pt x="7433335" y="2100555"/>
                  <a:pt x="7404383" y="2129508"/>
                  <a:pt x="7368669" y="2129508"/>
                </a:cubicBezTo>
                <a:cubicBezTo>
                  <a:pt x="7332955" y="2129508"/>
                  <a:pt x="7304003" y="2100555"/>
                  <a:pt x="7304003" y="2064841"/>
                </a:cubicBezTo>
                <a:cubicBezTo>
                  <a:pt x="7304003" y="2029127"/>
                  <a:pt x="7332955" y="2000175"/>
                  <a:pt x="7368669" y="2000175"/>
                </a:cubicBezTo>
                <a:close/>
                <a:moveTo>
                  <a:pt x="7212096" y="2000175"/>
                </a:moveTo>
                <a:cubicBezTo>
                  <a:pt x="7247810" y="2000175"/>
                  <a:pt x="7276762" y="2029127"/>
                  <a:pt x="7276762" y="2064841"/>
                </a:cubicBezTo>
                <a:cubicBezTo>
                  <a:pt x="7276762" y="2100555"/>
                  <a:pt x="7247810" y="2129508"/>
                  <a:pt x="7212096" y="2129508"/>
                </a:cubicBezTo>
                <a:cubicBezTo>
                  <a:pt x="7176382" y="2129508"/>
                  <a:pt x="7147430" y="2100555"/>
                  <a:pt x="7147430" y="2064841"/>
                </a:cubicBezTo>
                <a:cubicBezTo>
                  <a:pt x="7147430" y="2029127"/>
                  <a:pt x="7176382" y="2000175"/>
                  <a:pt x="7212096" y="2000175"/>
                </a:cubicBezTo>
                <a:close/>
                <a:moveTo>
                  <a:pt x="7055523" y="2000175"/>
                </a:moveTo>
                <a:cubicBezTo>
                  <a:pt x="7091237" y="2000175"/>
                  <a:pt x="7120189" y="2029127"/>
                  <a:pt x="7120189" y="2064841"/>
                </a:cubicBezTo>
                <a:cubicBezTo>
                  <a:pt x="7120189" y="2100555"/>
                  <a:pt x="7091237" y="2129508"/>
                  <a:pt x="7055523" y="2129508"/>
                </a:cubicBezTo>
                <a:cubicBezTo>
                  <a:pt x="7019809" y="2129508"/>
                  <a:pt x="6990857" y="2100555"/>
                  <a:pt x="6990857" y="2064841"/>
                </a:cubicBezTo>
                <a:cubicBezTo>
                  <a:pt x="6990857" y="2029127"/>
                  <a:pt x="7019809" y="2000175"/>
                  <a:pt x="7055523" y="2000175"/>
                </a:cubicBezTo>
                <a:close/>
                <a:moveTo>
                  <a:pt x="6895037" y="2000175"/>
                </a:moveTo>
                <a:cubicBezTo>
                  <a:pt x="6930751" y="2000175"/>
                  <a:pt x="6959703" y="2029127"/>
                  <a:pt x="6959703" y="2064841"/>
                </a:cubicBezTo>
                <a:cubicBezTo>
                  <a:pt x="6959703" y="2100555"/>
                  <a:pt x="6930751" y="2129508"/>
                  <a:pt x="6895037" y="2129508"/>
                </a:cubicBezTo>
                <a:cubicBezTo>
                  <a:pt x="6859323" y="2129508"/>
                  <a:pt x="6830371" y="2100555"/>
                  <a:pt x="6830371" y="2064841"/>
                </a:cubicBezTo>
                <a:cubicBezTo>
                  <a:pt x="6830371" y="2029127"/>
                  <a:pt x="6859323" y="2000175"/>
                  <a:pt x="6895037" y="2000175"/>
                </a:cubicBezTo>
                <a:close/>
                <a:moveTo>
                  <a:pt x="6742377" y="2000175"/>
                </a:moveTo>
                <a:cubicBezTo>
                  <a:pt x="6778091" y="2000175"/>
                  <a:pt x="6807043" y="2029127"/>
                  <a:pt x="6807043" y="2064841"/>
                </a:cubicBezTo>
                <a:cubicBezTo>
                  <a:pt x="6807043" y="2100555"/>
                  <a:pt x="6778091" y="2129508"/>
                  <a:pt x="6742377" y="2129508"/>
                </a:cubicBezTo>
                <a:cubicBezTo>
                  <a:pt x="6706663" y="2129508"/>
                  <a:pt x="6677711" y="2100555"/>
                  <a:pt x="6677711" y="2064841"/>
                </a:cubicBezTo>
                <a:cubicBezTo>
                  <a:pt x="6677711" y="2029127"/>
                  <a:pt x="6706663" y="2000175"/>
                  <a:pt x="6742377" y="2000175"/>
                </a:cubicBezTo>
                <a:close/>
                <a:moveTo>
                  <a:pt x="6585804" y="2000175"/>
                </a:moveTo>
                <a:cubicBezTo>
                  <a:pt x="6621518" y="2000175"/>
                  <a:pt x="6650470" y="2029127"/>
                  <a:pt x="6650470" y="2064841"/>
                </a:cubicBezTo>
                <a:cubicBezTo>
                  <a:pt x="6650470" y="2100555"/>
                  <a:pt x="6621518" y="2129508"/>
                  <a:pt x="6585804" y="2129508"/>
                </a:cubicBezTo>
                <a:cubicBezTo>
                  <a:pt x="6550090" y="2129508"/>
                  <a:pt x="6521138" y="2100555"/>
                  <a:pt x="6521138" y="2064841"/>
                </a:cubicBezTo>
                <a:cubicBezTo>
                  <a:pt x="6521138" y="2029127"/>
                  <a:pt x="6550090" y="2000175"/>
                  <a:pt x="6585804" y="2000175"/>
                </a:cubicBezTo>
                <a:close/>
                <a:moveTo>
                  <a:pt x="6429231" y="2000175"/>
                </a:moveTo>
                <a:cubicBezTo>
                  <a:pt x="6464945" y="2000175"/>
                  <a:pt x="6493897" y="2029127"/>
                  <a:pt x="6493897" y="2064841"/>
                </a:cubicBezTo>
                <a:cubicBezTo>
                  <a:pt x="6493897" y="2100555"/>
                  <a:pt x="6464945" y="2129508"/>
                  <a:pt x="6429231" y="2129508"/>
                </a:cubicBezTo>
                <a:cubicBezTo>
                  <a:pt x="6393517" y="2129508"/>
                  <a:pt x="6364565" y="2100555"/>
                  <a:pt x="6364565" y="2064841"/>
                </a:cubicBezTo>
                <a:cubicBezTo>
                  <a:pt x="6364565" y="2029127"/>
                  <a:pt x="6393517" y="2000175"/>
                  <a:pt x="6429231" y="2000175"/>
                </a:cubicBezTo>
                <a:close/>
                <a:moveTo>
                  <a:pt x="6276571" y="2000175"/>
                </a:moveTo>
                <a:cubicBezTo>
                  <a:pt x="6312285" y="2000175"/>
                  <a:pt x="6341237" y="2029127"/>
                  <a:pt x="6341237" y="2064841"/>
                </a:cubicBezTo>
                <a:cubicBezTo>
                  <a:pt x="6341237" y="2100555"/>
                  <a:pt x="6312285" y="2129508"/>
                  <a:pt x="6276571" y="2129508"/>
                </a:cubicBezTo>
                <a:cubicBezTo>
                  <a:pt x="6240857" y="2129508"/>
                  <a:pt x="6211905" y="2100555"/>
                  <a:pt x="6211905" y="2064841"/>
                </a:cubicBezTo>
                <a:cubicBezTo>
                  <a:pt x="6211905" y="2029127"/>
                  <a:pt x="6240857" y="2000175"/>
                  <a:pt x="6276571" y="2000175"/>
                </a:cubicBezTo>
                <a:close/>
                <a:moveTo>
                  <a:pt x="6119999" y="2000175"/>
                </a:moveTo>
                <a:cubicBezTo>
                  <a:pt x="6155713" y="2000175"/>
                  <a:pt x="6184665" y="2029127"/>
                  <a:pt x="6184665" y="2064841"/>
                </a:cubicBezTo>
                <a:cubicBezTo>
                  <a:pt x="6184665" y="2100555"/>
                  <a:pt x="6155713" y="2129508"/>
                  <a:pt x="6119999" y="2129508"/>
                </a:cubicBezTo>
                <a:cubicBezTo>
                  <a:pt x="6084285" y="2129508"/>
                  <a:pt x="6055333" y="2100555"/>
                  <a:pt x="6055333" y="2064841"/>
                </a:cubicBezTo>
                <a:cubicBezTo>
                  <a:pt x="6055333" y="2029127"/>
                  <a:pt x="6084285" y="2000175"/>
                  <a:pt x="6119999" y="2000175"/>
                </a:cubicBezTo>
                <a:close/>
                <a:moveTo>
                  <a:pt x="5967339" y="2000175"/>
                </a:moveTo>
                <a:cubicBezTo>
                  <a:pt x="6003053" y="2000175"/>
                  <a:pt x="6032005" y="2029127"/>
                  <a:pt x="6032005" y="2064841"/>
                </a:cubicBezTo>
                <a:cubicBezTo>
                  <a:pt x="6032005" y="2100555"/>
                  <a:pt x="6003053" y="2129508"/>
                  <a:pt x="5967339" y="2129508"/>
                </a:cubicBezTo>
                <a:cubicBezTo>
                  <a:pt x="5931625" y="2129508"/>
                  <a:pt x="5902673" y="2100555"/>
                  <a:pt x="5902673" y="2064841"/>
                </a:cubicBezTo>
                <a:cubicBezTo>
                  <a:pt x="5902673" y="2029127"/>
                  <a:pt x="5931625" y="2000175"/>
                  <a:pt x="5967339" y="2000175"/>
                </a:cubicBezTo>
                <a:close/>
                <a:moveTo>
                  <a:pt x="5810796" y="2000175"/>
                </a:moveTo>
                <a:cubicBezTo>
                  <a:pt x="5846480" y="2000175"/>
                  <a:pt x="5875432" y="2029127"/>
                  <a:pt x="5875432" y="2064841"/>
                </a:cubicBezTo>
                <a:cubicBezTo>
                  <a:pt x="5875432" y="2100555"/>
                  <a:pt x="5846480" y="2129508"/>
                  <a:pt x="5810796" y="2129508"/>
                </a:cubicBezTo>
                <a:cubicBezTo>
                  <a:pt x="5775075" y="2129508"/>
                  <a:pt x="5746114" y="2100555"/>
                  <a:pt x="5746114" y="2064841"/>
                </a:cubicBezTo>
                <a:cubicBezTo>
                  <a:pt x="5746114" y="2029127"/>
                  <a:pt x="5775075" y="2000175"/>
                  <a:pt x="5810796" y="2000175"/>
                </a:cubicBezTo>
                <a:close/>
                <a:moveTo>
                  <a:pt x="5658111" y="2000175"/>
                </a:moveTo>
                <a:cubicBezTo>
                  <a:pt x="5693825" y="2000175"/>
                  <a:pt x="5722783" y="2029127"/>
                  <a:pt x="5722783" y="2064841"/>
                </a:cubicBezTo>
                <a:cubicBezTo>
                  <a:pt x="5722783" y="2100555"/>
                  <a:pt x="5693825" y="2129508"/>
                  <a:pt x="5658111" y="2129508"/>
                </a:cubicBezTo>
                <a:cubicBezTo>
                  <a:pt x="5622398" y="2129508"/>
                  <a:pt x="5593443" y="2100555"/>
                  <a:pt x="5593443" y="2064841"/>
                </a:cubicBezTo>
                <a:cubicBezTo>
                  <a:pt x="5593443" y="2029127"/>
                  <a:pt x="5622398" y="2000175"/>
                  <a:pt x="5658111" y="2000175"/>
                </a:cubicBezTo>
                <a:close/>
                <a:moveTo>
                  <a:pt x="5501543" y="2000175"/>
                </a:moveTo>
                <a:cubicBezTo>
                  <a:pt x="5537254" y="2000175"/>
                  <a:pt x="5566204" y="2029127"/>
                  <a:pt x="5566204" y="2064841"/>
                </a:cubicBezTo>
                <a:cubicBezTo>
                  <a:pt x="5566204" y="2100555"/>
                  <a:pt x="5537254" y="2129508"/>
                  <a:pt x="5501543" y="2129508"/>
                </a:cubicBezTo>
                <a:cubicBezTo>
                  <a:pt x="5465827" y="2129508"/>
                  <a:pt x="5436884" y="2100555"/>
                  <a:pt x="5436884" y="2064841"/>
                </a:cubicBezTo>
                <a:cubicBezTo>
                  <a:pt x="5436884" y="2029127"/>
                  <a:pt x="5465827" y="2000175"/>
                  <a:pt x="5501543" y="2000175"/>
                </a:cubicBezTo>
                <a:close/>
                <a:moveTo>
                  <a:pt x="3630587" y="2000175"/>
                </a:moveTo>
                <a:cubicBezTo>
                  <a:pt x="3666298" y="2000175"/>
                  <a:pt x="3695253" y="2029127"/>
                  <a:pt x="3695253" y="2064841"/>
                </a:cubicBezTo>
                <a:cubicBezTo>
                  <a:pt x="3695253" y="2100555"/>
                  <a:pt x="3666298" y="2129508"/>
                  <a:pt x="3630587" y="2129508"/>
                </a:cubicBezTo>
                <a:cubicBezTo>
                  <a:pt x="3594864" y="2129508"/>
                  <a:pt x="3565911" y="2100555"/>
                  <a:pt x="3565911" y="2064841"/>
                </a:cubicBezTo>
                <a:cubicBezTo>
                  <a:pt x="3565911" y="2029127"/>
                  <a:pt x="3594864" y="2000175"/>
                  <a:pt x="3630587" y="2000175"/>
                </a:cubicBezTo>
                <a:close/>
                <a:moveTo>
                  <a:pt x="3481836" y="2000175"/>
                </a:moveTo>
                <a:cubicBezTo>
                  <a:pt x="3517551" y="2000175"/>
                  <a:pt x="3546503" y="2029127"/>
                  <a:pt x="3546503" y="2064841"/>
                </a:cubicBezTo>
                <a:cubicBezTo>
                  <a:pt x="3546503" y="2100555"/>
                  <a:pt x="3517551" y="2129508"/>
                  <a:pt x="3481836" y="2129508"/>
                </a:cubicBezTo>
                <a:cubicBezTo>
                  <a:pt x="3446127" y="2129508"/>
                  <a:pt x="3417179" y="2100555"/>
                  <a:pt x="3417179" y="2064841"/>
                </a:cubicBezTo>
                <a:cubicBezTo>
                  <a:pt x="3417179" y="2029127"/>
                  <a:pt x="3446127" y="2000175"/>
                  <a:pt x="3481836" y="2000175"/>
                </a:cubicBezTo>
                <a:close/>
                <a:moveTo>
                  <a:pt x="3321368" y="2000175"/>
                </a:moveTo>
                <a:cubicBezTo>
                  <a:pt x="3357073" y="2000175"/>
                  <a:pt x="3386016" y="2029127"/>
                  <a:pt x="3386016" y="2064841"/>
                </a:cubicBezTo>
                <a:cubicBezTo>
                  <a:pt x="3386016" y="2100555"/>
                  <a:pt x="3357073" y="2129508"/>
                  <a:pt x="3321368" y="2129508"/>
                </a:cubicBezTo>
                <a:cubicBezTo>
                  <a:pt x="3285647" y="2129508"/>
                  <a:pt x="3256702" y="2100555"/>
                  <a:pt x="3256702" y="2064841"/>
                </a:cubicBezTo>
                <a:cubicBezTo>
                  <a:pt x="3256702" y="2029127"/>
                  <a:pt x="3285647" y="2000175"/>
                  <a:pt x="3321368" y="2000175"/>
                </a:cubicBezTo>
                <a:close/>
                <a:moveTo>
                  <a:pt x="3172613" y="2000175"/>
                </a:moveTo>
                <a:cubicBezTo>
                  <a:pt x="3208335" y="2000175"/>
                  <a:pt x="3237285" y="2029127"/>
                  <a:pt x="3237285" y="2064841"/>
                </a:cubicBezTo>
                <a:cubicBezTo>
                  <a:pt x="3237285" y="2100555"/>
                  <a:pt x="3208335" y="2129508"/>
                  <a:pt x="3172613" y="2129508"/>
                </a:cubicBezTo>
                <a:cubicBezTo>
                  <a:pt x="3136891" y="2129508"/>
                  <a:pt x="3107933" y="2100555"/>
                  <a:pt x="3107933" y="2064841"/>
                </a:cubicBezTo>
                <a:cubicBezTo>
                  <a:pt x="3107933" y="2029127"/>
                  <a:pt x="3136891" y="2000175"/>
                  <a:pt x="3172613" y="2000175"/>
                </a:cubicBezTo>
                <a:close/>
                <a:moveTo>
                  <a:pt x="3012103" y="2000175"/>
                </a:moveTo>
                <a:cubicBezTo>
                  <a:pt x="3047814" y="2000175"/>
                  <a:pt x="3076772" y="2029127"/>
                  <a:pt x="3076772" y="2064841"/>
                </a:cubicBezTo>
                <a:cubicBezTo>
                  <a:pt x="3076772" y="2100555"/>
                  <a:pt x="3047814" y="2129508"/>
                  <a:pt x="3012103" y="2129508"/>
                </a:cubicBezTo>
                <a:cubicBezTo>
                  <a:pt x="2976393" y="2129508"/>
                  <a:pt x="2947444" y="2100555"/>
                  <a:pt x="2947444" y="2064841"/>
                </a:cubicBezTo>
                <a:cubicBezTo>
                  <a:pt x="2947444" y="2029127"/>
                  <a:pt x="2976393" y="2000175"/>
                  <a:pt x="3012103" y="2000175"/>
                </a:cubicBezTo>
                <a:close/>
                <a:moveTo>
                  <a:pt x="2855546" y="2000175"/>
                </a:moveTo>
                <a:cubicBezTo>
                  <a:pt x="2891256" y="2000175"/>
                  <a:pt x="2920205" y="2029127"/>
                  <a:pt x="2920205" y="2064841"/>
                </a:cubicBezTo>
                <a:cubicBezTo>
                  <a:pt x="2920205" y="2100555"/>
                  <a:pt x="2891256" y="2129508"/>
                  <a:pt x="2855546" y="2129508"/>
                </a:cubicBezTo>
                <a:cubicBezTo>
                  <a:pt x="2819837" y="2129508"/>
                  <a:pt x="2790888" y="2100555"/>
                  <a:pt x="2790888" y="2064841"/>
                </a:cubicBezTo>
                <a:cubicBezTo>
                  <a:pt x="2790888" y="2029127"/>
                  <a:pt x="2819837" y="2000175"/>
                  <a:pt x="2855546" y="2000175"/>
                </a:cubicBezTo>
                <a:close/>
                <a:moveTo>
                  <a:pt x="2698992" y="2000175"/>
                </a:moveTo>
                <a:cubicBezTo>
                  <a:pt x="2734702" y="2000175"/>
                  <a:pt x="2763651" y="2029127"/>
                  <a:pt x="2763651" y="2064841"/>
                </a:cubicBezTo>
                <a:cubicBezTo>
                  <a:pt x="2763651" y="2100555"/>
                  <a:pt x="2734702" y="2129508"/>
                  <a:pt x="2698992" y="2129508"/>
                </a:cubicBezTo>
                <a:cubicBezTo>
                  <a:pt x="2663283" y="2129508"/>
                  <a:pt x="2634334" y="2100555"/>
                  <a:pt x="2634334" y="2064841"/>
                </a:cubicBezTo>
                <a:cubicBezTo>
                  <a:pt x="2634334" y="2029127"/>
                  <a:pt x="2663283" y="2000175"/>
                  <a:pt x="2698992" y="2000175"/>
                </a:cubicBezTo>
                <a:close/>
                <a:moveTo>
                  <a:pt x="2546352" y="2000175"/>
                </a:moveTo>
                <a:cubicBezTo>
                  <a:pt x="2582062" y="2000175"/>
                  <a:pt x="2611012" y="2029127"/>
                  <a:pt x="2611012" y="2064841"/>
                </a:cubicBezTo>
                <a:cubicBezTo>
                  <a:pt x="2611012" y="2100555"/>
                  <a:pt x="2582062" y="2129508"/>
                  <a:pt x="2546352" y="2129508"/>
                </a:cubicBezTo>
                <a:cubicBezTo>
                  <a:pt x="2510631" y="2129508"/>
                  <a:pt x="2481692" y="2100555"/>
                  <a:pt x="2481692" y="2064841"/>
                </a:cubicBezTo>
                <a:cubicBezTo>
                  <a:pt x="2481692" y="2029127"/>
                  <a:pt x="2510631" y="2000175"/>
                  <a:pt x="2546352" y="2000175"/>
                </a:cubicBezTo>
                <a:close/>
                <a:moveTo>
                  <a:pt x="2389761" y="2000175"/>
                </a:moveTo>
                <a:cubicBezTo>
                  <a:pt x="2425505" y="2000175"/>
                  <a:pt x="2454456" y="2029127"/>
                  <a:pt x="2454456" y="2064841"/>
                </a:cubicBezTo>
                <a:cubicBezTo>
                  <a:pt x="2454456" y="2100555"/>
                  <a:pt x="2425505" y="2129508"/>
                  <a:pt x="2389761" y="2129508"/>
                </a:cubicBezTo>
                <a:cubicBezTo>
                  <a:pt x="2354076" y="2129508"/>
                  <a:pt x="2325118" y="2100555"/>
                  <a:pt x="2325118" y="2064841"/>
                </a:cubicBezTo>
                <a:cubicBezTo>
                  <a:pt x="2325118" y="2029127"/>
                  <a:pt x="2354076" y="2000175"/>
                  <a:pt x="2389761" y="2000175"/>
                </a:cubicBezTo>
                <a:close/>
                <a:moveTo>
                  <a:pt x="2237104" y="2000175"/>
                </a:moveTo>
                <a:cubicBezTo>
                  <a:pt x="2272826" y="2000175"/>
                  <a:pt x="2301785" y="2029127"/>
                  <a:pt x="2301785" y="2064841"/>
                </a:cubicBezTo>
                <a:cubicBezTo>
                  <a:pt x="2301785" y="2100555"/>
                  <a:pt x="2272826" y="2129508"/>
                  <a:pt x="2237104" y="2129508"/>
                </a:cubicBezTo>
                <a:cubicBezTo>
                  <a:pt x="2201381" y="2129508"/>
                  <a:pt x="2172423" y="2100555"/>
                  <a:pt x="2172423" y="2064841"/>
                </a:cubicBezTo>
                <a:cubicBezTo>
                  <a:pt x="2172423" y="2029127"/>
                  <a:pt x="2201381" y="2000175"/>
                  <a:pt x="2237104" y="2000175"/>
                </a:cubicBezTo>
                <a:close/>
                <a:moveTo>
                  <a:pt x="2084427" y="2000175"/>
                </a:moveTo>
                <a:cubicBezTo>
                  <a:pt x="2120140" y="2000175"/>
                  <a:pt x="2149089" y="2029127"/>
                  <a:pt x="2149089" y="2064841"/>
                </a:cubicBezTo>
                <a:cubicBezTo>
                  <a:pt x="2149089" y="2100555"/>
                  <a:pt x="2120140" y="2129508"/>
                  <a:pt x="2084427" y="2129508"/>
                </a:cubicBezTo>
                <a:cubicBezTo>
                  <a:pt x="2048700" y="2129508"/>
                  <a:pt x="2019780" y="2100555"/>
                  <a:pt x="2019780" y="2064841"/>
                </a:cubicBezTo>
                <a:cubicBezTo>
                  <a:pt x="2019780" y="2029127"/>
                  <a:pt x="2048700" y="2000175"/>
                  <a:pt x="2084427" y="2000175"/>
                </a:cubicBezTo>
                <a:close/>
                <a:moveTo>
                  <a:pt x="1927843" y="2000175"/>
                </a:moveTo>
                <a:cubicBezTo>
                  <a:pt x="1963566" y="2000175"/>
                  <a:pt x="1992527" y="2029127"/>
                  <a:pt x="1992527" y="2064841"/>
                </a:cubicBezTo>
                <a:cubicBezTo>
                  <a:pt x="1992527" y="2100555"/>
                  <a:pt x="1963566" y="2129508"/>
                  <a:pt x="1927843" y="2129508"/>
                </a:cubicBezTo>
                <a:cubicBezTo>
                  <a:pt x="1892154" y="2129508"/>
                  <a:pt x="1863202" y="2100555"/>
                  <a:pt x="1863202" y="2064841"/>
                </a:cubicBezTo>
                <a:cubicBezTo>
                  <a:pt x="1863202" y="2029127"/>
                  <a:pt x="1892154" y="2000175"/>
                  <a:pt x="1927843" y="2000175"/>
                </a:cubicBezTo>
                <a:close/>
                <a:moveTo>
                  <a:pt x="1775193" y="2000175"/>
                </a:moveTo>
                <a:cubicBezTo>
                  <a:pt x="1810899" y="2000175"/>
                  <a:pt x="1839873" y="2029127"/>
                  <a:pt x="1839873" y="2064841"/>
                </a:cubicBezTo>
                <a:cubicBezTo>
                  <a:pt x="1839873" y="2100555"/>
                  <a:pt x="1810899" y="2129508"/>
                  <a:pt x="1775193" y="2129508"/>
                </a:cubicBezTo>
                <a:cubicBezTo>
                  <a:pt x="1739472" y="2129508"/>
                  <a:pt x="1710523" y="2100555"/>
                  <a:pt x="1710523" y="2064841"/>
                </a:cubicBezTo>
                <a:cubicBezTo>
                  <a:pt x="1710523" y="2029127"/>
                  <a:pt x="1739472" y="2000175"/>
                  <a:pt x="1775193" y="2000175"/>
                </a:cubicBezTo>
                <a:close/>
                <a:moveTo>
                  <a:pt x="1618612" y="2000175"/>
                </a:moveTo>
                <a:cubicBezTo>
                  <a:pt x="1654331" y="2000175"/>
                  <a:pt x="1683281" y="2029127"/>
                  <a:pt x="1683281" y="2064841"/>
                </a:cubicBezTo>
                <a:cubicBezTo>
                  <a:pt x="1683281" y="2100555"/>
                  <a:pt x="1654331" y="2129508"/>
                  <a:pt x="1618612" y="2129508"/>
                </a:cubicBezTo>
                <a:cubicBezTo>
                  <a:pt x="1582901" y="2129508"/>
                  <a:pt x="1553949" y="2100555"/>
                  <a:pt x="1553949" y="2064841"/>
                </a:cubicBezTo>
                <a:cubicBezTo>
                  <a:pt x="1553949" y="2029127"/>
                  <a:pt x="1582901" y="2000175"/>
                  <a:pt x="1618612" y="2000175"/>
                </a:cubicBezTo>
                <a:close/>
                <a:moveTo>
                  <a:pt x="1465954" y="2000175"/>
                </a:moveTo>
                <a:cubicBezTo>
                  <a:pt x="1501667" y="2000175"/>
                  <a:pt x="1530620" y="2029127"/>
                  <a:pt x="1530620" y="2064841"/>
                </a:cubicBezTo>
                <a:cubicBezTo>
                  <a:pt x="1530620" y="2100555"/>
                  <a:pt x="1501667" y="2129508"/>
                  <a:pt x="1465954" y="2129508"/>
                </a:cubicBezTo>
                <a:cubicBezTo>
                  <a:pt x="1430241" y="2129508"/>
                  <a:pt x="1401290" y="2100555"/>
                  <a:pt x="1401290" y="2064841"/>
                </a:cubicBezTo>
                <a:cubicBezTo>
                  <a:pt x="1401290" y="2029127"/>
                  <a:pt x="1430241" y="2000175"/>
                  <a:pt x="1465954" y="2000175"/>
                </a:cubicBezTo>
                <a:close/>
                <a:moveTo>
                  <a:pt x="2237112" y="1851452"/>
                </a:moveTo>
                <a:cubicBezTo>
                  <a:pt x="2272835" y="1851452"/>
                  <a:pt x="2301794" y="1880404"/>
                  <a:pt x="2301794" y="1916117"/>
                </a:cubicBezTo>
                <a:cubicBezTo>
                  <a:pt x="2301794" y="1951831"/>
                  <a:pt x="2272835" y="1980764"/>
                  <a:pt x="2237112" y="1980764"/>
                </a:cubicBezTo>
                <a:cubicBezTo>
                  <a:pt x="2201389" y="1980764"/>
                  <a:pt x="2172429" y="1951831"/>
                  <a:pt x="2172429" y="1916117"/>
                </a:cubicBezTo>
                <a:cubicBezTo>
                  <a:pt x="2172429" y="1880404"/>
                  <a:pt x="2201389" y="1851452"/>
                  <a:pt x="2237112" y="1851452"/>
                </a:cubicBezTo>
                <a:close/>
                <a:moveTo>
                  <a:pt x="2084431" y="1851452"/>
                </a:moveTo>
                <a:cubicBezTo>
                  <a:pt x="2120147" y="1851452"/>
                  <a:pt x="2149096" y="1880404"/>
                  <a:pt x="2149096" y="1916117"/>
                </a:cubicBezTo>
                <a:cubicBezTo>
                  <a:pt x="2149096" y="1951831"/>
                  <a:pt x="2120147" y="1980764"/>
                  <a:pt x="2084431" y="1980764"/>
                </a:cubicBezTo>
                <a:cubicBezTo>
                  <a:pt x="2048705" y="1980764"/>
                  <a:pt x="2019789" y="1951831"/>
                  <a:pt x="2019789" y="1916117"/>
                </a:cubicBezTo>
                <a:cubicBezTo>
                  <a:pt x="2019789" y="1880404"/>
                  <a:pt x="2048705" y="1851452"/>
                  <a:pt x="2084431" y="1851452"/>
                </a:cubicBezTo>
                <a:close/>
                <a:moveTo>
                  <a:pt x="1927843" y="1851452"/>
                </a:moveTo>
                <a:cubicBezTo>
                  <a:pt x="1963566" y="1851452"/>
                  <a:pt x="1992535" y="1880404"/>
                  <a:pt x="1992535" y="1916117"/>
                </a:cubicBezTo>
                <a:cubicBezTo>
                  <a:pt x="1992535" y="1951831"/>
                  <a:pt x="1963566" y="1980764"/>
                  <a:pt x="1927843" y="1980764"/>
                </a:cubicBezTo>
                <a:cubicBezTo>
                  <a:pt x="1892164" y="1980764"/>
                  <a:pt x="1863210" y="1951831"/>
                  <a:pt x="1863210" y="1916117"/>
                </a:cubicBezTo>
                <a:cubicBezTo>
                  <a:pt x="1863210" y="1880404"/>
                  <a:pt x="1892164" y="1851452"/>
                  <a:pt x="1927843" y="1851452"/>
                </a:cubicBezTo>
                <a:close/>
                <a:moveTo>
                  <a:pt x="1775198" y="1851452"/>
                </a:moveTo>
                <a:cubicBezTo>
                  <a:pt x="1810904" y="1851452"/>
                  <a:pt x="1839879" y="1880404"/>
                  <a:pt x="1839879" y="1916117"/>
                </a:cubicBezTo>
                <a:cubicBezTo>
                  <a:pt x="1839879" y="1951831"/>
                  <a:pt x="1810904" y="1980764"/>
                  <a:pt x="1775198" y="1980764"/>
                </a:cubicBezTo>
                <a:cubicBezTo>
                  <a:pt x="1739482" y="1980764"/>
                  <a:pt x="1710529" y="1951831"/>
                  <a:pt x="1710529" y="1916117"/>
                </a:cubicBezTo>
                <a:cubicBezTo>
                  <a:pt x="1710529" y="1880404"/>
                  <a:pt x="1739482" y="1851452"/>
                  <a:pt x="1775198" y="1851452"/>
                </a:cubicBezTo>
                <a:close/>
                <a:moveTo>
                  <a:pt x="1618616" y="1851452"/>
                </a:moveTo>
                <a:cubicBezTo>
                  <a:pt x="1654335" y="1851452"/>
                  <a:pt x="1683287" y="1880404"/>
                  <a:pt x="1683287" y="1916117"/>
                </a:cubicBezTo>
                <a:cubicBezTo>
                  <a:pt x="1683287" y="1951831"/>
                  <a:pt x="1654335" y="1980764"/>
                  <a:pt x="1618616" y="1980764"/>
                </a:cubicBezTo>
                <a:cubicBezTo>
                  <a:pt x="1582905" y="1980764"/>
                  <a:pt x="1553953" y="1951831"/>
                  <a:pt x="1553953" y="1916117"/>
                </a:cubicBezTo>
                <a:cubicBezTo>
                  <a:pt x="1553953" y="1880404"/>
                  <a:pt x="1582905" y="1851452"/>
                  <a:pt x="1618616" y="1851452"/>
                </a:cubicBezTo>
                <a:close/>
                <a:moveTo>
                  <a:pt x="1465960" y="1851450"/>
                </a:moveTo>
                <a:cubicBezTo>
                  <a:pt x="1501673" y="1851450"/>
                  <a:pt x="1530626" y="1880402"/>
                  <a:pt x="1530626" y="1916115"/>
                </a:cubicBezTo>
                <a:cubicBezTo>
                  <a:pt x="1530626" y="1951830"/>
                  <a:pt x="1501673" y="1980761"/>
                  <a:pt x="1465960" y="1980761"/>
                </a:cubicBezTo>
                <a:cubicBezTo>
                  <a:pt x="1430246" y="1980761"/>
                  <a:pt x="1401296" y="1951830"/>
                  <a:pt x="1401296" y="1916115"/>
                </a:cubicBezTo>
                <a:cubicBezTo>
                  <a:pt x="1401296" y="1880402"/>
                  <a:pt x="1430246" y="1851450"/>
                  <a:pt x="1465960" y="1851450"/>
                </a:cubicBezTo>
                <a:close/>
                <a:moveTo>
                  <a:pt x="10625394" y="1851450"/>
                </a:moveTo>
                <a:cubicBezTo>
                  <a:pt x="10661108" y="1851450"/>
                  <a:pt x="10690060" y="1880400"/>
                  <a:pt x="10690060" y="1916114"/>
                </a:cubicBezTo>
                <a:cubicBezTo>
                  <a:pt x="10690060" y="1951828"/>
                  <a:pt x="10661108" y="1980760"/>
                  <a:pt x="10625394" y="1980760"/>
                </a:cubicBezTo>
                <a:cubicBezTo>
                  <a:pt x="10589680" y="1980760"/>
                  <a:pt x="10560728" y="1951828"/>
                  <a:pt x="10560728" y="1916114"/>
                </a:cubicBezTo>
                <a:cubicBezTo>
                  <a:pt x="10560728" y="1880400"/>
                  <a:pt x="10589680" y="1851450"/>
                  <a:pt x="10625394" y="1851450"/>
                </a:cubicBezTo>
                <a:close/>
                <a:moveTo>
                  <a:pt x="10159588" y="1851450"/>
                </a:moveTo>
                <a:cubicBezTo>
                  <a:pt x="10195302" y="1851450"/>
                  <a:pt x="10224254" y="1880400"/>
                  <a:pt x="10224254" y="1916114"/>
                </a:cubicBezTo>
                <a:cubicBezTo>
                  <a:pt x="10224254" y="1951828"/>
                  <a:pt x="10195302" y="1980760"/>
                  <a:pt x="10159588" y="1980760"/>
                </a:cubicBezTo>
                <a:cubicBezTo>
                  <a:pt x="10123874" y="1980760"/>
                  <a:pt x="10094922" y="1951828"/>
                  <a:pt x="10094922" y="1916114"/>
                </a:cubicBezTo>
                <a:cubicBezTo>
                  <a:pt x="10094922" y="1880400"/>
                  <a:pt x="10123874" y="1851450"/>
                  <a:pt x="10159588" y="1851450"/>
                </a:cubicBezTo>
                <a:close/>
                <a:moveTo>
                  <a:pt x="10003016" y="1851450"/>
                </a:moveTo>
                <a:cubicBezTo>
                  <a:pt x="10038730" y="1851450"/>
                  <a:pt x="10067682" y="1880400"/>
                  <a:pt x="10067682" y="1916114"/>
                </a:cubicBezTo>
                <a:cubicBezTo>
                  <a:pt x="10067682" y="1951828"/>
                  <a:pt x="10038730" y="1980760"/>
                  <a:pt x="10003016" y="1980760"/>
                </a:cubicBezTo>
                <a:cubicBezTo>
                  <a:pt x="9967302" y="1980760"/>
                  <a:pt x="9938350" y="1951828"/>
                  <a:pt x="9938350" y="1916114"/>
                </a:cubicBezTo>
                <a:cubicBezTo>
                  <a:pt x="9938350" y="1880400"/>
                  <a:pt x="9967302" y="1851450"/>
                  <a:pt x="10003016" y="1851450"/>
                </a:cubicBezTo>
                <a:close/>
                <a:moveTo>
                  <a:pt x="9850358" y="1851450"/>
                </a:moveTo>
                <a:cubicBezTo>
                  <a:pt x="9886072" y="1851450"/>
                  <a:pt x="9915024" y="1880400"/>
                  <a:pt x="9915024" y="1916114"/>
                </a:cubicBezTo>
                <a:cubicBezTo>
                  <a:pt x="9915024" y="1951828"/>
                  <a:pt x="9886072" y="1980760"/>
                  <a:pt x="9850358" y="1980760"/>
                </a:cubicBezTo>
                <a:cubicBezTo>
                  <a:pt x="9814644" y="1980760"/>
                  <a:pt x="9785692" y="1951828"/>
                  <a:pt x="9785692" y="1916114"/>
                </a:cubicBezTo>
                <a:cubicBezTo>
                  <a:pt x="9785692" y="1880400"/>
                  <a:pt x="9814644" y="1851450"/>
                  <a:pt x="9850358" y="1851450"/>
                </a:cubicBezTo>
                <a:close/>
                <a:moveTo>
                  <a:pt x="9693783" y="1851450"/>
                </a:moveTo>
                <a:cubicBezTo>
                  <a:pt x="9729497" y="1851450"/>
                  <a:pt x="9758449" y="1880400"/>
                  <a:pt x="9758449" y="1916114"/>
                </a:cubicBezTo>
                <a:cubicBezTo>
                  <a:pt x="9758449" y="1951828"/>
                  <a:pt x="9729497" y="1980760"/>
                  <a:pt x="9693783" y="1980760"/>
                </a:cubicBezTo>
                <a:cubicBezTo>
                  <a:pt x="9658069" y="1980760"/>
                  <a:pt x="9629117" y="1951828"/>
                  <a:pt x="9629117" y="1916114"/>
                </a:cubicBezTo>
                <a:cubicBezTo>
                  <a:pt x="9629117" y="1880400"/>
                  <a:pt x="9658069" y="1851450"/>
                  <a:pt x="9693783" y="1851450"/>
                </a:cubicBezTo>
                <a:close/>
                <a:moveTo>
                  <a:pt x="9541123" y="1851450"/>
                </a:moveTo>
                <a:cubicBezTo>
                  <a:pt x="9576837" y="1851450"/>
                  <a:pt x="9605789" y="1880400"/>
                  <a:pt x="9605789" y="1916114"/>
                </a:cubicBezTo>
                <a:cubicBezTo>
                  <a:pt x="9605789" y="1951828"/>
                  <a:pt x="9576837" y="1980760"/>
                  <a:pt x="9541123" y="1980760"/>
                </a:cubicBezTo>
                <a:cubicBezTo>
                  <a:pt x="9505409" y="1980760"/>
                  <a:pt x="9476457" y="1951828"/>
                  <a:pt x="9476457" y="1916114"/>
                </a:cubicBezTo>
                <a:cubicBezTo>
                  <a:pt x="9476457" y="1880400"/>
                  <a:pt x="9505409" y="1851450"/>
                  <a:pt x="9541123" y="1851450"/>
                </a:cubicBezTo>
                <a:close/>
                <a:moveTo>
                  <a:pt x="9384550" y="1851450"/>
                </a:moveTo>
                <a:cubicBezTo>
                  <a:pt x="9420264" y="1851450"/>
                  <a:pt x="9449216" y="1880400"/>
                  <a:pt x="9449216" y="1916114"/>
                </a:cubicBezTo>
                <a:cubicBezTo>
                  <a:pt x="9449216" y="1951828"/>
                  <a:pt x="9420264" y="1980760"/>
                  <a:pt x="9384550" y="1980760"/>
                </a:cubicBezTo>
                <a:cubicBezTo>
                  <a:pt x="9348836" y="1980760"/>
                  <a:pt x="9319884" y="1951828"/>
                  <a:pt x="9319884" y="1916114"/>
                </a:cubicBezTo>
                <a:cubicBezTo>
                  <a:pt x="9319884" y="1880400"/>
                  <a:pt x="9348836" y="1851450"/>
                  <a:pt x="9384550" y="1851450"/>
                </a:cubicBezTo>
                <a:close/>
                <a:moveTo>
                  <a:pt x="9227977" y="1851450"/>
                </a:moveTo>
                <a:cubicBezTo>
                  <a:pt x="9263691" y="1851450"/>
                  <a:pt x="9292643" y="1880400"/>
                  <a:pt x="9292643" y="1916114"/>
                </a:cubicBezTo>
                <a:cubicBezTo>
                  <a:pt x="9292643" y="1951828"/>
                  <a:pt x="9263691" y="1980760"/>
                  <a:pt x="9227977" y="1980760"/>
                </a:cubicBezTo>
                <a:cubicBezTo>
                  <a:pt x="9192263" y="1980760"/>
                  <a:pt x="9163311" y="1951828"/>
                  <a:pt x="9163311" y="1916114"/>
                </a:cubicBezTo>
                <a:cubicBezTo>
                  <a:pt x="9163311" y="1880400"/>
                  <a:pt x="9192263" y="1851450"/>
                  <a:pt x="9227977" y="1851450"/>
                </a:cubicBezTo>
                <a:close/>
                <a:moveTo>
                  <a:pt x="9075319" y="1851450"/>
                </a:moveTo>
                <a:cubicBezTo>
                  <a:pt x="9111033" y="1851450"/>
                  <a:pt x="9139985" y="1880400"/>
                  <a:pt x="9139985" y="1916114"/>
                </a:cubicBezTo>
                <a:cubicBezTo>
                  <a:pt x="9139985" y="1951828"/>
                  <a:pt x="9111033" y="1980760"/>
                  <a:pt x="9075319" y="1980760"/>
                </a:cubicBezTo>
                <a:cubicBezTo>
                  <a:pt x="9039605" y="1980760"/>
                  <a:pt x="9010653" y="1951828"/>
                  <a:pt x="9010653" y="1916114"/>
                </a:cubicBezTo>
                <a:cubicBezTo>
                  <a:pt x="9010653" y="1880400"/>
                  <a:pt x="9039605" y="1851450"/>
                  <a:pt x="9075319" y="1851450"/>
                </a:cubicBezTo>
                <a:close/>
                <a:moveTo>
                  <a:pt x="8914831" y="1851450"/>
                </a:moveTo>
                <a:cubicBezTo>
                  <a:pt x="8950545" y="1851450"/>
                  <a:pt x="8979497" y="1880400"/>
                  <a:pt x="8979497" y="1916114"/>
                </a:cubicBezTo>
                <a:cubicBezTo>
                  <a:pt x="8979497" y="1951828"/>
                  <a:pt x="8950545" y="1980760"/>
                  <a:pt x="8914831" y="1980760"/>
                </a:cubicBezTo>
                <a:cubicBezTo>
                  <a:pt x="8879117" y="1980760"/>
                  <a:pt x="8850165" y="1951828"/>
                  <a:pt x="8850165" y="1916114"/>
                </a:cubicBezTo>
                <a:cubicBezTo>
                  <a:pt x="8850165" y="1880400"/>
                  <a:pt x="8879117" y="1851450"/>
                  <a:pt x="8914831" y="1851450"/>
                </a:cubicBezTo>
                <a:close/>
                <a:moveTo>
                  <a:pt x="8766086" y="1851450"/>
                </a:moveTo>
                <a:cubicBezTo>
                  <a:pt x="8801800" y="1851450"/>
                  <a:pt x="8830752" y="1880400"/>
                  <a:pt x="8830752" y="1916114"/>
                </a:cubicBezTo>
                <a:cubicBezTo>
                  <a:pt x="8830752" y="1951828"/>
                  <a:pt x="8801800" y="1980760"/>
                  <a:pt x="8766086" y="1980760"/>
                </a:cubicBezTo>
                <a:cubicBezTo>
                  <a:pt x="8730372" y="1980760"/>
                  <a:pt x="8701420" y="1951828"/>
                  <a:pt x="8701420" y="1916114"/>
                </a:cubicBezTo>
                <a:cubicBezTo>
                  <a:pt x="8701420" y="1880400"/>
                  <a:pt x="8730372" y="1851450"/>
                  <a:pt x="8766086" y="1851450"/>
                </a:cubicBezTo>
                <a:close/>
                <a:moveTo>
                  <a:pt x="8601685" y="1851450"/>
                </a:moveTo>
                <a:cubicBezTo>
                  <a:pt x="8637399" y="1851450"/>
                  <a:pt x="8666351" y="1880400"/>
                  <a:pt x="8666351" y="1916114"/>
                </a:cubicBezTo>
                <a:cubicBezTo>
                  <a:pt x="8666351" y="1951828"/>
                  <a:pt x="8637399" y="1980760"/>
                  <a:pt x="8601685" y="1980760"/>
                </a:cubicBezTo>
                <a:cubicBezTo>
                  <a:pt x="8565971" y="1980760"/>
                  <a:pt x="8537019" y="1951828"/>
                  <a:pt x="8537019" y="1916114"/>
                </a:cubicBezTo>
                <a:cubicBezTo>
                  <a:pt x="8537019" y="1880400"/>
                  <a:pt x="8565971" y="1851450"/>
                  <a:pt x="8601685" y="1851450"/>
                </a:cubicBezTo>
                <a:close/>
                <a:moveTo>
                  <a:pt x="8449025" y="1851450"/>
                </a:moveTo>
                <a:cubicBezTo>
                  <a:pt x="8484739" y="1851450"/>
                  <a:pt x="8513691" y="1880400"/>
                  <a:pt x="8513691" y="1916114"/>
                </a:cubicBezTo>
                <a:cubicBezTo>
                  <a:pt x="8513691" y="1951828"/>
                  <a:pt x="8484739" y="1980760"/>
                  <a:pt x="8449025" y="1980760"/>
                </a:cubicBezTo>
                <a:cubicBezTo>
                  <a:pt x="8413311" y="1980760"/>
                  <a:pt x="8384359" y="1951828"/>
                  <a:pt x="8384359" y="1916114"/>
                </a:cubicBezTo>
                <a:cubicBezTo>
                  <a:pt x="8384359" y="1880400"/>
                  <a:pt x="8413311" y="1851450"/>
                  <a:pt x="8449025" y="1851450"/>
                </a:cubicBezTo>
                <a:close/>
                <a:moveTo>
                  <a:pt x="8296368" y="1851450"/>
                </a:moveTo>
                <a:cubicBezTo>
                  <a:pt x="8332082" y="1851450"/>
                  <a:pt x="8361034" y="1880400"/>
                  <a:pt x="8361034" y="1916114"/>
                </a:cubicBezTo>
                <a:cubicBezTo>
                  <a:pt x="8361034" y="1951828"/>
                  <a:pt x="8332082" y="1980760"/>
                  <a:pt x="8296368" y="1980760"/>
                </a:cubicBezTo>
                <a:cubicBezTo>
                  <a:pt x="8260654" y="1980760"/>
                  <a:pt x="8231702" y="1951828"/>
                  <a:pt x="8231702" y="1916114"/>
                </a:cubicBezTo>
                <a:cubicBezTo>
                  <a:pt x="8231702" y="1880400"/>
                  <a:pt x="8260654" y="1851450"/>
                  <a:pt x="8296368" y="1851450"/>
                </a:cubicBezTo>
                <a:close/>
                <a:moveTo>
                  <a:pt x="8139793" y="1851450"/>
                </a:moveTo>
                <a:cubicBezTo>
                  <a:pt x="8175507" y="1851450"/>
                  <a:pt x="8204459" y="1880400"/>
                  <a:pt x="8204459" y="1916114"/>
                </a:cubicBezTo>
                <a:cubicBezTo>
                  <a:pt x="8204459" y="1951828"/>
                  <a:pt x="8175507" y="1980760"/>
                  <a:pt x="8139793" y="1980760"/>
                </a:cubicBezTo>
                <a:cubicBezTo>
                  <a:pt x="8104079" y="1980760"/>
                  <a:pt x="8075127" y="1951828"/>
                  <a:pt x="8075127" y="1916114"/>
                </a:cubicBezTo>
                <a:cubicBezTo>
                  <a:pt x="8075127" y="1880400"/>
                  <a:pt x="8104079" y="1851450"/>
                  <a:pt x="8139793" y="1851450"/>
                </a:cubicBezTo>
                <a:close/>
                <a:moveTo>
                  <a:pt x="7987133" y="1851450"/>
                </a:moveTo>
                <a:cubicBezTo>
                  <a:pt x="8022847" y="1851450"/>
                  <a:pt x="8051799" y="1880400"/>
                  <a:pt x="8051799" y="1916114"/>
                </a:cubicBezTo>
                <a:cubicBezTo>
                  <a:pt x="8051799" y="1951828"/>
                  <a:pt x="8022847" y="1980760"/>
                  <a:pt x="7987133" y="1980760"/>
                </a:cubicBezTo>
                <a:cubicBezTo>
                  <a:pt x="7951419" y="1980760"/>
                  <a:pt x="7922467" y="1951828"/>
                  <a:pt x="7922467" y="1916114"/>
                </a:cubicBezTo>
                <a:cubicBezTo>
                  <a:pt x="7922467" y="1880400"/>
                  <a:pt x="7951419" y="1851450"/>
                  <a:pt x="7987133" y="1851450"/>
                </a:cubicBezTo>
                <a:close/>
                <a:moveTo>
                  <a:pt x="7830562" y="1851450"/>
                </a:moveTo>
                <a:cubicBezTo>
                  <a:pt x="7866276" y="1851450"/>
                  <a:pt x="7895228" y="1880400"/>
                  <a:pt x="7895228" y="1916114"/>
                </a:cubicBezTo>
                <a:cubicBezTo>
                  <a:pt x="7895228" y="1951828"/>
                  <a:pt x="7866276" y="1980760"/>
                  <a:pt x="7830562" y="1980760"/>
                </a:cubicBezTo>
                <a:cubicBezTo>
                  <a:pt x="7794848" y="1980760"/>
                  <a:pt x="7765896" y="1951828"/>
                  <a:pt x="7765896" y="1916114"/>
                </a:cubicBezTo>
                <a:cubicBezTo>
                  <a:pt x="7765896" y="1880400"/>
                  <a:pt x="7794848" y="1851450"/>
                  <a:pt x="7830562" y="1851450"/>
                </a:cubicBezTo>
                <a:close/>
                <a:moveTo>
                  <a:pt x="7677904" y="1851450"/>
                </a:moveTo>
                <a:cubicBezTo>
                  <a:pt x="7713618" y="1851450"/>
                  <a:pt x="7742570" y="1880400"/>
                  <a:pt x="7742570" y="1916114"/>
                </a:cubicBezTo>
                <a:cubicBezTo>
                  <a:pt x="7742570" y="1951828"/>
                  <a:pt x="7713618" y="1980760"/>
                  <a:pt x="7677904" y="1980760"/>
                </a:cubicBezTo>
                <a:cubicBezTo>
                  <a:pt x="7642190" y="1980760"/>
                  <a:pt x="7613238" y="1951828"/>
                  <a:pt x="7613238" y="1916114"/>
                </a:cubicBezTo>
                <a:cubicBezTo>
                  <a:pt x="7613238" y="1880400"/>
                  <a:pt x="7642190" y="1851450"/>
                  <a:pt x="7677904" y="1851450"/>
                </a:cubicBezTo>
                <a:close/>
                <a:moveTo>
                  <a:pt x="7521331" y="1851450"/>
                </a:moveTo>
                <a:cubicBezTo>
                  <a:pt x="7557045" y="1851450"/>
                  <a:pt x="7585997" y="1880400"/>
                  <a:pt x="7585997" y="1916114"/>
                </a:cubicBezTo>
                <a:cubicBezTo>
                  <a:pt x="7585997" y="1951828"/>
                  <a:pt x="7557045" y="1980760"/>
                  <a:pt x="7521331" y="1980760"/>
                </a:cubicBezTo>
                <a:cubicBezTo>
                  <a:pt x="7485617" y="1980760"/>
                  <a:pt x="7456665" y="1951828"/>
                  <a:pt x="7456665" y="1916114"/>
                </a:cubicBezTo>
                <a:cubicBezTo>
                  <a:pt x="7456665" y="1880400"/>
                  <a:pt x="7485617" y="1851450"/>
                  <a:pt x="7521331" y="1851450"/>
                </a:cubicBezTo>
                <a:close/>
                <a:moveTo>
                  <a:pt x="7368671" y="1851450"/>
                </a:moveTo>
                <a:cubicBezTo>
                  <a:pt x="7404385" y="1851450"/>
                  <a:pt x="7433337" y="1880400"/>
                  <a:pt x="7433337" y="1916114"/>
                </a:cubicBezTo>
                <a:cubicBezTo>
                  <a:pt x="7433337" y="1951828"/>
                  <a:pt x="7404385" y="1980760"/>
                  <a:pt x="7368671" y="1980760"/>
                </a:cubicBezTo>
                <a:cubicBezTo>
                  <a:pt x="7332957" y="1980760"/>
                  <a:pt x="7304005" y="1951828"/>
                  <a:pt x="7304005" y="1916114"/>
                </a:cubicBezTo>
                <a:cubicBezTo>
                  <a:pt x="7304005" y="1880400"/>
                  <a:pt x="7332957" y="1851450"/>
                  <a:pt x="7368671" y="1851450"/>
                </a:cubicBezTo>
                <a:close/>
                <a:moveTo>
                  <a:pt x="7212096" y="1851450"/>
                </a:moveTo>
                <a:cubicBezTo>
                  <a:pt x="7247810" y="1851450"/>
                  <a:pt x="7276762" y="1880400"/>
                  <a:pt x="7276762" y="1916114"/>
                </a:cubicBezTo>
                <a:cubicBezTo>
                  <a:pt x="7276762" y="1951828"/>
                  <a:pt x="7247810" y="1980760"/>
                  <a:pt x="7212096" y="1980760"/>
                </a:cubicBezTo>
                <a:cubicBezTo>
                  <a:pt x="7176382" y="1980760"/>
                  <a:pt x="7147430" y="1951828"/>
                  <a:pt x="7147430" y="1916114"/>
                </a:cubicBezTo>
                <a:cubicBezTo>
                  <a:pt x="7147430" y="1880400"/>
                  <a:pt x="7176382" y="1851450"/>
                  <a:pt x="7212096" y="1851450"/>
                </a:cubicBezTo>
                <a:close/>
                <a:moveTo>
                  <a:pt x="7055523" y="1851450"/>
                </a:moveTo>
                <a:cubicBezTo>
                  <a:pt x="7091237" y="1851450"/>
                  <a:pt x="7120189" y="1880400"/>
                  <a:pt x="7120189" y="1916114"/>
                </a:cubicBezTo>
                <a:cubicBezTo>
                  <a:pt x="7120189" y="1951828"/>
                  <a:pt x="7091237" y="1980760"/>
                  <a:pt x="7055523" y="1980760"/>
                </a:cubicBezTo>
                <a:cubicBezTo>
                  <a:pt x="7019809" y="1980760"/>
                  <a:pt x="6990857" y="1951828"/>
                  <a:pt x="6990857" y="1916114"/>
                </a:cubicBezTo>
                <a:cubicBezTo>
                  <a:pt x="6990857" y="1880400"/>
                  <a:pt x="7019809" y="1851450"/>
                  <a:pt x="7055523" y="1851450"/>
                </a:cubicBezTo>
                <a:close/>
                <a:moveTo>
                  <a:pt x="6895037" y="1851450"/>
                </a:moveTo>
                <a:cubicBezTo>
                  <a:pt x="6930751" y="1851450"/>
                  <a:pt x="6959703" y="1880400"/>
                  <a:pt x="6959703" y="1916114"/>
                </a:cubicBezTo>
                <a:cubicBezTo>
                  <a:pt x="6959703" y="1951828"/>
                  <a:pt x="6930751" y="1980760"/>
                  <a:pt x="6895037" y="1980760"/>
                </a:cubicBezTo>
                <a:cubicBezTo>
                  <a:pt x="6859323" y="1980760"/>
                  <a:pt x="6830371" y="1951828"/>
                  <a:pt x="6830371" y="1916114"/>
                </a:cubicBezTo>
                <a:cubicBezTo>
                  <a:pt x="6830371" y="1880400"/>
                  <a:pt x="6859323" y="1851450"/>
                  <a:pt x="6895037" y="1851450"/>
                </a:cubicBezTo>
                <a:close/>
                <a:moveTo>
                  <a:pt x="6742377" y="1851450"/>
                </a:moveTo>
                <a:cubicBezTo>
                  <a:pt x="6778091" y="1851450"/>
                  <a:pt x="6807043" y="1880400"/>
                  <a:pt x="6807043" y="1916114"/>
                </a:cubicBezTo>
                <a:cubicBezTo>
                  <a:pt x="6807043" y="1951828"/>
                  <a:pt x="6778091" y="1980760"/>
                  <a:pt x="6742377" y="1980760"/>
                </a:cubicBezTo>
                <a:cubicBezTo>
                  <a:pt x="6706663" y="1980760"/>
                  <a:pt x="6677711" y="1951828"/>
                  <a:pt x="6677711" y="1916114"/>
                </a:cubicBezTo>
                <a:cubicBezTo>
                  <a:pt x="6677711" y="1880400"/>
                  <a:pt x="6706663" y="1851450"/>
                  <a:pt x="6742377" y="1851450"/>
                </a:cubicBezTo>
                <a:close/>
                <a:moveTo>
                  <a:pt x="6585804" y="1851450"/>
                </a:moveTo>
                <a:cubicBezTo>
                  <a:pt x="6621518" y="1851450"/>
                  <a:pt x="6650470" y="1880400"/>
                  <a:pt x="6650470" y="1916114"/>
                </a:cubicBezTo>
                <a:cubicBezTo>
                  <a:pt x="6650470" y="1951828"/>
                  <a:pt x="6621518" y="1980760"/>
                  <a:pt x="6585804" y="1980760"/>
                </a:cubicBezTo>
                <a:cubicBezTo>
                  <a:pt x="6550090" y="1980760"/>
                  <a:pt x="6521138" y="1951828"/>
                  <a:pt x="6521138" y="1916114"/>
                </a:cubicBezTo>
                <a:cubicBezTo>
                  <a:pt x="6521138" y="1880400"/>
                  <a:pt x="6550090" y="1851450"/>
                  <a:pt x="6585804" y="1851450"/>
                </a:cubicBezTo>
                <a:close/>
                <a:moveTo>
                  <a:pt x="6276571" y="1851450"/>
                </a:moveTo>
                <a:cubicBezTo>
                  <a:pt x="6312285" y="1851450"/>
                  <a:pt x="6341237" y="1880400"/>
                  <a:pt x="6341237" y="1916114"/>
                </a:cubicBezTo>
                <a:cubicBezTo>
                  <a:pt x="6341237" y="1951828"/>
                  <a:pt x="6312285" y="1980760"/>
                  <a:pt x="6276571" y="1980760"/>
                </a:cubicBezTo>
                <a:cubicBezTo>
                  <a:pt x="6240857" y="1980760"/>
                  <a:pt x="6211905" y="1951828"/>
                  <a:pt x="6211905" y="1916114"/>
                </a:cubicBezTo>
                <a:cubicBezTo>
                  <a:pt x="6211905" y="1880400"/>
                  <a:pt x="6240857" y="1851450"/>
                  <a:pt x="6276571" y="1851450"/>
                </a:cubicBezTo>
                <a:close/>
                <a:moveTo>
                  <a:pt x="6119999" y="1851450"/>
                </a:moveTo>
                <a:cubicBezTo>
                  <a:pt x="6155713" y="1851450"/>
                  <a:pt x="6184665" y="1880400"/>
                  <a:pt x="6184665" y="1916114"/>
                </a:cubicBezTo>
                <a:cubicBezTo>
                  <a:pt x="6184665" y="1951828"/>
                  <a:pt x="6155713" y="1980760"/>
                  <a:pt x="6119999" y="1980760"/>
                </a:cubicBezTo>
                <a:cubicBezTo>
                  <a:pt x="6084285" y="1980760"/>
                  <a:pt x="6055333" y="1951828"/>
                  <a:pt x="6055333" y="1916114"/>
                </a:cubicBezTo>
                <a:cubicBezTo>
                  <a:pt x="6055333" y="1880400"/>
                  <a:pt x="6084285" y="1851450"/>
                  <a:pt x="6119999" y="1851450"/>
                </a:cubicBezTo>
                <a:close/>
                <a:moveTo>
                  <a:pt x="5967339" y="1851450"/>
                </a:moveTo>
                <a:cubicBezTo>
                  <a:pt x="6003053" y="1851450"/>
                  <a:pt x="6032005" y="1880400"/>
                  <a:pt x="6032005" y="1916114"/>
                </a:cubicBezTo>
                <a:cubicBezTo>
                  <a:pt x="6032005" y="1951828"/>
                  <a:pt x="6003053" y="1980760"/>
                  <a:pt x="5967339" y="1980760"/>
                </a:cubicBezTo>
                <a:cubicBezTo>
                  <a:pt x="5931625" y="1980760"/>
                  <a:pt x="5902673" y="1951828"/>
                  <a:pt x="5902673" y="1916114"/>
                </a:cubicBezTo>
                <a:cubicBezTo>
                  <a:pt x="5902673" y="1880400"/>
                  <a:pt x="5931625" y="1851450"/>
                  <a:pt x="5967339" y="1851450"/>
                </a:cubicBezTo>
                <a:close/>
                <a:moveTo>
                  <a:pt x="5810798" y="1851450"/>
                </a:moveTo>
                <a:cubicBezTo>
                  <a:pt x="5846480" y="1851450"/>
                  <a:pt x="5875432" y="1880400"/>
                  <a:pt x="5875432" y="1916114"/>
                </a:cubicBezTo>
                <a:cubicBezTo>
                  <a:pt x="5875432" y="1951828"/>
                  <a:pt x="5846480" y="1980760"/>
                  <a:pt x="5810798" y="1980760"/>
                </a:cubicBezTo>
                <a:cubicBezTo>
                  <a:pt x="5775075" y="1980760"/>
                  <a:pt x="5746117" y="1951828"/>
                  <a:pt x="5746117" y="1916114"/>
                </a:cubicBezTo>
                <a:cubicBezTo>
                  <a:pt x="5746117" y="1880400"/>
                  <a:pt x="5775075" y="1851450"/>
                  <a:pt x="5810798" y="1851450"/>
                </a:cubicBezTo>
                <a:close/>
                <a:moveTo>
                  <a:pt x="5658111" y="1851450"/>
                </a:moveTo>
                <a:cubicBezTo>
                  <a:pt x="5693825" y="1851450"/>
                  <a:pt x="5722783" y="1880400"/>
                  <a:pt x="5722783" y="1916114"/>
                </a:cubicBezTo>
                <a:cubicBezTo>
                  <a:pt x="5722783" y="1951828"/>
                  <a:pt x="5693825" y="1980760"/>
                  <a:pt x="5658111" y="1980760"/>
                </a:cubicBezTo>
                <a:cubicBezTo>
                  <a:pt x="5622399" y="1980760"/>
                  <a:pt x="5593443" y="1951828"/>
                  <a:pt x="5593443" y="1916114"/>
                </a:cubicBezTo>
                <a:cubicBezTo>
                  <a:pt x="5593443" y="1880400"/>
                  <a:pt x="5622399" y="1851450"/>
                  <a:pt x="5658111" y="1851450"/>
                </a:cubicBezTo>
                <a:close/>
                <a:moveTo>
                  <a:pt x="5501543" y="1851450"/>
                </a:moveTo>
                <a:cubicBezTo>
                  <a:pt x="5537254" y="1851450"/>
                  <a:pt x="5566204" y="1880400"/>
                  <a:pt x="5566204" y="1916114"/>
                </a:cubicBezTo>
                <a:cubicBezTo>
                  <a:pt x="5566204" y="1951828"/>
                  <a:pt x="5537254" y="1980760"/>
                  <a:pt x="5501543" y="1980760"/>
                </a:cubicBezTo>
                <a:cubicBezTo>
                  <a:pt x="5465827" y="1980760"/>
                  <a:pt x="5436885" y="1951828"/>
                  <a:pt x="5436885" y="1916114"/>
                </a:cubicBezTo>
                <a:cubicBezTo>
                  <a:pt x="5436885" y="1880400"/>
                  <a:pt x="5465827" y="1851450"/>
                  <a:pt x="5501543" y="1851450"/>
                </a:cubicBezTo>
                <a:close/>
                <a:moveTo>
                  <a:pt x="5348888" y="1851450"/>
                </a:moveTo>
                <a:cubicBezTo>
                  <a:pt x="5384604" y="1851450"/>
                  <a:pt x="5413554" y="1880400"/>
                  <a:pt x="5413554" y="1916114"/>
                </a:cubicBezTo>
                <a:cubicBezTo>
                  <a:pt x="5413554" y="1951828"/>
                  <a:pt x="5384604" y="1980760"/>
                  <a:pt x="5348888" y="1980760"/>
                </a:cubicBezTo>
                <a:cubicBezTo>
                  <a:pt x="5313189" y="1980760"/>
                  <a:pt x="5284230" y="1951828"/>
                  <a:pt x="5284230" y="1916114"/>
                </a:cubicBezTo>
                <a:cubicBezTo>
                  <a:pt x="5284230" y="1880400"/>
                  <a:pt x="5313189" y="1851450"/>
                  <a:pt x="5348888" y="1851450"/>
                </a:cubicBezTo>
                <a:close/>
                <a:moveTo>
                  <a:pt x="3630594" y="1851450"/>
                </a:moveTo>
                <a:cubicBezTo>
                  <a:pt x="3666307" y="1851450"/>
                  <a:pt x="3695260" y="1880400"/>
                  <a:pt x="3695260" y="1916114"/>
                </a:cubicBezTo>
                <a:cubicBezTo>
                  <a:pt x="3695260" y="1951828"/>
                  <a:pt x="3666307" y="1980760"/>
                  <a:pt x="3630594" y="1980760"/>
                </a:cubicBezTo>
                <a:cubicBezTo>
                  <a:pt x="3594871" y="1980760"/>
                  <a:pt x="3565917" y="1951828"/>
                  <a:pt x="3565917" y="1916114"/>
                </a:cubicBezTo>
                <a:cubicBezTo>
                  <a:pt x="3565917" y="1880400"/>
                  <a:pt x="3594871" y="1851450"/>
                  <a:pt x="3630594" y="1851450"/>
                </a:cubicBezTo>
                <a:close/>
                <a:moveTo>
                  <a:pt x="3481843" y="1851450"/>
                </a:moveTo>
                <a:cubicBezTo>
                  <a:pt x="3517558" y="1851450"/>
                  <a:pt x="3546512" y="1880400"/>
                  <a:pt x="3546512" y="1916114"/>
                </a:cubicBezTo>
                <a:cubicBezTo>
                  <a:pt x="3546512" y="1951828"/>
                  <a:pt x="3517558" y="1980760"/>
                  <a:pt x="3481843" y="1980760"/>
                </a:cubicBezTo>
                <a:cubicBezTo>
                  <a:pt x="3446134" y="1980760"/>
                  <a:pt x="3417186" y="1951828"/>
                  <a:pt x="3417186" y="1916114"/>
                </a:cubicBezTo>
                <a:cubicBezTo>
                  <a:pt x="3417186" y="1880400"/>
                  <a:pt x="3446134" y="1851450"/>
                  <a:pt x="3481843" y="1851450"/>
                </a:cubicBezTo>
                <a:close/>
                <a:moveTo>
                  <a:pt x="3321374" y="1851450"/>
                </a:moveTo>
                <a:cubicBezTo>
                  <a:pt x="3357081" y="1851450"/>
                  <a:pt x="3386019" y="1880400"/>
                  <a:pt x="3386019" y="1916114"/>
                </a:cubicBezTo>
                <a:cubicBezTo>
                  <a:pt x="3386019" y="1951828"/>
                  <a:pt x="3357081" y="1980760"/>
                  <a:pt x="3321374" y="1980760"/>
                </a:cubicBezTo>
                <a:cubicBezTo>
                  <a:pt x="3285655" y="1980760"/>
                  <a:pt x="3256709" y="1951828"/>
                  <a:pt x="3256709" y="1916114"/>
                </a:cubicBezTo>
                <a:cubicBezTo>
                  <a:pt x="3256709" y="1880400"/>
                  <a:pt x="3285655" y="1851450"/>
                  <a:pt x="3321374" y="1851450"/>
                </a:cubicBezTo>
                <a:close/>
                <a:moveTo>
                  <a:pt x="3172621" y="1851450"/>
                </a:moveTo>
                <a:cubicBezTo>
                  <a:pt x="3208343" y="1851450"/>
                  <a:pt x="3237294" y="1880400"/>
                  <a:pt x="3237294" y="1916114"/>
                </a:cubicBezTo>
                <a:cubicBezTo>
                  <a:pt x="3237294" y="1951828"/>
                  <a:pt x="3208343" y="1980760"/>
                  <a:pt x="3172621" y="1980760"/>
                </a:cubicBezTo>
                <a:cubicBezTo>
                  <a:pt x="3136899" y="1980760"/>
                  <a:pt x="3107940" y="1951828"/>
                  <a:pt x="3107940" y="1916114"/>
                </a:cubicBezTo>
                <a:cubicBezTo>
                  <a:pt x="3107940" y="1880400"/>
                  <a:pt x="3136899" y="1851450"/>
                  <a:pt x="3172621" y="1851450"/>
                </a:cubicBezTo>
                <a:close/>
                <a:moveTo>
                  <a:pt x="3012108" y="1851450"/>
                </a:moveTo>
                <a:cubicBezTo>
                  <a:pt x="3047819" y="1851450"/>
                  <a:pt x="3076778" y="1880400"/>
                  <a:pt x="3076778" y="1916114"/>
                </a:cubicBezTo>
                <a:cubicBezTo>
                  <a:pt x="3076778" y="1951828"/>
                  <a:pt x="3047819" y="1980760"/>
                  <a:pt x="3012108" y="1980760"/>
                </a:cubicBezTo>
                <a:cubicBezTo>
                  <a:pt x="2976400" y="1980760"/>
                  <a:pt x="2947451" y="1951828"/>
                  <a:pt x="2947451" y="1916114"/>
                </a:cubicBezTo>
                <a:cubicBezTo>
                  <a:pt x="2947451" y="1880400"/>
                  <a:pt x="2976400" y="1851450"/>
                  <a:pt x="3012108" y="1851450"/>
                </a:cubicBezTo>
                <a:close/>
                <a:moveTo>
                  <a:pt x="2855554" y="1851450"/>
                </a:moveTo>
                <a:cubicBezTo>
                  <a:pt x="2891264" y="1851450"/>
                  <a:pt x="2920212" y="1880400"/>
                  <a:pt x="2920212" y="1916114"/>
                </a:cubicBezTo>
                <a:cubicBezTo>
                  <a:pt x="2920212" y="1951828"/>
                  <a:pt x="2891264" y="1980760"/>
                  <a:pt x="2855554" y="1980760"/>
                </a:cubicBezTo>
                <a:cubicBezTo>
                  <a:pt x="2819845" y="1980760"/>
                  <a:pt x="2790897" y="1951828"/>
                  <a:pt x="2790897" y="1916114"/>
                </a:cubicBezTo>
                <a:cubicBezTo>
                  <a:pt x="2790897" y="1880400"/>
                  <a:pt x="2819845" y="1851450"/>
                  <a:pt x="2855554" y="1851450"/>
                </a:cubicBezTo>
                <a:close/>
                <a:moveTo>
                  <a:pt x="2699002" y="1851450"/>
                </a:moveTo>
                <a:cubicBezTo>
                  <a:pt x="2734711" y="1851450"/>
                  <a:pt x="2763659" y="1880400"/>
                  <a:pt x="2763659" y="1916114"/>
                </a:cubicBezTo>
                <a:cubicBezTo>
                  <a:pt x="2763659" y="1951828"/>
                  <a:pt x="2734711" y="1980760"/>
                  <a:pt x="2699002" y="1980760"/>
                </a:cubicBezTo>
                <a:cubicBezTo>
                  <a:pt x="2663292" y="1980760"/>
                  <a:pt x="2634344" y="1951828"/>
                  <a:pt x="2634344" y="1916114"/>
                </a:cubicBezTo>
                <a:cubicBezTo>
                  <a:pt x="2634344" y="1880400"/>
                  <a:pt x="2663292" y="1851450"/>
                  <a:pt x="2699002" y="1851450"/>
                </a:cubicBezTo>
                <a:close/>
                <a:moveTo>
                  <a:pt x="2546361" y="1851450"/>
                </a:moveTo>
                <a:cubicBezTo>
                  <a:pt x="2582072" y="1851450"/>
                  <a:pt x="2611021" y="1880400"/>
                  <a:pt x="2611021" y="1916114"/>
                </a:cubicBezTo>
                <a:cubicBezTo>
                  <a:pt x="2611021" y="1951828"/>
                  <a:pt x="2582072" y="1980760"/>
                  <a:pt x="2546361" y="1980760"/>
                </a:cubicBezTo>
                <a:cubicBezTo>
                  <a:pt x="2510640" y="1980760"/>
                  <a:pt x="2481704" y="1951828"/>
                  <a:pt x="2481704" y="1916114"/>
                </a:cubicBezTo>
                <a:cubicBezTo>
                  <a:pt x="2481704" y="1880400"/>
                  <a:pt x="2510640" y="1851450"/>
                  <a:pt x="2546361" y="1851450"/>
                </a:cubicBezTo>
                <a:close/>
                <a:moveTo>
                  <a:pt x="2389782" y="1851450"/>
                </a:moveTo>
                <a:cubicBezTo>
                  <a:pt x="2425516" y="1851450"/>
                  <a:pt x="2454467" y="1880400"/>
                  <a:pt x="2454467" y="1916114"/>
                </a:cubicBezTo>
                <a:cubicBezTo>
                  <a:pt x="2454467" y="1951828"/>
                  <a:pt x="2425516" y="1980760"/>
                  <a:pt x="2389782" y="1980760"/>
                </a:cubicBezTo>
                <a:cubicBezTo>
                  <a:pt x="2354086" y="1980760"/>
                  <a:pt x="2325128" y="1951828"/>
                  <a:pt x="2325128" y="1916114"/>
                </a:cubicBezTo>
                <a:cubicBezTo>
                  <a:pt x="2325128" y="1880400"/>
                  <a:pt x="2354086" y="1851450"/>
                  <a:pt x="2389782" y="1851450"/>
                </a:cubicBezTo>
                <a:close/>
                <a:moveTo>
                  <a:pt x="10625394" y="1710535"/>
                </a:moveTo>
                <a:cubicBezTo>
                  <a:pt x="10661108" y="1710535"/>
                  <a:pt x="10690060" y="1739485"/>
                  <a:pt x="10690060" y="1775201"/>
                </a:cubicBezTo>
                <a:cubicBezTo>
                  <a:pt x="10690060" y="1810913"/>
                  <a:pt x="10661108" y="1839865"/>
                  <a:pt x="10625394" y="1839865"/>
                </a:cubicBezTo>
                <a:cubicBezTo>
                  <a:pt x="10589680" y="1839865"/>
                  <a:pt x="10560728" y="1810913"/>
                  <a:pt x="10560728" y="1775201"/>
                </a:cubicBezTo>
                <a:cubicBezTo>
                  <a:pt x="10560728" y="1739485"/>
                  <a:pt x="10589680" y="1710535"/>
                  <a:pt x="10625394" y="1710535"/>
                </a:cubicBezTo>
                <a:close/>
                <a:moveTo>
                  <a:pt x="10159588" y="1710535"/>
                </a:moveTo>
                <a:cubicBezTo>
                  <a:pt x="10195302" y="1710535"/>
                  <a:pt x="10224254" y="1739485"/>
                  <a:pt x="10224254" y="1775201"/>
                </a:cubicBezTo>
                <a:cubicBezTo>
                  <a:pt x="10224254" y="1810913"/>
                  <a:pt x="10195302" y="1839865"/>
                  <a:pt x="10159588" y="1839865"/>
                </a:cubicBezTo>
                <a:cubicBezTo>
                  <a:pt x="10123874" y="1839865"/>
                  <a:pt x="10094922" y="1810913"/>
                  <a:pt x="10094922" y="1775201"/>
                </a:cubicBezTo>
                <a:cubicBezTo>
                  <a:pt x="10094922" y="1739485"/>
                  <a:pt x="10123874" y="1710535"/>
                  <a:pt x="10159588" y="1710535"/>
                </a:cubicBezTo>
                <a:close/>
                <a:moveTo>
                  <a:pt x="10003016" y="1710535"/>
                </a:moveTo>
                <a:cubicBezTo>
                  <a:pt x="10038730" y="1710535"/>
                  <a:pt x="10067682" y="1739485"/>
                  <a:pt x="10067682" y="1775201"/>
                </a:cubicBezTo>
                <a:cubicBezTo>
                  <a:pt x="10067682" y="1810913"/>
                  <a:pt x="10038730" y="1839865"/>
                  <a:pt x="10003016" y="1839865"/>
                </a:cubicBezTo>
                <a:cubicBezTo>
                  <a:pt x="9967302" y="1839865"/>
                  <a:pt x="9938350" y="1810913"/>
                  <a:pt x="9938350" y="1775201"/>
                </a:cubicBezTo>
                <a:cubicBezTo>
                  <a:pt x="9938350" y="1739485"/>
                  <a:pt x="9967302" y="1710535"/>
                  <a:pt x="10003016" y="1710535"/>
                </a:cubicBezTo>
                <a:close/>
                <a:moveTo>
                  <a:pt x="9850356" y="1710535"/>
                </a:moveTo>
                <a:cubicBezTo>
                  <a:pt x="9886070" y="1710535"/>
                  <a:pt x="9915022" y="1739485"/>
                  <a:pt x="9915022" y="1775201"/>
                </a:cubicBezTo>
                <a:cubicBezTo>
                  <a:pt x="9915022" y="1810913"/>
                  <a:pt x="9886070" y="1839865"/>
                  <a:pt x="9850356" y="1839865"/>
                </a:cubicBezTo>
                <a:cubicBezTo>
                  <a:pt x="9814642" y="1839865"/>
                  <a:pt x="9785690" y="1810913"/>
                  <a:pt x="9785690" y="1775201"/>
                </a:cubicBezTo>
                <a:cubicBezTo>
                  <a:pt x="9785690" y="1739485"/>
                  <a:pt x="9814642" y="1710535"/>
                  <a:pt x="9850356" y="1710535"/>
                </a:cubicBezTo>
                <a:close/>
                <a:moveTo>
                  <a:pt x="9693782" y="1710535"/>
                </a:moveTo>
                <a:cubicBezTo>
                  <a:pt x="9729496" y="1710535"/>
                  <a:pt x="9758448" y="1739485"/>
                  <a:pt x="9758448" y="1775201"/>
                </a:cubicBezTo>
                <a:cubicBezTo>
                  <a:pt x="9758448" y="1810913"/>
                  <a:pt x="9729496" y="1839865"/>
                  <a:pt x="9693782" y="1839865"/>
                </a:cubicBezTo>
                <a:cubicBezTo>
                  <a:pt x="9658068" y="1839865"/>
                  <a:pt x="9629116" y="1810913"/>
                  <a:pt x="9629116" y="1775201"/>
                </a:cubicBezTo>
                <a:cubicBezTo>
                  <a:pt x="9629116" y="1739485"/>
                  <a:pt x="9658068" y="1710535"/>
                  <a:pt x="9693782" y="1710535"/>
                </a:cubicBezTo>
                <a:close/>
                <a:moveTo>
                  <a:pt x="9541123" y="1710535"/>
                </a:moveTo>
                <a:cubicBezTo>
                  <a:pt x="9576837" y="1710535"/>
                  <a:pt x="9605789" y="1739485"/>
                  <a:pt x="9605789" y="1775201"/>
                </a:cubicBezTo>
                <a:cubicBezTo>
                  <a:pt x="9605789" y="1810913"/>
                  <a:pt x="9576837" y="1839865"/>
                  <a:pt x="9541123" y="1839865"/>
                </a:cubicBezTo>
                <a:cubicBezTo>
                  <a:pt x="9505409" y="1839865"/>
                  <a:pt x="9476457" y="1810913"/>
                  <a:pt x="9476457" y="1775201"/>
                </a:cubicBezTo>
                <a:cubicBezTo>
                  <a:pt x="9476457" y="1739485"/>
                  <a:pt x="9505409" y="1710535"/>
                  <a:pt x="9541123" y="1710535"/>
                </a:cubicBezTo>
                <a:close/>
                <a:moveTo>
                  <a:pt x="9384550" y="1710535"/>
                </a:moveTo>
                <a:cubicBezTo>
                  <a:pt x="9420264" y="1710535"/>
                  <a:pt x="9449216" y="1739485"/>
                  <a:pt x="9449216" y="1775201"/>
                </a:cubicBezTo>
                <a:cubicBezTo>
                  <a:pt x="9449216" y="1810913"/>
                  <a:pt x="9420264" y="1839865"/>
                  <a:pt x="9384550" y="1839865"/>
                </a:cubicBezTo>
                <a:cubicBezTo>
                  <a:pt x="9348836" y="1839865"/>
                  <a:pt x="9319884" y="1810913"/>
                  <a:pt x="9319884" y="1775201"/>
                </a:cubicBezTo>
                <a:cubicBezTo>
                  <a:pt x="9319884" y="1739485"/>
                  <a:pt x="9348836" y="1710535"/>
                  <a:pt x="9384550" y="1710535"/>
                </a:cubicBezTo>
                <a:close/>
                <a:moveTo>
                  <a:pt x="9227977" y="1710535"/>
                </a:moveTo>
                <a:cubicBezTo>
                  <a:pt x="9263691" y="1710535"/>
                  <a:pt x="9292643" y="1739485"/>
                  <a:pt x="9292643" y="1775201"/>
                </a:cubicBezTo>
                <a:cubicBezTo>
                  <a:pt x="9292643" y="1810913"/>
                  <a:pt x="9263691" y="1839865"/>
                  <a:pt x="9227977" y="1839865"/>
                </a:cubicBezTo>
                <a:cubicBezTo>
                  <a:pt x="9192263" y="1839865"/>
                  <a:pt x="9163311" y="1810913"/>
                  <a:pt x="9163311" y="1775201"/>
                </a:cubicBezTo>
                <a:cubicBezTo>
                  <a:pt x="9163311" y="1739485"/>
                  <a:pt x="9192263" y="1710535"/>
                  <a:pt x="9227977" y="1710535"/>
                </a:cubicBezTo>
                <a:close/>
                <a:moveTo>
                  <a:pt x="9075317" y="1710535"/>
                </a:moveTo>
                <a:cubicBezTo>
                  <a:pt x="9111031" y="1710535"/>
                  <a:pt x="9139983" y="1739485"/>
                  <a:pt x="9139983" y="1775201"/>
                </a:cubicBezTo>
                <a:cubicBezTo>
                  <a:pt x="9139983" y="1810913"/>
                  <a:pt x="9111031" y="1839865"/>
                  <a:pt x="9075317" y="1839865"/>
                </a:cubicBezTo>
                <a:cubicBezTo>
                  <a:pt x="9039603" y="1839865"/>
                  <a:pt x="9010651" y="1810913"/>
                  <a:pt x="9010651" y="1775201"/>
                </a:cubicBezTo>
                <a:cubicBezTo>
                  <a:pt x="9010651" y="1739485"/>
                  <a:pt x="9039603" y="1710535"/>
                  <a:pt x="9075317" y="1710535"/>
                </a:cubicBezTo>
                <a:close/>
                <a:moveTo>
                  <a:pt x="8914829" y="1710535"/>
                </a:moveTo>
                <a:cubicBezTo>
                  <a:pt x="8950543" y="1710535"/>
                  <a:pt x="8979495" y="1739485"/>
                  <a:pt x="8979495" y="1775201"/>
                </a:cubicBezTo>
                <a:cubicBezTo>
                  <a:pt x="8979495" y="1810913"/>
                  <a:pt x="8950543" y="1839865"/>
                  <a:pt x="8914829" y="1839865"/>
                </a:cubicBezTo>
                <a:cubicBezTo>
                  <a:pt x="8879115" y="1839865"/>
                  <a:pt x="8850163" y="1810913"/>
                  <a:pt x="8850163" y="1775201"/>
                </a:cubicBezTo>
                <a:cubicBezTo>
                  <a:pt x="8850163" y="1739485"/>
                  <a:pt x="8879115" y="1710535"/>
                  <a:pt x="8914829" y="1710535"/>
                </a:cubicBezTo>
                <a:close/>
                <a:moveTo>
                  <a:pt x="8766086" y="1710535"/>
                </a:moveTo>
                <a:cubicBezTo>
                  <a:pt x="8801800" y="1710535"/>
                  <a:pt x="8830752" y="1739485"/>
                  <a:pt x="8830752" y="1775201"/>
                </a:cubicBezTo>
                <a:cubicBezTo>
                  <a:pt x="8830752" y="1810913"/>
                  <a:pt x="8801800" y="1839865"/>
                  <a:pt x="8766086" y="1839865"/>
                </a:cubicBezTo>
                <a:cubicBezTo>
                  <a:pt x="8730372" y="1839865"/>
                  <a:pt x="8701420" y="1810913"/>
                  <a:pt x="8701420" y="1775201"/>
                </a:cubicBezTo>
                <a:cubicBezTo>
                  <a:pt x="8701420" y="1739485"/>
                  <a:pt x="8730372" y="1710535"/>
                  <a:pt x="8766086" y="1710535"/>
                </a:cubicBezTo>
                <a:close/>
                <a:moveTo>
                  <a:pt x="8601683" y="1710535"/>
                </a:moveTo>
                <a:cubicBezTo>
                  <a:pt x="8637397" y="1710535"/>
                  <a:pt x="8666349" y="1739485"/>
                  <a:pt x="8666349" y="1775201"/>
                </a:cubicBezTo>
                <a:cubicBezTo>
                  <a:pt x="8666349" y="1810913"/>
                  <a:pt x="8637397" y="1839865"/>
                  <a:pt x="8601683" y="1839865"/>
                </a:cubicBezTo>
                <a:cubicBezTo>
                  <a:pt x="8565969" y="1839865"/>
                  <a:pt x="8537017" y="1810913"/>
                  <a:pt x="8537017" y="1775201"/>
                </a:cubicBezTo>
                <a:cubicBezTo>
                  <a:pt x="8537017" y="1739485"/>
                  <a:pt x="8565969" y="1710535"/>
                  <a:pt x="8601683" y="1710535"/>
                </a:cubicBezTo>
                <a:close/>
                <a:moveTo>
                  <a:pt x="8449025" y="1710535"/>
                </a:moveTo>
                <a:cubicBezTo>
                  <a:pt x="8484739" y="1710535"/>
                  <a:pt x="8513691" y="1739485"/>
                  <a:pt x="8513691" y="1775201"/>
                </a:cubicBezTo>
                <a:cubicBezTo>
                  <a:pt x="8513691" y="1810913"/>
                  <a:pt x="8484739" y="1839865"/>
                  <a:pt x="8449025" y="1839865"/>
                </a:cubicBezTo>
                <a:cubicBezTo>
                  <a:pt x="8413311" y="1839865"/>
                  <a:pt x="8384359" y="1810913"/>
                  <a:pt x="8384359" y="1775201"/>
                </a:cubicBezTo>
                <a:cubicBezTo>
                  <a:pt x="8384359" y="1739485"/>
                  <a:pt x="8413311" y="1710535"/>
                  <a:pt x="8449025" y="1710535"/>
                </a:cubicBezTo>
                <a:close/>
                <a:moveTo>
                  <a:pt x="8296367" y="1710535"/>
                </a:moveTo>
                <a:cubicBezTo>
                  <a:pt x="8332081" y="1710535"/>
                  <a:pt x="8361033" y="1739485"/>
                  <a:pt x="8361033" y="1775201"/>
                </a:cubicBezTo>
                <a:cubicBezTo>
                  <a:pt x="8361033" y="1810913"/>
                  <a:pt x="8332081" y="1839865"/>
                  <a:pt x="8296367" y="1839865"/>
                </a:cubicBezTo>
                <a:cubicBezTo>
                  <a:pt x="8260653" y="1839865"/>
                  <a:pt x="8231701" y="1810913"/>
                  <a:pt x="8231701" y="1775201"/>
                </a:cubicBezTo>
                <a:cubicBezTo>
                  <a:pt x="8231701" y="1739485"/>
                  <a:pt x="8260653" y="1710535"/>
                  <a:pt x="8296367" y="1710535"/>
                </a:cubicBezTo>
                <a:close/>
                <a:moveTo>
                  <a:pt x="8139792" y="1710535"/>
                </a:moveTo>
                <a:cubicBezTo>
                  <a:pt x="8175506" y="1710535"/>
                  <a:pt x="8204458" y="1739485"/>
                  <a:pt x="8204458" y="1775201"/>
                </a:cubicBezTo>
                <a:cubicBezTo>
                  <a:pt x="8204458" y="1810913"/>
                  <a:pt x="8175506" y="1839865"/>
                  <a:pt x="8139792" y="1839865"/>
                </a:cubicBezTo>
                <a:cubicBezTo>
                  <a:pt x="8104078" y="1839865"/>
                  <a:pt x="8075126" y="1810913"/>
                  <a:pt x="8075126" y="1775201"/>
                </a:cubicBezTo>
                <a:cubicBezTo>
                  <a:pt x="8075126" y="1739485"/>
                  <a:pt x="8104078" y="1710535"/>
                  <a:pt x="8139792" y="1710535"/>
                </a:cubicBezTo>
                <a:close/>
                <a:moveTo>
                  <a:pt x="7987133" y="1710535"/>
                </a:moveTo>
                <a:cubicBezTo>
                  <a:pt x="8022847" y="1710535"/>
                  <a:pt x="8051799" y="1739485"/>
                  <a:pt x="8051799" y="1775201"/>
                </a:cubicBezTo>
                <a:cubicBezTo>
                  <a:pt x="8051799" y="1810913"/>
                  <a:pt x="8022847" y="1839865"/>
                  <a:pt x="7987133" y="1839865"/>
                </a:cubicBezTo>
                <a:cubicBezTo>
                  <a:pt x="7951419" y="1839865"/>
                  <a:pt x="7922467" y="1810913"/>
                  <a:pt x="7922467" y="1775201"/>
                </a:cubicBezTo>
                <a:cubicBezTo>
                  <a:pt x="7922467" y="1739485"/>
                  <a:pt x="7951419" y="1710535"/>
                  <a:pt x="7987133" y="1710535"/>
                </a:cubicBezTo>
                <a:close/>
                <a:moveTo>
                  <a:pt x="7830562" y="1710535"/>
                </a:moveTo>
                <a:cubicBezTo>
                  <a:pt x="7866276" y="1710535"/>
                  <a:pt x="7895228" y="1739485"/>
                  <a:pt x="7895228" y="1775201"/>
                </a:cubicBezTo>
                <a:cubicBezTo>
                  <a:pt x="7895228" y="1810913"/>
                  <a:pt x="7866276" y="1839865"/>
                  <a:pt x="7830562" y="1839865"/>
                </a:cubicBezTo>
                <a:cubicBezTo>
                  <a:pt x="7794848" y="1839865"/>
                  <a:pt x="7765896" y="1810913"/>
                  <a:pt x="7765896" y="1775201"/>
                </a:cubicBezTo>
                <a:cubicBezTo>
                  <a:pt x="7765896" y="1739485"/>
                  <a:pt x="7794848" y="1710535"/>
                  <a:pt x="7830562" y="1710535"/>
                </a:cubicBezTo>
                <a:close/>
                <a:moveTo>
                  <a:pt x="7677902" y="1710535"/>
                </a:moveTo>
                <a:cubicBezTo>
                  <a:pt x="7713616" y="1710535"/>
                  <a:pt x="7742568" y="1739485"/>
                  <a:pt x="7742568" y="1775201"/>
                </a:cubicBezTo>
                <a:cubicBezTo>
                  <a:pt x="7742568" y="1810913"/>
                  <a:pt x="7713616" y="1839865"/>
                  <a:pt x="7677902" y="1839865"/>
                </a:cubicBezTo>
                <a:cubicBezTo>
                  <a:pt x="7642188" y="1839865"/>
                  <a:pt x="7613236" y="1810913"/>
                  <a:pt x="7613236" y="1775201"/>
                </a:cubicBezTo>
                <a:cubicBezTo>
                  <a:pt x="7613236" y="1739485"/>
                  <a:pt x="7642188" y="1710535"/>
                  <a:pt x="7677902" y="1710535"/>
                </a:cubicBezTo>
                <a:close/>
                <a:moveTo>
                  <a:pt x="7521329" y="1710535"/>
                </a:moveTo>
                <a:cubicBezTo>
                  <a:pt x="7557043" y="1710535"/>
                  <a:pt x="7585995" y="1739485"/>
                  <a:pt x="7585995" y="1775201"/>
                </a:cubicBezTo>
                <a:cubicBezTo>
                  <a:pt x="7585995" y="1810913"/>
                  <a:pt x="7557043" y="1839865"/>
                  <a:pt x="7521329" y="1839865"/>
                </a:cubicBezTo>
                <a:cubicBezTo>
                  <a:pt x="7485615" y="1839865"/>
                  <a:pt x="7456663" y="1810913"/>
                  <a:pt x="7456663" y="1775201"/>
                </a:cubicBezTo>
                <a:cubicBezTo>
                  <a:pt x="7456663" y="1739485"/>
                  <a:pt x="7485615" y="1710535"/>
                  <a:pt x="7521329" y="1710535"/>
                </a:cubicBezTo>
                <a:close/>
                <a:moveTo>
                  <a:pt x="7368669" y="1710535"/>
                </a:moveTo>
                <a:cubicBezTo>
                  <a:pt x="7404383" y="1710535"/>
                  <a:pt x="7433335" y="1739485"/>
                  <a:pt x="7433335" y="1775201"/>
                </a:cubicBezTo>
                <a:cubicBezTo>
                  <a:pt x="7433335" y="1810913"/>
                  <a:pt x="7404383" y="1839865"/>
                  <a:pt x="7368669" y="1839865"/>
                </a:cubicBezTo>
                <a:cubicBezTo>
                  <a:pt x="7332955" y="1839865"/>
                  <a:pt x="7304003" y="1810913"/>
                  <a:pt x="7304003" y="1775201"/>
                </a:cubicBezTo>
                <a:cubicBezTo>
                  <a:pt x="7304003" y="1739485"/>
                  <a:pt x="7332955" y="1710535"/>
                  <a:pt x="7368669" y="1710535"/>
                </a:cubicBezTo>
                <a:close/>
                <a:moveTo>
                  <a:pt x="7212096" y="1710535"/>
                </a:moveTo>
                <a:cubicBezTo>
                  <a:pt x="7247810" y="1710535"/>
                  <a:pt x="7276762" y="1739485"/>
                  <a:pt x="7276762" y="1775201"/>
                </a:cubicBezTo>
                <a:cubicBezTo>
                  <a:pt x="7276762" y="1810913"/>
                  <a:pt x="7247810" y="1839865"/>
                  <a:pt x="7212096" y="1839865"/>
                </a:cubicBezTo>
                <a:cubicBezTo>
                  <a:pt x="7176382" y="1839865"/>
                  <a:pt x="7147430" y="1810913"/>
                  <a:pt x="7147430" y="1775201"/>
                </a:cubicBezTo>
                <a:cubicBezTo>
                  <a:pt x="7147430" y="1739485"/>
                  <a:pt x="7176382" y="1710535"/>
                  <a:pt x="7212096" y="1710535"/>
                </a:cubicBezTo>
                <a:close/>
                <a:moveTo>
                  <a:pt x="7055523" y="1710535"/>
                </a:moveTo>
                <a:cubicBezTo>
                  <a:pt x="7091237" y="1710535"/>
                  <a:pt x="7120189" y="1739485"/>
                  <a:pt x="7120189" y="1775201"/>
                </a:cubicBezTo>
                <a:cubicBezTo>
                  <a:pt x="7120189" y="1810913"/>
                  <a:pt x="7091237" y="1839865"/>
                  <a:pt x="7055523" y="1839865"/>
                </a:cubicBezTo>
                <a:cubicBezTo>
                  <a:pt x="7019809" y="1839865"/>
                  <a:pt x="6990857" y="1810913"/>
                  <a:pt x="6990857" y="1775201"/>
                </a:cubicBezTo>
                <a:cubicBezTo>
                  <a:pt x="6990857" y="1739485"/>
                  <a:pt x="7019809" y="1710535"/>
                  <a:pt x="7055523" y="1710535"/>
                </a:cubicBezTo>
                <a:close/>
                <a:moveTo>
                  <a:pt x="6895037" y="1710535"/>
                </a:moveTo>
                <a:cubicBezTo>
                  <a:pt x="6930751" y="1710535"/>
                  <a:pt x="6959703" y="1739485"/>
                  <a:pt x="6959703" y="1775201"/>
                </a:cubicBezTo>
                <a:cubicBezTo>
                  <a:pt x="6959703" y="1810913"/>
                  <a:pt x="6930751" y="1839865"/>
                  <a:pt x="6895037" y="1839865"/>
                </a:cubicBezTo>
                <a:cubicBezTo>
                  <a:pt x="6859323" y="1839865"/>
                  <a:pt x="6830371" y="1810913"/>
                  <a:pt x="6830371" y="1775201"/>
                </a:cubicBezTo>
                <a:cubicBezTo>
                  <a:pt x="6830371" y="1739485"/>
                  <a:pt x="6859323" y="1710535"/>
                  <a:pt x="6895037" y="1710535"/>
                </a:cubicBezTo>
                <a:close/>
                <a:moveTo>
                  <a:pt x="6742375" y="1710535"/>
                </a:moveTo>
                <a:cubicBezTo>
                  <a:pt x="6778089" y="1710535"/>
                  <a:pt x="6807041" y="1739485"/>
                  <a:pt x="6807041" y="1775201"/>
                </a:cubicBezTo>
                <a:cubicBezTo>
                  <a:pt x="6807041" y="1810913"/>
                  <a:pt x="6778089" y="1839865"/>
                  <a:pt x="6742375" y="1839865"/>
                </a:cubicBezTo>
                <a:cubicBezTo>
                  <a:pt x="6706661" y="1839865"/>
                  <a:pt x="6677709" y="1810913"/>
                  <a:pt x="6677709" y="1775201"/>
                </a:cubicBezTo>
                <a:cubicBezTo>
                  <a:pt x="6677709" y="1739485"/>
                  <a:pt x="6706661" y="1710535"/>
                  <a:pt x="6742375" y="1710535"/>
                </a:cubicBezTo>
                <a:close/>
                <a:moveTo>
                  <a:pt x="6585802" y="1710535"/>
                </a:moveTo>
                <a:cubicBezTo>
                  <a:pt x="6621516" y="1710535"/>
                  <a:pt x="6650468" y="1739485"/>
                  <a:pt x="6650468" y="1775201"/>
                </a:cubicBezTo>
                <a:cubicBezTo>
                  <a:pt x="6650468" y="1810913"/>
                  <a:pt x="6621516" y="1839865"/>
                  <a:pt x="6585802" y="1839865"/>
                </a:cubicBezTo>
                <a:cubicBezTo>
                  <a:pt x="6550088" y="1839865"/>
                  <a:pt x="6521136" y="1810913"/>
                  <a:pt x="6521136" y="1775201"/>
                </a:cubicBezTo>
                <a:cubicBezTo>
                  <a:pt x="6521136" y="1739485"/>
                  <a:pt x="6550088" y="1710535"/>
                  <a:pt x="6585802" y="1710535"/>
                </a:cubicBezTo>
                <a:close/>
                <a:moveTo>
                  <a:pt x="6429229" y="1710535"/>
                </a:moveTo>
                <a:cubicBezTo>
                  <a:pt x="6464943" y="1710535"/>
                  <a:pt x="6493895" y="1739485"/>
                  <a:pt x="6493895" y="1775201"/>
                </a:cubicBezTo>
                <a:cubicBezTo>
                  <a:pt x="6493895" y="1810913"/>
                  <a:pt x="6464943" y="1839865"/>
                  <a:pt x="6429229" y="1839865"/>
                </a:cubicBezTo>
                <a:cubicBezTo>
                  <a:pt x="6393515" y="1839865"/>
                  <a:pt x="6364563" y="1810913"/>
                  <a:pt x="6364563" y="1775201"/>
                </a:cubicBezTo>
                <a:cubicBezTo>
                  <a:pt x="6364563" y="1739485"/>
                  <a:pt x="6393515" y="1710535"/>
                  <a:pt x="6429229" y="1710535"/>
                </a:cubicBezTo>
                <a:close/>
                <a:moveTo>
                  <a:pt x="6276571" y="1710535"/>
                </a:moveTo>
                <a:cubicBezTo>
                  <a:pt x="6312285" y="1710535"/>
                  <a:pt x="6341237" y="1739485"/>
                  <a:pt x="6341237" y="1775201"/>
                </a:cubicBezTo>
                <a:cubicBezTo>
                  <a:pt x="6341237" y="1810913"/>
                  <a:pt x="6312285" y="1839865"/>
                  <a:pt x="6276571" y="1839865"/>
                </a:cubicBezTo>
                <a:cubicBezTo>
                  <a:pt x="6240857" y="1839865"/>
                  <a:pt x="6211905" y="1810913"/>
                  <a:pt x="6211905" y="1775201"/>
                </a:cubicBezTo>
                <a:cubicBezTo>
                  <a:pt x="6211905" y="1739485"/>
                  <a:pt x="6240857" y="1710535"/>
                  <a:pt x="6276571" y="1710535"/>
                </a:cubicBezTo>
                <a:close/>
                <a:moveTo>
                  <a:pt x="6119999" y="1710535"/>
                </a:moveTo>
                <a:cubicBezTo>
                  <a:pt x="6155713" y="1710535"/>
                  <a:pt x="6184665" y="1739485"/>
                  <a:pt x="6184665" y="1775201"/>
                </a:cubicBezTo>
                <a:cubicBezTo>
                  <a:pt x="6184665" y="1810913"/>
                  <a:pt x="6155713" y="1839865"/>
                  <a:pt x="6119999" y="1839865"/>
                </a:cubicBezTo>
                <a:cubicBezTo>
                  <a:pt x="6084285" y="1839865"/>
                  <a:pt x="6055333" y="1810913"/>
                  <a:pt x="6055333" y="1775201"/>
                </a:cubicBezTo>
                <a:cubicBezTo>
                  <a:pt x="6055333" y="1739485"/>
                  <a:pt x="6084285" y="1710535"/>
                  <a:pt x="6119999" y="1710535"/>
                </a:cubicBezTo>
                <a:close/>
                <a:moveTo>
                  <a:pt x="5967338" y="1710535"/>
                </a:moveTo>
                <a:cubicBezTo>
                  <a:pt x="6003052" y="1710535"/>
                  <a:pt x="6032004" y="1739485"/>
                  <a:pt x="6032004" y="1775201"/>
                </a:cubicBezTo>
                <a:cubicBezTo>
                  <a:pt x="6032004" y="1810913"/>
                  <a:pt x="6003052" y="1839865"/>
                  <a:pt x="5967338" y="1839865"/>
                </a:cubicBezTo>
                <a:cubicBezTo>
                  <a:pt x="5931624" y="1839865"/>
                  <a:pt x="5902672" y="1810913"/>
                  <a:pt x="5902672" y="1775201"/>
                </a:cubicBezTo>
                <a:cubicBezTo>
                  <a:pt x="5902672" y="1739485"/>
                  <a:pt x="5931624" y="1710535"/>
                  <a:pt x="5967338" y="1710535"/>
                </a:cubicBezTo>
                <a:close/>
                <a:moveTo>
                  <a:pt x="5810800" y="1710535"/>
                </a:moveTo>
                <a:cubicBezTo>
                  <a:pt x="5846479" y="1710535"/>
                  <a:pt x="5875431" y="1739485"/>
                  <a:pt x="5875431" y="1775201"/>
                </a:cubicBezTo>
                <a:cubicBezTo>
                  <a:pt x="5875431" y="1810913"/>
                  <a:pt x="5846479" y="1839865"/>
                  <a:pt x="5810800" y="1839865"/>
                </a:cubicBezTo>
                <a:cubicBezTo>
                  <a:pt x="5775077" y="1839865"/>
                  <a:pt x="5746117" y="1810913"/>
                  <a:pt x="5746117" y="1775201"/>
                </a:cubicBezTo>
                <a:cubicBezTo>
                  <a:pt x="5746117" y="1739485"/>
                  <a:pt x="5775077" y="1710535"/>
                  <a:pt x="5810800" y="1710535"/>
                </a:cubicBezTo>
                <a:close/>
                <a:moveTo>
                  <a:pt x="5658108" y="1710535"/>
                </a:moveTo>
                <a:cubicBezTo>
                  <a:pt x="5693823" y="1710535"/>
                  <a:pt x="5722783" y="1739485"/>
                  <a:pt x="5722783" y="1775201"/>
                </a:cubicBezTo>
                <a:cubicBezTo>
                  <a:pt x="5722783" y="1810913"/>
                  <a:pt x="5693823" y="1839865"/>
                  <a:pt x="5658108" y="1839865"/>
                </a:cubicBezTo>
                <a:cubicBezTo>
                  <a:pt x="5622397" y="1839865"/>
                  <a:pt x="5593441" y="1810913"/>
                  <a:pt x="5593441" y="1775201"/>
                </a:cubicBezTo>
                <a:cubicBezTo>
                  <a:pt x="5593441" y="1739485"/>
                  <a:pt x="5622397" y="1710535"/>
                  <a:pt x="5658108" y="1710535"/>
                </a:cubicBezTo>
                <a:close/>
                <a:moveTo>
                  <a:pt x="5501543" y="1710535"/>
                </a:moveTo>
                <a:cubicBezTo>
                  <a:pt x="5537254" y="1710535"/>
                  <a:pt x="5566205" y="1739485"/>
                  <a:pt x="5566205" y="1775201"/>
                </a:cubicBezTo>
                <a:cubicBezTo>
                  <a:pt x="5566205" y="1810913"/>
                  <a:pt x="5537254" y="1839865"/>
                  <a:pt x="5501543" y="1839865"/>
                </a:cubicBezTo>
                <a:cubicBezTo>
                  <a:pt x="5465830" y="1839865"/>
                  <a:pt x="5436886" y="1810913"/>
                  <a:pt x="5436886" y="1775201"/>
                </a:cubicBezTo>
                <a:cubicBezTo>
                  <a:pt x="5436886" y="1739485"/>
                  <a:pt x="5465830" y="1710535"/>
                  <a:pt x="5501543" y="1710535"/>
                </a:cubicBezTo>
                <a:close/>
                <a:moveTo>
                  <a:pt x="5348888" y="1710535"/>
                </a:moveTo>
                <a:cubicBezTo>
                  <a:pt x="5384604" y="1710535"/>
                  <a:pt x="5413554" y="1739485"/>
                  <a:pt x="5413554" y="1775201"/>
                </a:cubicBezTo>
                <a:cubicBezTo>
                  <a:pt x="5413554" y="1810913"/>
                  <a:pt x="5384604" y="1839865"/>
                  <a:pt x="5348888" y="1839865"/>
                </a:cubicBezTo>
                <a:cubicBezTo>
                  <a:pt x="5313189" y="1839865"/>
                  <a:pt x="5284230" y="1810913"/>
                  <a:pt x="5284230" y="1775201"/>
                </a:cubicBezTo>
                <a:cubicBezTo>
                  <a:pt x="5284230" y="1739485"/>
                  <a:pt x="5313189" y="1710535"/>
                  <a:pt x="5348888" y="1710535"/>
                </a:cubicBezTo>
                <a:close/>
                <a:moveTo>
                  <a:pt x="5192321" y="1710535"/>
                </a:moveTo>
                <a:cubicBezTo>
                  <a:pt x="5228040" y="1710535"/>
                  <a:pt x="5256982" y="1739485"/>
                  <a:pt x="5256982" y="1775201"/>
                </a:cubicBezTo>
                <a:cubicBezTo>
                  <a:pt x="5256982" y="1810913"/>
                  <a:pt x="5228040" y="1839865"/>
                  <a:pt x="5192321" y="1839865"/>
                </a:cubicBezTo>
                <a:cubicBezTo>
                  <a:pt x="5156613" y="1839865"/>
                  <a:pt x="5127656" y="1810913"/>
                  <a:pt x="5127656" y="1775201"/>
                </a:cubicBezTo>
                <a:cubicBezTo>
                  <a:pt x="5127656" y="1739485"/>
                  <a:pt x="5156613" y="1710535"/>
                  <a:pt x="5192321" y="1710535"/>
                </a:cubicBezTo>
                <a:close/>
                <a:moveTo>
                  <a:pt x="3630603" y="1710535"/>
                </a:moveTo>
                <a:cubicBezTo>
                  <a:pt x="3666311" y="1710535"/>
                  <a:pt x="3695268" y="1739485"/>
                  <a:pt x="3695268" y="1775201"/>
                </a:cubicBezTo>
                <a:cubicBezTo>
                  <a:pt x="3695268" y="1810913"/>
                  <a:pt x="3666311" y="1839865"/>
                  <a:pt x="3630603" y="1839865"/>
                </a:cubicBezTo>
                <a:cubicBezTo>
                  <a:pt x="3594880" y="1839865"/>
                  <a:pt x="3565924" y="1810913"/>
                  <a:pt x="3565924" y="1775201"/>
                </a:cubicBezTo>
                <a:cubicBezTo>
                  <a:pt x="3565924" y="1739485"/>
                  <a:pt x="3594880" y="1710535"/>
                  <a:pt x="3630603" y="1710535"/>
                </a:cubicBezTo>
                <a:close/>
                <a:moveTo>
                  <a:pt x="3481848" y="1710535"/>
                </a:moveTo>
                <a:cubicBezTo>
                  <a:pt x="3517561" y="1710535"/>
                  <a:pt x="3546518" y="1739485"/>
                  <a:pt x="3546518" y="1775201"/>
                </a:cubicBezTo>
                <a:cubicBezTo>
                  <a:pt x="3546518" y="1810913"/>
                  <a:pt x="3517561" y="1839865"/>
                  <a:pt x="3481848" y="1839865"/>
                </a:cubicBezTo>
                <a:cubicBezTo>
                  <a:pt x="3446141" y="1839865"/>
                  <a:pt x="3417193" y="1810913"/>
                  <a:pt x="3417193" y="1775201"/>
                </a:cubicBezTo>
                <a:cubicBezTo>
                  <a:pt x="3417193" y="1739485"/>
                  <a:pt x="3446141" y="1710535"/>
                  <a:pt x="3481848" y="1710535"/>
                </a:cubicBezTo>
                <a:close/>
                <a:moveTo>
                  <a:pt x="3321383" y="1710535"/>
                </a:moveTo>
                <a:cubicBezTo>
                  <a:pt x="3357095" y="1710535"/>
                  <a:pt x="3386026" y="1739485"/>
                  <a:pt x="3386026" y="1775201"/>
                </a:cubicBezTo>
                <a:cubicBezTo>
                  <a:pt x="3386026" y="1810913"/>
                  <a:pt x="3357095" y="1839865"/>
                  <a:pt x="3321383" y="1839865"/>
                </a:cubicBezTo>
                <a:cubicBezTo>
                  <a:pt x="3285663" y="1839865"/>
                  <a:pt x="3256721" y="1810913"/>
                  <a:pt x="3256721" y="1775201"/>
                </a:cubicBezTo>
                <a:cubicBezTo>
                  <a:pt x="3256721" y="1739485"/>
                  <a:pt x="3285663" y="1710535"/>
                  <a:pt x="3321383" y="1710535"/>
                </a:cubicBezTo>
                <a:close/>
                <a:moveTo>
                  <a:pt x="3172630" y="1710535"/>
                </a:moveTo>
                <a:cubicBezTo>
                  <a:pt x="3208353" y="1710535"/>
                  <a:pt x="3237304" y="1739485"/>
                  <a:pt x="3237304" y="1775201"/>
                </a:cubicBezTo>
                <a:cubicBezTo>
                  <a:pt x="3237304" y="1810913"/>
                  <a:pt x="3208353" y="1839865"/>
                  <a:pt x="3172630" y="1839865"/>
                </a:cubicBezTo>
                <a:cubicBezTo>
                  <a:pt x="3136907" y="1839865"/>
                  <a:pt x="3107947" y="1810913"/>
                  <a:pt x="3107947" y="1775201"/>
                </a:cubicBezTo>
                <a:cubicBezTo>
                  <a:pt x="3107947" y="1739485"/>
                  <a:pt x="3136907" y="1710535"/>
                  <a:pt x="3172630" y="1710535"/>
                </a:cubicBezTo>
                <a:close/>
                <a:moveTo>
                  <a:pt x="3012113" y="1710535"/>
                </a:moveTo>
                <a:cubicBezTo>
                  <a:pt x="3047824" y="1710535"/>
                  <a:pt x="3076783" y="1739485"/>
                  <a:pt x="3076783" y="1775201"/>
                </a:cubicBezTo>
                <a:cubicBezTo>
                  <a:pt x="3076783" y="1810913"/>
                  <a:pt x="3047824" y="1839865"/>
                  <a:pt x="3012113" y="1839865"/>
                </a:cubicBezTo>
                <a:cubicBezTo>
                  <a:pt x="2976404" y="1839865"/>
                  <a:pt x="2947457" y="1810913"/>
                  <a:pt x="2947457" y="1775201"/>
                </a:cubicBezTo>
                <a:cubicBezTo>
                  <a:pt x="2947457" y="1739485"/>
                  <a:pt x="2976404" y="1710535"/>
                  <a:pt x="3012113" y="1710535"/>
                </a:cubicBezTo>
                <a:close/>
                <a:moveTo>
                  <a:pt x="2855561" y="1710535"/>
                </a:moveTo>
                <a:cubicBezTo>
                  <a:pt x="2891270" y="1710535"/>
                  <a:pt x="2920218" y="1739485"/>
                  <a:pt x="2920218" y="1775201"/>
                </a:cubicBezTo>
                <a:cubicBezTo>
                  <a:pt x="2920218" y="1810913"/>
                  <a:pt x="2891270" y="1839865"/>
                  <a:pt x="2855561" y="1839865"/>
                </a:cubicBezTo>
                <a:cubicBezTo>
                  <a:pt x="2819852" y="1839865"/>
                  <a:pt x="2790904" y="1810913"/>
                  <a:pt x="2790904" y="1775201"/>
                </a:cubicBezTo>
                <a:cubicBezTo>
                  <a:pt x="2790904" y="1739485"/>
                  <a:pt x="2819852" y="1710535"/>
                  <a:pt x="2855561" y="1710535"/>
                </a:cubicBezTo>
                <a:close/>
                <a:moveTo>
                  <a:pt x="2699010" y="1710535"/>
                </a:moveTo>
                <a:cubicBezTo>
                  <a:pt x="2734719" y="1710535"/>
                  <a:pt x="2763667" y="1739485"/>
                  <a:pt x="2763667" y="1775201"/>
                </a:cubicBezTo>
                <a:cubicBezTo>
                  <a:pt x="2763667" y="1810913"/>
                  <a:pt x="2734719" y="1839865"/>
                  <a:pt x="2699010" y="1839865"/>
                </a:cubicBezTo>
                <a:cubicBezTo>
                  <a:pt x="2663301" y="1839865"/>
                  <a:pt x="2634353" y="1810913"/>
                  <a:pt x="2634353" y="1775201"/>
                </a:cubicBezTo>
                <a:cubicBezTo>
                  <a:pt x="2634353" y="1739485"/>
                  <a:pt x="2663301" y="1710535"/>
                  <a:pt x="2699010" y="1710535"/>
                </a:cubicBezTo>
                <a:close/>
                <a:moveTo>
                  <a:pt x="2546372" y="1710535"/>
                </a:moveTo>
                <a:cubicBezTo>
                  <a:pt x="2582081" y="1710535"/>
                  <a:pt x="2611030" y="1739485"/>
                  <a:pt x="2611030" y="1775201"/>
                </a:cubicBezTo>
                <a:cubicBezTo>
                  <a:pt x="2611030" y="1810913"/>
                  <a:pt x="2582081" y="1839865"/>
                  <a:pt x="2546372" y="1839865"/>
                </a:cubicBezTo>
                <a:cubicBezTo>
                  <a:pt x="2510649" y="1839865"/>
                  <a:pt x="2481712" y="1810913"/>
                  <a:pt x="2481712" y="1775201"/>
                </a:cubicBezTo>
                <a:cubicBezTo>
                  <a:pt x="2481712" y="1739485"/>
                  <a:pt x="2510649" y="1710535"/>
                  <a:pt x="2546372" y="1710535"/>
                </a:cubicBezTo>
                <a:close/>
                <a:moveTo>
                  <a:pt x="2389782" y="1710535"/>
                </a:moveTo>
                <a:cubicBezTo>
                  <a:pt x="2425527" y="1710535"/>
                  <a:pt x="2454476" y="1739485"/>
                  <a:pt x="2454476" y="1775201"/>
                </a:cubicBezTo>
                <a:cubicBezTo>
                  <a:pt x="2454476" y="1810913"/>
                  <a:pt x="2425527" y="1839865"/>
                  <a:pt x="2389782" y="1839865"/>
                </a:cubicBezTo>
                <a:cubicBezTo>
                  <a:pt x="2354097" y="1839865"/>
                  <a:pt x="2325139" y="1810913"/>
                  <a:pt x="2325139" y="1775201"/>
                </a:cubicBezTo>
                <a:cubicBezTo>
                  <a:pt x="2325139" y="1739485"/>
                  <a:pt x="2354097" y="1710535"/>
                  <a:pt x="2389782" y="1710535"/>
                </a:cubicBezTo>
                <a:close/>
                <a:moveTo>
                  <a:pt x="2237121" y="1710535"/>
                </a:moveTo>
                <a:cubicBezTo>
                  <a:pt x="2272845" y="1710535"/>
                  <a:pt x="2301804" y="1739485"/>
                  <a:pt x="2301804" y="1775201"/>
                </a:cubicBezTo>
                <a:cubicBezTo>
                  <a:pt x="2301804" y="1810913"/>
                  <a:pt x="2272845" y="1839865"/>
                  <a:pt x="2237121" y="1839865"/>
                </a:cubicBezTo>
                <a:cubicBezTo>
                  <a:pt x="2201397" y="1839865"/>
                  <a:pt x="2172438" y="1810913"/>
                  <a:pt x="2172438" y="1775201"/>
                </a:cubicBezTo>
                <a:cubicBezTo>
                  <a:pt x="2172438" y="1739485"/>
                  <a:pt x="2201397" y="1710535"/>
                  <a:pt x="2237121" y="1710535"/>
                </a:cubicBezTo>
                <a:close/>
                <a:moveTo>
                  <a:pt x="2084441" y="1710535"/>
                </a:moveTo>
                <a:cubicBezTo>
                  <a:pt x="2120153" y="1710535"/>
                  <a:pt x="2149104" y="1739485"/>
                  <a:pt x="2149104" y="1775201"/>
                </a:cubicBezTo>
                <a:cubicBezTo>
                  <a:pt x="2149104" y="1810913"/>
                  <a:pt x="2120153" y="1839865"/>
                  <a:pt x="2084441" y="1839865"/>
                </a:cubicBezTo>
                <a:cubicBezTo>
                  <a:pt x="2048713" y="1839865"/>
                  <a:pt x="2019794" y="1810913"/>
                  <a:pt x="2019794" y="1775201"/>
                </a:cubicBezTo>
                <a:cubicBezTo>
                  <a:pt x="2019794" y="1739485"/>
                  <a:pt x="2048713" y="1710535"/>
                  <a:pt x="2084441" y="1710535"/>
                </a:cubicBezTo>
                <a:close/>
                <a:moveTo>
                  <a:pt x="1927857" y="1710535"/>
                </a:moveTo>
                <a:cubicBezTo>
                  <a:pt x="1963566" y="1710535"/>
                  <a:pt x="1992543" y="1739485"/>
                  <a:pt x="1992543" y="1775201"/>
                </a:cubicBezTo>
                <a:cubicBezTo>
                  <a:pt x="1992543" y="1810913"/>
                  <a:pt x="1963566" y="1839865"/>
                  <a:pt x="1927857" y="1839865"/>
                </a:cubicBezTo>
                <a:cubicBezTo>
                  <a:pt x="1892173" y="1839865"/>
                  <a:pt x="1863219" y="1810913"/>
                  <a:pt x="1863219" y="1775201"/>
                </a:cubicBezTo>
                <a:cubicBezTo>
                  <a:pt x="1863219" y="1739485"/>
                  <a:pt x="1892173" y="1710535"/>
                  <a:pt x="1927857" y="1710535"/>
                </a:cubicBezTo>
                <a:close/>
                <a:moveTo>
                  <a:pt x="1775206" y="1710535"/>
                </a:moveTo>
                <a:cubicBezTo>
                  <a:pt x="1810911" y="1710535"/>
                  <a:pt x="1839889" y="1739485"/>
                  <a:pt x="1839889" y="1775201"/>
                </a:cubicBezTo>
                <a:cubicBezTo>
                  <a:pt x="1839889" y="1810913"/>
                  <a:pt x="1810911" y="1839865"/>
                  <a:pt x="1775206" y="1839865"/>
                </a:cubicBezTo>
                <a:cubicBezTo>
                  <a:pt x="1739487" y="1839865"/>
                  <a:pt x="1710535" y="1810913"/>
                  <a:pt x="1710535" y="1775201"/>
                </a:cubicBezTo>
                <a:cubicBezTo>
                  <a:pt x="1710535" y="1739485"/>
                  <a:pt x="1739487" y="1710535"/>
                  <a:pt x="1775206" y="1710535"/>
                </a:cubicBezTo>
                <a:close/>
                <a:moveTo>
                  <a:pt x="1618624" y="1710535"/>
                </a:moveTo>
                <a:cubicBezTo>
                  <a:pt x="1654343" y="1710535"/>
                  <a:pt x="1683293" y="1739485"/>
                  <a:pt x="1683293" y="1775201"/>
                </a:cubicBezTo>
                <a:cubicBezTo>
                  <a:pt x="1683293" y="1810913"/>
                  <a:pt x="1654343" y="1839865"/>
                  <a:pt x="1618624" y="1839865"/>
                </a:cubicBezTo>
                <a:cubicBezTo>
                  <a:pt x="1582913" y="1839865"/>
                  <a:pt x="1553961" y="1810913"/>
                  <a:pt x="1553961" y="1775201"/>
                </a:cubicBezTo>
                <a:cubicBezTo>
                  <a:pt x="1553961" y="1739485"/>
                  <a:pt x="1582913" y="1710535"/>
                  <a:pt x="1618624" y="1710535"/>
                </a:cubicBezTo>
                <a:close/>
                <a:moveTo>
                  <a:pt x="1465967" y="1710535"/>
                </a:moveTo>
                <a:cubicBezTo>
                  <a:pt x="1501681" y="1710535"/>
                  <a:pt x="1530634" y="1739485"/>
                  <a:pt x="1530634" y="1775201"/>
                </a:cubicBezTo>
                <a:cubicBezTo>
                  <a:pt x="1530634" y="1810913"/>
                  <a:pt x="1501681" y="1839865"/>
                  <a:pt x="1465967" y="1839865"/>
                </a:cubicBezTo>
                <a:cubicBezTo>
                  <a:pt x="1430254" y="1839865"/>
                  <a:pt x="1401304" y="1810913"/>
                  <a:pt x="1401304" y="1775201"/>
                </a:cubicBezTo>
                <a:cubicBezTo>
                  <a:pt x="1401304" y="1739485"/>
                  <a:pt x="1430254" y="1710535"/>
                  <a:pt x="1465967" y="1710535"/>
                </a:cubicBezTo>
                <a:close/>
                <a:moveTo>
                  <a:pt x="1309394" y="1710535"/>
                </a:moveTo>
                <a:cubicBezTo>
                  <a:pt x="1345108" y="1710535"/>
                  <a:pt x="1374060" y="1739485"/>
                  <a:pt x="1374060" y="1775201"/>
                </a:cubicBezTo>
                <a:cubicBezTo>
                  <a:pt x="1374060" y="1810913"/>
                  <a:pt x="1345108" y="1839865"/>
                  <a:pt x="1309394" y="1839865"/>
                </a:cubicBezTo>
                <a:cubicBezTo>
                  <a:pt x="1273680" y="1839865"/>
                  <a:pt x="1244728" y="1810913"/>
                  <a:pt x="1244728" y="1775201"/>
                </a:cubicBezTo>
                <a:cubicBezTo>
                  <a:pt x="1244728" y="1739485"/>
                  <a:pt x="1273680" y="1710535"/>
                  <a:pt x="1309394" y="1710535"/>
                </a:cubicBezTo>
                <a:close/>
                <a:moveTo>
                  <a:pt x="1148909" y="1710535"/>
                </a:moveTo>
                <a:cubicBezTo>
                  <a:pt x="1184623" y="1710535"/>
                  <a:pt x="1213575" y="1739485"/>
                  <a:pt x="1213575" y="1775201"/>
                </a:cubicBezTo>
                <a:cubicBezTo>
                  <a:pt x="1213575" y="1810913"/>
                  <a:pt x="1184623" y="1839865"/>
                  <a:pt x="1148909" y="1839865"/>
                </a:cubicBezTo>
                <a:cubicBezTo>
                  <a:pt x="1113196" y="1839865"/>
                  <a:pt x="1084244" y="1810913"/>
                  <a:pt x="1084244" y="1775201"/>
                </a:cubicBezTo>
                <a:cubicBezTo>
                  <a:pt x="1084244" y="1739485"/>
                  <a:pt x="1113196" y="1710535"/>
                  <a:pt x="1148909" y="1710535"/>
                </a:cubicBezTo>
                <a:close/>
                <a:moveTo>
                  <a:pt x="8914829" y="1565709"/>
                </a:moveTo>
                <a:cubicBezTo>
                  <a:pt x="8950543" y="1565709"/>
                  <a:pt x="8979495" y="1594659"/>
                  <a:pt x="8979495" y="1630374"/>
                </a:cubicBezTo>
                <a:cubicBezTo>
                  <a:pt x="8979495" y="1666088"/>
                  <a:pt x="8950543" y="1695039"/>
                  <a:pt x="8914829" y="1695039"/>
                </a:cubicBezTo>
                <a:cubicBezTo>
                  <a:pt x="8879115" y="1695039"/>
                  <a:pt x="8850163" y="1666088"/>
                  <a:pt x="8850163" y="1630374"/>
                </a:cubicBezTo>
                <a:cubicBezTo>
                  <a:pt x="8850163" y="1594659"/>
                  <a:pt x="8879115" y="1565709"/>
                  <a:pt x="8914829" y="1565709"/>
                </a:cubicBezTo>
                <a:close/>
                <a:moveTo>
                  <a:pt x="8766086" y="1565709"/>
                </a:moveTo>
                <a:cubicBezTo>
                  <a:pt x="8801800" y="1565709"/>
                  <a:pt x="8830752" y="1594659"/>
                  <a:pt x="8830752" y="1630374"/>
                </a:cubicBezTo>
                <a:cubicBezTo>
                  <a:pt x="8830752" y="1666088"/>
                  <a:pt x="8801800" y="1695039"/>
                  <a:pt x="8766086" y="1695039"/>
                </a:cubicBezTo>
                <a:cubicBezTo>
                  <a:pt x="8730372" y="1695039"/>
                  <a:pt x="8701420" y="1666088"/>
                  <a:pt x="8701420" y="1630374"/>
                </a:cubicBezTo>
                <a:cubicBezTo>
                  <a:pt x="8701420" y="1594659"/>
                  <a:pt x="8730372" y="1565709"/>
                  <a:pt x="8766086" y="1565709"/>
                </a:cubicBezTo>
                <a:close/>
                <a:moveTo>
                  <a:pt x="8601683" y="1565709"/>
                </a:moveTo>
                <a:cubicBezTo>
                  <a:pt x="8637397" y="1565709"/>
                  <a:pt x="8666349" y="1594659"/>
                  <a:pt x="8666349" y="1630374"/>
                </a:cubicBezTo>
                <a:cubicBezTo>
                  <a:pt x="8666349" y="1666088"/>
                  <a:pt x="8637397" y="1695039"/>
                  <a:pt x="8601683" y="1695039"/>
                </a:cubicBezTo>
                <a:cubicBezTo>
                  <a:pt x="8565969" y="1695039"/>
                  <a:pt x="8537017" y="1666088"/>
                  <a:pt x="8537017" y="1630374"/>
                </a:cubicBezTo>
                <a:cubicBezTo>
                  <a:pt x="8537017" y="1594659"/>
                  <a:pt x="8565969" y="1565709"/>
                  <a:pt x="8601683" y="1565709"/>
                </a:cubicBezTo>
                <a:close/>
                <a:moveTo>
                  <a:pt x="8449025" y="1565709"/>
                </a:moveTo>
                <a:cubicBezTo>
                  <a:pt x="8484739" y="1565709"/>
                  <a:pt x="8513691" y="1594659"/>
                  <a:pt x="8513691" y="1630374"/>
                </a:cubicBezTo>
                <a:cubicBezTo>
                  <a:pt x="8513691" y="1666088"/>
                  <a:pt x="8484739" y="1695039"/>
                  <a:pt x="8449025" y="1695039"/>
                </a:cubicBezTo>
                <a:cubicBezTo>
                  <a:pt x="8413311" y="1695039"/>
                  <a:pt x="8384359" y="1666088"/>
                  <a:pt x="8384359" y="1630374"/>
                </a:cubicBezTo>
                <a:cubicBezTo>
                  <a:pt x="8384359" y="1594659"/>
                  <a:pt x="8413311" y="1565709"/>
                  <a:pt x="8449025" y="1565709"/>
                </a:cubicBezTo>
                <a:close/>
                <a:moveTo>
                  <a:pt x="8296367" y="1565709"/>
                </a:moveTo>
                <a:cubicBezTo>
                  <a:pt x="8332081" y="1565709"/>
                  <a:pt x="8361033" y="1594659"/>
                  <a:pt x="8361033" y="1630374"/>
                </a:cubicBezTo>
                <a:cubicBezTo>
                  <a:pt x="8361033" y="1666088"/>
                  <a:pt x="8332081" y="1695039"/>
                  <a:pt x="8296367" y="1695039"/>
                </a:cubicBezTo>
                <a:cubicBezTo>
                  <a:pt x="8260653" y="1695039"/>
                  <a:pt x="8231701" y="1666088"/>
                  <a:pt x="8231701" y="1630374"/>
                </a:cubicBezTo>
                <a:cubicBezTo>
                  <a:pt x="8231701" y="1594659"/>
                  <a:pt x="8260653" y="1565709"/>
                  <a:pt x="8296367" y="1565709"/>
                </a:cubicBezTo>
                <a:close/>
                <a:moveTo>
                  <a:pt x="8139792" y="1565709"/>
                </a:moveTo>
                <a:cubicBezTo>
                  <a:pt x="8175506" y="1565709"/>
                  <a:pt x="8204458" y="1594659"/>
                  <a:pt x="8204458" y="1630374"/>
                </a:cubicBezTo>
                <a:cubicBezTo>
                  <a:pt x="8204458" y="1666088"/>
                  <a:pt x="8175506" y="1695039"/>
                  <a:pt x="8139792" y="1695039"/>
                </a:cubicBezTo>
                <a:cubicBezTo>
                  <a:pt x="8104078" y="1695039"/>
                  <a:pt x="8075126" y="1666088"/>
                  <a:pt x="8075126" y="1630374"/>
                </a:cubicBezTo>
                <a:cubicBezTo>
                  <a:pt x="8075126" y="1594659"/>
                  <a:pt x="8104078" y="1565709"/>
                  <a:pt x="8139792" y="1565709"/>
                </a:cubicBezTo>
                <a:close/>
                <a:moveTo>
                  <a:pt x="7987133" y="1565709"/>
                </a:moveTo>
                <a:cubicBezTo>
                  <a:pt x="8022847" y="1565709"/>
                  <a:pt x="8051799" y="1594659"/>
                  <a:pt x="8051799" y="1630374"/>
                </a:cubicBezTo>
                <a:cubicBezTo>
                  <a:pt x="8051799" y="1666088"/>
                  <a:pt x="8022847" y="1695039"/>
                  <a:pt x="7987133" y="1695039"/>
                </a:cubicBezTo>
                <a:cubicBezTo>
                  <a:pt x="7951419" y="1695039"/>
                  <a:pt x="7922467" y="1666088"/>
                  <a:pt x="7922467" y="1630374"/>
                </a:cubicBezTo>
                <a:cubicBezTo>
                  <a:pt x="7922467" y="1594659"/>
                  <a:pt x="7951419" y="1565709"/>
                  <a:pt x="7987133" y="1565709"/>
                </a:cubicBezTo>
                <a:close/>
                <a:moveTo>
                  <a:pt x="7830562" y="1565709"/>
                </a:moveTo>
                <a:cubicBezTo>
                  <a:pt x="7866276" y="1565709"/>
                  <a:pt x="7895228" y="1594659"/>
                  <a:pt x="7895228" y="1630374"/>
                </a:cubicBezTo>
                <a:cubicBezTo>
                  <a:pt x="7895228" y="1666088"/>
                  <a:pt x="7866276" y="1695039"/>
                  <a:pt x="7830562" y="1695039"/>
                </a:cubicBezTo>
                <a:cubicBezTo>
                  <a:pt x="7794848" y="1695039"/>
                  <a:pt x="7765896" y="1666088"/>
                  <a:pt x="7765896" y="1630374"/>
                </a:cubicBezTo>
                <a:cubicBezTo>
                  <a:pt x="7765896" y="1594659"/>
                  <a:pt x="7794848" y="1565709"/>
                  <a:pt x="7830562" y="1565709"/>
                </a:cubicBezTo>
                <a:close/>
                <a:moveTo>
                  <a:pt x="7677902" y="1565709"/>
                </a:moveTo>
                <a:cubicBezTo>
                  <a:pt x="7713616" y="1565709"/>
                  <a:pt x="7742568" y="1594659"/>
                  <a:pt x="7742568" y="1630374"/>
                </a:cubicBezTo>
                <a:cubicBezTo>
                  <a:pt x="7742568" y="1666088"/>
                  <a:pt x="7713616" y="1695039"/>
                  <a:pt x="7677902" y="1695039"/>
                </a:cubicBezTo>
                <a:cubicBezTo>
                  <a:pt x="7642188" y="1695039"/>
                  <a:pt x="7613236" y="1666088"/>
                  <a:pt x="7613236" y="1630374"/>
                </a:cubicBezTo>
                <a:cubicBezTo>
                  <a:pt x="7613236" y="1594659"/>
                  <a:pt x="7642188" y="1565709"/>
                  <a:pt x="7677902" y="1565709"/>
                </a:cubicBezTo>
                <a:close/>
                <a:moveTo>
                  <a:pt x="7521329" y="1565709"/>
                </a:moveTo>
                <a:cubicBezTo>
                  <a:pt x="7557043" y="1565709"/>
                  <a:pt x="7585995" y="1594659"/>
                  <a:pt x="7585995" y="1630374"/>
                </a:cubicBezTo>
                <a:cubicBezTo>
                  <a:pt x="7585995" y="1666088"/>
                  <a:pt x="7557043" y="1695039"/>
                  <a:pt x="7521329" y="1695039"/>
                </a:cubicBezTo>
                <a:cubicBezTo>
                  <a:pt x="7485615" y="1695039"/>
                  <a:pt x="7456663" y="1666088"/>
                  <a:pt x="7456663" y="1630374"/>
                </a:cubicBezTo>
                <a:cubicBezTo>
                  <a:pt x="7456663" y="1594659"/>
                  <a:pt x="7485615" y="1565709"/>
                  <a:pt x="7521329" y="1565709"/>
                </a:cubicBezTo>
                <a:close/>
                <a:moveTo>
                  <a:pt x="7368669" y="1565709"/>
                </a:moveTo>
                <a:cubicBezTo>
                  <a:pt x="7404383" y="1565709"/>
                  <a:pt x="7433335" y="1594659"/>
                  <a:pt x="7433335" y="1630374"/>
                </a:cubicBezTo>
                <a:cubicBezTo>
                  <a:pt x="7433335" y="1666088"/>
                  <a:pt x="7404383" y="1695039"/>
                  <a:pt x="7368669" y="1695039"/>
                </a:cubicBezTo>
                <a:cubicBezTo>
                  <a:pt x="7332955" y="1695039"/>
                  <a:pt x="7304003" y="1666088"/>
                  <a:pt x="7304003" y="1630374"/>
                </a:cubicBezTo>
                <a:cubicBezTo>
                  <a:pt x="7304003" y="1594659"/>
                  <a:pt x="7332955" y="1565709"/>
                  <a:pt x="7368669" y="1565709"/>
                </a:cubicBezTo>
                <a:close/>
                <a:moveTo>
                  <a:pt x="7212096" y="1565709"/>
                </a:moveTo>
                <a:cubicBezTo>
                  <a:pt x="7247810" y="1565709"/>
                  <a:pt x="7276762" y="1594659"/>
                  <a:pt x="7276762" y="1630374"/>
                </a:cubicBezTo>
                <a:cubicBezTo>
                  <a:pt x="7276762" y="1666088"/>
                  <a:pt x="7247810" y="1695039"/>
                  <a:pt x="7212096" y="1695039"/>
                </a:cubicBezTo>
                <a:cubicBezTo>
                  <a:pt x="7176382" y="1695039"/>
                  <a:pt x="7147430" y="1666088"/>
                  <a:pt x="7147430" y="1630374"/>
                </a:cubicBezTo>
                <a:cubicBezTo>
                  <a:pt x="7147430" y="1594659"/>
                  <a:pt x="7176382" y="1565709"/>
                  <a:pt x="7212096" y="1565709"/>
                </a:cubicBezTo>
                <a:close/>
                <a:moveTo>
                  <a:pt x="7055523" y="1565709"/>
                </a:moveTo>
                <a:cubicBezTo>
                  <a:pt x="7091237" y="1565709"/>
                  <a:pt x="7120189" y="1594659"/>
                  <a:pt x="7120189" y="1630374"/>
                </a:cubicBezTo>
                <a:cubicBezTo>
                  <a:pt x="7120189" y="1666088"/>
                  <a:pt x="7091237" y="1695039"/>
                  <a:pt x="7055523" y="1695039"/>
                </a:cubicBezTo>
                <a:cubicBezTo>
                  <a:pt x="7019809" y="1695039"/>
                  <a:pt x="6990857" y="1666088"/>
                  <a:pt x="6990857" y="1630374"/>
                </a:cubicBezTo>
                <a:cubicBezTo>
                  <a:pt x="6990857" y="1594659"/>
                  <a:pt x="7019809" y="1565709"/>
                  <a:pt x="7055523" y="1565709"/>
                </a:cubicBezTo>
                <a:close/>
                <a:moveTo>
                  <a:pt x="6895037" y="1565709"/>
                </a:moveTo>
                <a:cubicBezTo>
                  <a:pt x="6930751" y="1565709"/>
                  <a:pt x="6959703" y="1594659"/>
                  <a:pt x="6959703" y="1630374"/>
                </a:cubicBezTo>
                <a:cubicBezTo>
                  <a:pt x="6959703" y="1666088"/>
                  <a:pt x="6930751" y="1695039"/>
                  <a:pt x="6895037" y="1695039"/>
                </a:cubicBezTo>
                <a:cubicBezTo>
                  <a:pt x="6859323" y="1695039"/>
                  <a:pt x="6830371" y="1666088"/>
                  <a:pt x="6830371" y="1630374"/>
                </a:cubicBezTo>
                <a:cubicBezTo>
                  <a:pt x="6830371" y="1594659"/>
                  <a:pt x="6859323" y="1565709"/>
                  <a:pt x="6895037" y="1565709"/>
                </a:cubicBezTo>
                <a:close/>
                <a:moveTo>
                  <a:pt x="6742375" y="1565709"/>
                </a:moveTo>
                <a:cubicBezTo>
                  <a:pt x="6778089" y="1565709"/>
                  <a:pt x="6807041" y="1594659"/>
                  <a:pt x="6807041" y="1630374"/>
                </a:cubicBezTo>
                <a:cubicBezTo>
                  <a:pt x="6807041" y="1666088"/>
                  <a:pt x="6778089" y="1695039"/>
                  <a:pt x="6742375" y="1695039"/>
                </a:cubicBezTo>
                <a:cubicBezTo>
                  <a:pt x="6706661" y="1695039"/>
                  <a:pt x="6677709" y="1666088"/>
                  <a:pt x="6677709" y="1630374"/>
                </a:cubicBezTo>
                <a:cubicBezTo>
                  <a:pt x="6677709" y="1594659"/>
                  <a:pt x="6706661" y="1565709"/>
                  <a:pt x="6742375" y="1565709"/>
                </a:cubicBezTo>
                <a:close/>
                <a:moveTo>
                  <a:pt x="6585802" y="1565709"/>
                </a:moveTo>
                <a:cubicBezTo>
                  <a:pt x="6621516" y="1565709"/>
                  <a:pt x="6650468" y="1594659"/>
                  <a:pt x="6650468" y="1630374"/>
                </a:cubicBezTo>
                <a:cubicBezTo>
                  <a:pt x="6650468" y="1666088"/>
                  <a:pt x="6621516" y="1695039"/>
                  <a:pt x="6585802" y="1695039"/>
                </a:cubicBezTo>
                <a:cubicBezTo>
                  <a:pt x="6550088" y="1695039"/>
                  <a:pt x="6521136" y="1666088"/>
                  <a:pt x="6521136" y="1630374"/>
                </a:cubicBezTo>
                <a:cubicBezTo>
                  <a:pt x="6521136" y="1594659"/>
                  <a:pt x="6550088" y="1565709"/>
                  <a:pt x="6585802" y="1565709"/>
                </a:cubicBezTo>
                <a:close/>
                <a:moveTo>
                  <a:pt x="6429229" y="1565709"/>
                </a:moveTo>
                <a:cubicBezTo>
                  <a:pt x="6464943" y="1565709"/>
                  <a:pt x="6493895" y="1594659"/>
                  <a:pt x="6493895" y="1630374"/>
                </a:cubicBezTo>
                <a:cubicBezTo>
                  <a:pt x="6493895" y="1666088"/>
                  <a:pt x="6464943" y="1695039"/>
                  <a:pt x="6429229" y="1695039"/>
                </a:cubicBezTo>
                <a:cubicBezTo>
                  <a:pt x="6393515" y="1695039"/>
                  <a:pt x="6364563" y="1666088"/>
                  <a:pt x="6364563" y="1630374"/>
                </a:cubicBezTo>
                <a:cubicBezTo>
                  <a:pt x="6364563" y="1594659"/>
                  <a:pt x="6393515" y="1565709"/>
                  <a:pt x="6429229" y="1565709"/>
                </a:cubicBezTo>
                <a:close/>
                <a:moveTo>
                  <a:pt x="6276571" y="1565709"/>
                </a:moveTo>
                <a:cubicBezTo>
                  <a:pt x="6312285" y="1565709"/>
                  <a:pt x="6341237" y="1594659"/>
                  <a:pt x="6341237" y="1630374"/>
                </a:cubicBezTo>
                <a:cubicBezTo>
                  <a:pt x="6341237" y="1666088"/>
                  <a:pt x="6312285" y="1695039"/>
                  <a:pt x="6276571" y="1695039"/>
                </a:cubicBezTo>
                <a:cubicBezTo>
                  <a:pt x="6240857" y="1695039"/>
                  <a:pt x="6211905" y="1666088"/>
                  <a:pt x="6211905" y="1630374"/>
                </a:cubicBezTo>
                <a:cubicBezTo>
                  <a:pt x="6211905" y="1594659"/>
                  <a:pt x="6240857" y="1565709"/>
                  <a:pt x="6276571" y="1565709"/>
                </a:cubicBezTo>
                <a:close/>
                <a:moveTo>
                  <a:pt x="5810802" y="1565709"/>
                </a:moveTo>
                <a:cubicBezTo>
                  <a:pt x="5846479" y="1565709"/>
                  <a:pt x="5875431" y="1594659"/>
                  <a:pt x="5875431" y="1630374"/>
                </a:cubicBezTo>
                <a:cubicBezTo>
                  <a:pt x="5875431" y="1666088"/>
                  <a:pt x="5846479" y="1695039"/>
                  <a:pt x="5810802" y="1695039"/>
                </a:cubicBezTo>
                <a:cubicBezTo>
                  <a:pt x="5775077" y="1695039"/>
                  <a:pt x="5746117" y="1666088"/>
                  <a:pt x="5746117" y="1630374"/>
                </a:cubicBezTo>
                <a:cubicBezTo>
                  <a:pt x="5746117" y="1594659"/>
                  <a:pt x="5775077" y="1565709"/>
                  <a:pt x="5810802" y="1565709"/>
                </a:cubicBezTo>
                <a:close/>
                <a:moveTo>
                  <a:pt x="5348888" y="1565709"/>
                </a:moveTo>
                <a:cubicBezTo>
                  <a:pt x="5384604" y="1565709"/>
                  <a:pt x="5413556" y="1594659"/>
                  <a:pt x="5413556" y="1630374"/>
                </a:cubicBezTo>
                <a:cubicBezTo>
                  <a:pt x="5413556" y="1666088"/>
                  <a:pt x="5384604" y="1695039"/>
                  <a:pt x="5348888" y="1695039"/>
                </a:cubicBezTo>
                <a:cubicBezTo>
                  <a:pt x="5313192" y="1695039"/>
                  <a:pt x="5284232" y="1666088"/>
                  <a:pt x="5284232" y="1630374"/>
                </a:cubicBezTo>
                <a:cubicBezTo>
                  <a:pt x="5284232" y="1594659"/>
                  <a:pt x="5313192" y="1565709"/>
                  <a:pt x="5348888" y="1565709"/>
                </a:cubicBezTo>
                <a:close/>
                <a:moveTo>
                  <a:pt x="3481855" y="1565709"/>
                </a:moveTo>
                <a:cubicBezTo>
                  <a:pt x="3517568" y="1565709"/>
                  <a:pt x="3546525" y="1594659"/>
                  <a:pt x="3546525" y="1630374"/>
                </a:cubicBezTo>
                <a:cubicBezTo>
                  <a:pt x="3546525" y="1666088"/>
                  <a:pt x="3517568" y="1695039"/>
                  <a:pt x="3481855" y="1695039"/>
                </a:cubicBezTo>
                <a:cubicBezTo>
                  <a:pt x="3446149" y="1695039"/>
                  <a:pt x="3417201" y="1666088"/>
                  <a:pt x="3417201" y="1630374"/>
                </a:cubicBezTo>
                <a:cubicBezTo>
                  <a:pt x="3417201" y="1594659"/>
                  <a:pt x="3446149" y="1565709"/>
                  <a:pt x="3481855" y="1565709"/>
                </a:cubicBezTo>
                <a:close/>
                <a:moveTo>
                  <a:pt x="3321390" y="1565709"/>
                </a:moveTo>
                <a:cubicBezTo>
                  <a:pt x="3357101" y="1565709"/>
                  <a:pt x="3386032" y="1594659"/>
                  <a:pt x="3386032" y="1630374"/>
                </a:cubicBezTo>
                <a:cubicBezTo>
                  <a:pt x="3386032" y="1666088"/>
                  <a:pt x="3357101" y="1695039"/>
                  <a:pt x="3321390" y="1695039"/>
                </a:cubicBezTo>
                <a:cubicBezTo>
                  <a:pt x="3285669" y="1695039"/>
                  <a:pt x="3256727" y="1666088"/>
                  <a:pt x="3256727" y="1630374"/>
                </a:cubicBezTo>
                <a:cubicBezTo>
                  <a:pt x="3256727" y="1594659"/>
                  <a:pt x="3285669" y="1565709"/>
                  <a:pt x="3321390" y="1565709"/>
                </a:cubicBezTo>
                <a:close/>
                <a:moveTo>
                  <a:pt x="3172637" y="1565709"/>
                </a:moveTo>
                <a:cubicBezTo>
                  <a:pt x="3208362" y="1565709"/>
                  <a:pt x="3237310" y="1594659"/>
                  <a:pt x="3237310" y="1630374"/>
                </a:cubicBezTo>
                <a:cubicBezTo>
                  <a:pt x="3237310" y="1666088"/>
                  <a:pt x="3208362" y="1695039"/>
                  <a:pt x="3172637" y="1695039"/>
                </a:cubicBezTo>
                <a:cubicBezTo>
                  <a:pt x="3136914" y="1695039"/>
                  <a:pt x="3107954" y="1666088"/>
                  <a:pt x="3107954" y="1630374"/>
                </a:cubicBezTo>
                <a:cubicBezTo>
                  <a:pt x="3107954" y="1594659"/>
                  <a:pt x="3136914" y="1565709"/>
                  <a:pt x="3172637" y="1565709"/>
                </a:cubicBezTo>
                <a:close/>
                <a:moveTo>
                  <a:pt x="3012119" y="1565709"/>
                </a:moveTo>
                <a:cubicBezTo>
                  <a:pt x="3047829" y="1565709"/>
                  <a:pt x="3076788" y="1594659"/>
                  <a:pt x="3076788" y="1630374"/>
                </a:cubicBezTo>
                <a:cubicBezTo>
                  <a:pt x="3076788" y="1666088"/>
                  <a:pt x="3047829" y="1695039"/>
                  <a:pt x="3012119" y="1695039"/>
                </a:cubicBezTo>
                <a:cubicBezTo>
                  <a:pt x="2976410" y="1695039"/>
                  <a:pt x="2947463" y="1666088"/>
                  <a:pt x="2947463" y="1630374"/>
                </a:cubicBezTo>
                <a:cubicBezTo>
                  <a:pt x="2947463" y="1594659"/>
                  <a:pt x="2976410" y="1565709"/>
                  <a:pt x="3012119" y="1565709"/>
                </a:cubicBezTo>
                <a:close/>
                <a:moveTo>
                  <a:pt x="2546380" y="1565709"/>
                </a:moveTo>
                <a:cubicBezTo>
                  <a:pt x="2582088" y="1565709"/>
                  <a:pt x="2611038" y="1594659"/>
                  <a:pt x="2611038" y="1630374"/>
                </a:cubicBezTo>
                <a:cubicBezTo>
                  <a:pt x="2611038" y="1666088"/>
                  <a:pt x="2582088" y="1695039"/>
                  <a:pt x="2546380" y="1695039"/>
                </a:cubicBezTo>
                <a:cubicBezTo>
                  <a:pt x="2510655" y="1695039"/>
                  <a:pt x="2481723" y="1666088"/>
                  <a:pt x="2481723" y="1630374"/>
                </a:cubicBezTo>
                <a:cubicBezTo>
                  <a:pt x="2481723" y="1594659"/>
                  <a:pt x="2510655" y="1565709"/>
                  <a:pt x="2546380" y="1565709"/>
                </a:cubicBezTo>
                <a:close/>
                <a:moveTo>
                  <a:pt x="2389803" y="1565709"/>
                </a:moveTo>
                <a:cubicBezTo>
                  <a:pt x="2425537" y="1565709"/>
                  <a:pt x="2454486" y="1594659"/>
                  <a:pt x="2454486" y="1630374"/>
                </a:cubicBezTo>
                <a:cubicBezTo>
                  <a:pt x="2454486" y="1666088"/>
                  <a:pt x="2425537" y="1695039"/>
                  <a:pt x="2389803" y="1695039"/>
                </a:cubicBezTo>
                <a:cubicBezTo>
                  <a:pt x="2354107" y="1695039"/>
                  <a:pt x="2325148" y="1666088"/>
                  <a:pt x="2325148" y="1630374"/>
                </a:cubicBezTo>
                <a:cubicBezTo>
                  <a:pt x="2325148" y="1594659"/>
                  <a:pt x="2354107" y="1565709"/>
                  <a:pt x="2389803" y="1565709"/>
                </a:cubicBezTo>
                <a:close/>
                <a:moveTo>
                  <a:pt x="2237130" y="1565709"/>
                </a:moveTo>
                <a:cubicBezTo>
                  <a:pt x="2272854" y="1565709"/>
                  <a:pt x="2301814" y="1594659"/>
                  <a:pt x="2301814" y="1630374"/>
                </a:cubicBezTo>
                <a:cubicBezTo>
                  <a:pt x="2301814" y="1666088"/>
                  <a:pt x="2272854" y="1695039"/>
                  <a:pt x="2237130" y="1695039"/>
                </a:cubicBezTo>
                <a:cubicBezTo>
                  <a:pt x="2201406" y="1695039"/>
                  <a:pt x="2172445" y="1666088"/>
                  <a:pt x="2172445" y="1630374"/>
                </a:cubicBezTo>
                <a:cubicBezTo>
                  <a:pt x="2172445" y="1594659"/>
                  <a:pt x="2201406" y="1565709"/>
                  <a:pt x="2237130" y="1565709"/>
                </a:cubicBezTo>
                <a:close/>
                <a:moveTo>
                  <a:pt x="2084449" y="1565709"/>
                </a:moveTo>
                <a:cubicBezTo>
                  <a:pt x="2120162" y="1565709"/>
                  <a:pt x="2149111" y="1594659"/>
                  <a:pt x="2149111" y="1630374"/>
                </a:cubicBezTo>
                <a:cubicBezTo>
                  <a:pt x="2149111" y="1666088"/>
                  <a:pt x="2120162" y="1695039"/>
                  <a:pt x="2084449" y="1695039"/>
                </a:cubicBezTo>
                <a:cubicBezTo>
                  <a:pt x="2048717" y="1695039"/>
                  <a:pt x="2019802" y="1666088"/>
                  <a:pt x="2019802" y="1630374"/>
                </a:cubicBezTo>
                <a:cubicBezTo>
                  <a:pt x="2019802" y="1594659"/>
                  <a:pt x="2048717" y="1565709"/>
                  <a:pt x="2084449" y="1565709"/>
                </a:cubicBezTo>
                <a:close/>
                <a:moveTo>
                  <a:pt x="1927857" y="1565709"/>
                </a:moveTo>
                <a:cubicBezTo>
                  <a:pt x="1963586" y="1565709"/>
                  <a:pt x="1992550" y="1594659"/>
                  <a:pt x="1992550" y="1630374"/>
                </a:cubicBezTo>
                <a:cubicBezTo>
                  <a:pt x="1992550" y="1666088"/>
                  <a:pt x="1963586" y="1695039"/>
                  <a:pt x="1927857" y="1695039"/>
                </a:cubicBezTo>
                <a:cubicBezTo>
                  <a:pt x="1892182" y="1695039"/>
                  <a:pt x="1863227" y="1666088"/>
                  <a:pt x="1863227" y="1630374"/>
                </a:cubicBezTo>
                <a:cubicBezTo>
                  <a:pt x="1863227" y="1594659"/>
                  <a:pt x="1892182" y="1565709"/>
                  <a:pt x="1927857" y="1565709"/>
                </a:cubicBezTo>
                <a:close/>
                <a:moveTo>
                  <a:pt x="1775214" y="1565709"/>
                </a:moveTo>
                <a:cubicBezTo>
                  <a:pt x="1810917" y="1565709"/>
                  <a:pt x="1839897" y="1594659"/>
                  <a:pt x="1839897" y="1630374"/>
                </a:cubicBezTo>
                <a:cubicBezTo>
                  <a:pt x="1839897" y="1666088"/>
                  <a:pt x="1810917" y="1695039"/>
                  <a:pt x="1775214" y="1695039"/>
                </a:cubicBezTo>
                <a:cubicBezTo>
                  <a:pt x="1739494" y="1695039"/>
                  <a:pt x="1710542" y="1666088"/>
                  <a:pt x="1710542" y="1630374"/>
                </a:cubicBezTo>
                <a:cubicBezTo>
                  <a:pt x="1710542" y="1594659"/>
                  <a:pt x="1739494" y="1565709"/>
                  <a:pt x="1775214" y="1565709"/>
                </a:cubicBezTo>
                <a:close/>
                <a:moveTo>
                  <a:pt x="1618630" y="1565709"/>
                </a:moveTo>
                <a:cubicBezTo>
                  <a:pt x="1654350" y="1565709"/>
                  <a:pt x="1683301" y="1594659"/>
                  <a:pt x="1683301" y="1630374"/>
                </a:cubicBezTo>
                <a:cubicBezTo>
                  <a:pt x="1683301" y="1666088"/>
                  <a:pt x="1654350" y="1695039"/>
                  <a:pt x="1618630" y="1695039"/>
                </a:cubicBezTo>
                <a:cubicBezTo>
                  <a:pt x="1582919" y="1695039"/>
                  <a:pt x="1553968" y="1666088"/>
                  <a:pt x="1553968" y="1630374"/>
                </a:cubicBezTo>
                <a:cubicBezTo>
                  <a:pt x="1553968" y="1594659"/>
                  <a:pt x="1582919" y="1565709"/>
                  <a:pt x="1618630" y="1565709"/>
                </a:cubicBezTo>
                <a:close/>
                <a:moveTo>
                  <a:pt x="1465974" y="1565709"/>
                </a:moveTo>
                <a:cubicBezTo>
                  <a:pt x="1501687" y="1565709"/>
                  <a:pt x="1530639" y="1594659"/>
                  <a:pt x="1530639" y="1630374"/>
                </a:cubicBezTo>
                <a:cubicBezTo>
                  <a:pt x="1530639" y="1666088"/>
                  <a:pt x="1501687" y="1695039"/>
                  <a:pt x="1465974" y="1695039"/>
                </a:cubicBezTo>
                <a:cubicBezTo>
                  <a:pt x="1430260" y="1695039"/>
                  <a:pt x="1401310" y="1666088"/>
                  <a:pt x="1401310" y="1630374"/>
                </a:cubicBezTo>
                <a:cubicBezTo>
                  <a:pt x="1401310" y="1594659"/>
                  <a:pt x="1430260" y="1565709"/>
                  <a:pt x="1465974" y="1565709"/>
                </a:cubicBezTo>
                <a:close/>
                <a:moveTo>
                  <a:pt x="1309401" y="1565709"/>
                </a:moveTo>
                <a:cubicBezTo>
                  <a:pt x="1345114" y="1565709"/>
                  <a:pt x="1374066" y="1594659"/>
                  <a:pt x="1374066" y="1630374"/>
                </a:cubicBezTo>
                <a:cubicBezTo>
                  <a:pt x="1374066" y="1666088"/>
                  <a:pt x="1345114" y="1695039"/>
                  <a:pt x="1309401" y="1695039"/>
                </a:cubicBezTo>
                <a:cubicBezTo>
                  <a:pt x="1273687" y="1695039"/>
                  <a:pt x="1244735" y="1666088"/>
                  <a:pt x="1244735" y="1630374"/>
                </a:cubicBezTo>
                <a:cubicBezTo>
                  <a:pt x="1244735" y="1594659"/>
                  <a:pt x="1273687" y="1565709"/>
                  <a:pt x="1309401" y="1565709"/>
                </a:cubicBezTo>
                <a:close/>
                <a:moveTo>
                  <a:pt x="1148916" y="1565709"/>
                </a:moveTo>
                <a:cubicBezTo>
                  <a:pt x="1184630" y="1565709"/>
                  <a:pt x="1213581" y="1594659"/>
                  <a:pt x="1213581" y="1630374"/>
                </a:cubicBezTo>
                <a:cubicBezTo>
                  <a:pt x="1213581" y="1666088"/>
                  <a:pt x="1184630" y="1695039"/>
                  <a:pt x="1148916" y="1695039"/>
                </a:cubicBezTo>
                <a:cubicBezTo>
                  <a:pt x="1113202" y="1695039"/>
                  <a:pt x="1084251" y="1666088"/>
                  <a:pt x="1084251" y="1630374"/>
                </a:cubicBezTo>
                <a:cubicBezTo>
                  <a:pt x="1084251" y="1594659"/>
                  <a:pt x="1113202" y="1565709"/>
                  <a:pt x="1148916" y="1565709"/>
                </a:cubicBezTo>
                <a:close/>
                <a:moveTo>
                  <a:pt x="10778052" y="1565707"/>
                </a:moveTo>
                <a:cubicBezTo>
                  <a:pt x="10813766" y="1565707"/>
                  <a:pt x="10842718" y="1594659"/>
                  <a:pt x="10842718" y="1630373"/>
                </a:cubicBezTo>
                <a:cubicBezTo>
                  <a:pt x="10842718" y="1666087"/>
                  <a:pt x="10813766" y="1695039"/>
                  <a:pt x="10778052" y="1695039"/>
                </a:cubicBezTo>
                <a:cubicBezTo>
                  <a:pt x="10742338" y="1695039"/>
                  <a:pt x="10713386" y="1666087"/>
                  <a:pt x="10713386" y="1630373"/>
                </a:cubicBezTo>
                <a:cubicBezTo>
                  <a:pt x="10713386" y="1594659"/>
                  <a:pt x="10742338" y="1565707"/>
                  <a:pt x="10778052" y="1565707"/>
                </a:cubicBezTo>
                <a:close/>
                <a:moveTo>
                  <a:pt x="10625394" y="1565707"/>
                </a:moveTo>
                <a:cubicBezTo>
                  <a:pt x="10661108" y="1565707"/>
                  <a:pt x="10690060" y="1594659"/>
                  <a:pt x="10690060" y="1630373"/>
                </a:cubicBezTo>
                <a:cubicBezTo>
                  <a:pt x="10690060" y="1666087"/>
                  <a:pt x="10661108" y="1695039"/>
                  <a:pt x="10625394" y="1695039"/>
                </a:cubicBezTo>
                <a:cubicBezTo>
                  <a:pt x="10589680" y="1695039"/>
                  <a:pt x="10560728" y="1666087"/>
                  <a:pt x="10560728" y="1630373"/>
                </a:cubicBezTo>
                <a:cubicBezTo>
                  <a:pt x="10560728" y="1594659"/>
                  <a:pt x="10589680" y="1565707"/>
                  <a:pt x="10625394" y="1565707"/>
                </a:cubicBezTo>
                <a:close/>
                <a:moveTo>
                  <a:pt x="9850356" y="1565707"/>
                </a:moveTo>
                <a:cubicBezTo>
                  <a:pt x="9886070" y="1565707"/>
                  <a:pt x="9915022" y="1594659"/>
                  <a:pt x="9915022" y="1630373"/>
                </a:cubicBezTo>
                <a:cubicBezTo>
                  <a:pt x="9915022" y="1666087"/>
                  <a:pt x="9886070" y="1695039"/>
                  <a:pt x="9850356" y="1695039"/>
                </a:cubicBezTo>
                <a:cubicBezTo>
                  <a:pt x="9814642" y="1695039"/>
                  <a:pt x="9785690" y="1666087"/>
                  <a:pt x="9785690" y="1630373"/>
                </a:cubicBezTo>
                <a:cubicBezTo>
                  <a:pt x="9785690" y="1594659"/>
                  <a:pt x="9814642" y="1565707"/>
                  <a:pt x="9850356" y="1565707"/>
                </a:cubicBezTo>
                <a:close/>
                <a:moveTo>
                  <a:pt x="9693782" y="1565707"/>
                </a:moveTo>
                <a:cubicBezTo>
                  <a:pt x="9729496" y="1565707"/>
                  <a:pt x="9758448" y="1594659"/>
                  <a:pt x="9758448" y="1630373"/>
                </a:cubicBezTo>
                <a:cubicBezTo>
                  <a:pt x="9758448" y="1666087"/>
                  <a:pt x="9729496" y="1695039"/>
                  <a:pt x="9693782" y="1695039"/>
                </a:cubicBezTo>
                <a:cubicBezTo>
                  <a:pt x="9658068" y="1695039"/>
                  <a:pt x="9629116" y="1666087"/>
                  <a:pt x="9629116" y="1630373"/>
                </a:cubicBezTo>
                <a:cubicBezTo>
                  <a:pt x="9629116" y="1594659"/>
                  <a:pt x="9658068" y="1565707"/>
                  <a:pt x="9693782" y="1565707"/>
                </a:cubicBezTo>
                <a:close/>
                <a:moveTo>
                  <a:pt x="9541123" y="1565707"/>
                </a:moveTo>
                <a:cubicBezTo>
                  <a:pt x="9576837" y="1565707"/>
                  <a:pt x="9605789" y="1594659"/>
                  <a:pt x="9605789" y="1630373"/>
                </a:cubicBezTo>
                <a:cubicBezTo>
                  <a:pt x="9605789" y="1666087"/>
                  <a:pt x="9576837" y="1695039"/>
                  <a:pt x="9541123" y="1695039"/>
                </a:cubicBezTo>
                <a:cubicBezTo>
                  <a:pt x="9505409" y="1695039"/>
                  <a:pt x="9476457" y="1666087"/>
                  <a:pt x="9476457" y="1630373"/>
                </a:cubicBezTo>
                <a:cubicBezTo>
                  <a:pt x="9476457" y="1594659"/>
                  <a:pt x="9505409" y="1565707"/>
                  <a:pt x="9541123" y="1565707"/>
                </a:cubicBezTo>
                <a:close/>
                <a:moveTo>
                  <a:pt x="9384550" y="1565707"/>
                </a:moveTo>
                <a:cubicBezTo>
                  <a:pt x="9420264" y="1565707"/>
                  <a:pt x="9449216" y="1594659"/>
                  <a:pt x="9449216" y="1630373"/>
                </a:cubicBezTo>
                <a:cubicBezTo>
                  <a:pt x="9449216" y="1666087"/>
                  <a:pt x="9420264" y="1695039"/>
                  <a:pt x="9384550" y="1695039"/>
                </a:cubicBezTo>
                <a:cubicBezTo>
                  <a:pt x="9348836" y="1695039"/>
                  <a:pt x="9319884" y="1666087"/>
                  <a:pt x="9319884" y="1630373"/>
                </a:cubicBezTo>
                <a:cubicBezTo>
                  <a:pt x="9319884" y="1594659"/>
                  <a:pt x="9348836" y="1565707"/>
                  <a:pt x="9384550" y="1565707"/>
                </a:cubicBezTo>
                <a:close/>
                <a:moveTo>
                  <a:pt x="9227977" y="1565707"/>
                </a:moveTo>
                <a:cubicBezTo>
                  <a:pt x="9263691" y="1565707"/>
                  <a:pt x="9292643" y="1594659"/>
                  <a:pt x="9292643" y="1630373"/>
                </a:cubicBezTo>
                <a:cubicBezTo>
                  <a:pt x="9292643" y="1666087"/>
                  <a:pt x="9263691" y="1695039"/>
                  <a:pt x="9227977" y="1695039"/>
                </a:cubicBezTo>
                <a:cubicBezTo>
                  <a:pt x="9192263" y="1695039"/>
                  <a:pt x="9163311" y="1666087"/>
                  <a:pt x="9163311" y="1630373"/>
                </a:cubicBezTo>
                <a:cubicBezTo>
                  <a:pt x="9163311" y="1594659"/>
                  <a:pt x="9192263" y="1565707"/>
                  <a:pt x="9227977" y="1565707"/>
                </a:cubicBezTo>
                <a:close/>
                <a:moveTo>
                  <a:pt x="9075317" y="1565707"/>
                </a:moveTo>
                <a:cubicBezTo>
                  <a:pt x="9111031" y="1565707"/>
                  <a:pt x="9139983" y="1594659"/>
                  <a:pt x="9139983" y="1630373"/>
                </a:cubicBezTo>
                <a:cubicBezTo>
                  <a:pt x="9139983" y="1666087"/>
                  <a:pt x="9111031" y="1695039"/>
                  <a:pt x="9075317" y="1695039"/>
                </a:cubicBezTo>
                <a:cubicBezTo>
                  <a:pt x="9039603" y="1695039"/>
                  <a:pt x="9010651" y="1666087"/>
                  <a:pt x="9010651" y="1630373"/>
                </a:cubicBezTo>
                <a:cubicBezTo>
                  <a:pt x="9010651" y="1594659"/>
                  <a:pt x="9039603" y="1565707"/>
                  <a:pt x="9075317" y="1565707"/>
                </a:cubicBezTo>
                <a:close/>
                <a:moveTo>
                  <a:pt x="217310" y="1565707"/>
                </a:moveTo>
                <a:cubicBezTo>
                  <a:pt x="253023" y="1565707"/>
                  <a:pt x="281975" y="1594659"/>
                  <a:pt x="281975" y="1630373"/>
                </a:cubicBezTo>
                <a:cubicBezTo>
                  <a:pt x="281975" y="1666087"/>
                  <a:pt x="253023" y="1695039"/>
                  <a:pt x="217310" y="1695039"/>
                </a:cubicBezTo>
                <a:cubicBezTo>
                  <a:pt x="181596" y="1695039"/>
                  <a:pt x="152644" y="1666087"/>
                  <a:pt x="152644" y="1630373"/>
                </a:cubicBezTo>
                <a:cubicBezTo>
                  <a:pt x="152644" y="1594659"/>
                  <a:pt x="181596" y="1565707"/>
                  <a:pt x="217310" y="1565707"/>
                </a:cubicBezTo>
                <a:close/>
                <a:moveTo>
                  <a:pt x="10778052" y="1428710"/>
                </a:moveTo>
                <a:cubicBezTo>
                  <a:pt x="10813766" y="1428710"/>
                  <a:pt x="10842718" y="1457662"/>
                  <a:pt x="10842718" y="1493374"/>
                </a:cubicBezTo>
                <a:cubicBezTo>
                  <a:pt x="10842718" y="1529088"/>
                  <a:pt x="10813766" y="1558040"/>
                  <a:pt x="10778052" y="1558040"/>
                </a:cubicBezTo>
                <a:cubicBezTo>
                  <a:pt x="10742338" y="1558040"/>
                  <a:pt x="10713386" y="1529088"/>
                  <a:pt x="10713386" y="1493374"/>
                </a:cubicBezTo>
                <a:cubicBezTo>
                  <a:pt x="10713386" y="1457662"/>
                  <a:pt x="10742338" y="1428710"/>
                  <a:pt x="10778052" y="1428710"/>
                </a:cubicBezTo>
                <a:close/>
                <a:moveTo>
                  <a:pt x="10625394" y="1428710"/>
                </a:moveTo>
                <a:cubicBezTo>
                  <a:pt x="10661108" y="1428710"/>
                  <a:pt x="10690060" y="1457662"/>
                  <a:pt x="10690060" y="1493374"/>
                </a:cubicBezTo>
                <a:cubicBezTo>
                  <a:pt x="10690060" y="1529088"/>
                  <a:pt x="10661108" y="1558040"/>
                  <a:pt x="10625394" y="1558040"/>
                </a:cubicBezTo>
                <a:cubicBezTo>
                  <a:pt x="10589680" y="1558040"/>
                  <a:pt x="10560728" y="1529088"/>
                  <a:pt x="10560728" y="1493374"/>
                </a:cubicBezTo>
                <a:cubicBezTo>
                  <a:pt x="10560728" y="1457662"/>
                  <a:pt x="10589680" y="1428710"/>
                  <a:pt x="10625394" y="1428710"/>
                </a:cubicBezTo>
                <a:close/>
                <a:moveTo>
                  <a:pt x="10003016" y="1428710"/>
                </a:moveTo>
                <a:cubicBezTo>
                  <a:pt x="10038730" y="1428710"/>
                  <a:pt x="10067682" y="1457662"/>
                  <a:pt x="10067682" y="1493374"/>
                </a:cubicBezTo>
                <a:cubicBezTo>
                  <a:pt x="10067682" y="1529088"/>
                  <a:pt x="10038730" y="1558040"/>
                  <a:pt x="10003016" y="1558040"/>
                </a:cubicBezTo>
                <a:cubicBezTo>
                  <a:pt x="9967302" y="1558040"/>
                  <a:pt x="9938350" y="1529088"/>
                  <a:pt x="9938350" y="1493374"/>
                </a:cubicBezTo>
                <a:cubicBezTo>
                  <a:pt x="9938350" y="1457662"/>
                  <a:pt x="9967302" y="1428710"/>
                  <a:pt x="10003016" y="1428710"/>
                </a:cubicBezTo>
                <a:close/>
                <a:moveTo>
                  <a:pt x="9850356" y="1428710"/>
                </a:moveTo>
                <a:cubicBezTo>
                  <a:pt x="9886070" y="1428710"/>
                  <a:pt x="9915022" y="1457662"/>
                  <a:pt x="9915022" y="1493374"/>
                </a:cubicBezTo>
                <a:cubicBezTo>
                  <a:pt x="9915022" y="1529088"/>
                  <a:pt x="9886070" y="1558040"/>
                  <a:pt x="9850356" y="1558040"/>
                </a:cubicBezTo>
                <a:cubicBezTo>
                  <a:pt x="9814642" y="1558040"/>
                  <a:pt x="9785690" y="1529088"/>
                  <a:pt x="9785690" y="1493374"/>
                </a:cubicBezTo>
                <a:cubicBezTo>
                  <a:pt x="9785690" y="1457662"/>
                  <a:pt x="9814642" y="1428710"/>
                  <a:pt x="9850356" y="1428710"/>
                </a:cubicBezTo>
                <a:close/>
                <a:moveTo>
                  <a:pt x="9693782" y="1428710"/>
                </a:moveTo>
                <a:cubicBezTo>
                  <a:pt x="9729496" y="1428710"/>
                  <a:pt x="9758448" y="1457662"/>
                  <a:pt x="9758448" y="1493374"/>
                </a:cubicBezTo>
                <a:cubicBezTo>
                  <a:pt x="9758448" y="1529088"/>
                  <a:pt x="9729496" y="1558040"/>
                  <a:pt x="9693782" y="1558040"/>
                </a:cubicBezTo>
                <a:cubicBezTo>
                  <a:pt x="9658068" y="1558040"/>
                  <a:pt x="9629116" y="1529088"/>
                  <a:pt x="9629116" y="1493374"/>
                </a:cubicBezTo>
                <a:cubicBezTo>
                  <a:pt x="9629116" y="1457662"/>
                  <a:pt x="9658068" y="1428710"/>
                  <a:pt x="9693782" y="1428710"/>
                </a:cubicBezTo>
                <a:close/>
                <a:moveTo>
                  <a:pt x="9541123" y="1428710"/>
                </a:moveTo>
                <a:cubicBezTo>
                  <a:pt x="9576837" y="1428710"/>
                  <a:pt x="9605789" y="1457662"/>
                  <a:pt x="9605789" y="1493374"/>
                </a:cubicBezTo>
                <a:cubicBezTo>
                  <a:pt x="9605789" y="1529088"/>
                  <a:pt x="9576837" y="1558040"/>
                  <a:pt x="9541123" y="1558040"/>
                </a:cubicBezTo>
                <a:cubicBezTo>
                  <a:pt x="9505409" y="1558040"/>
                  <a:pt x="9476457" y="1529088"/>
                  <a:pt x="9476457" y="1493374"/>
                </a:cubicBezTo>
                <a:cubicBezTo>
                  <a:pt x="9476457" y="1457662"/>
                  <a:pt x="9505409" y="1428710"/>
                  <a:pt x="9541123" y="1428710"/>
                </a:cubicBezTo>
                <a:close/>
                <a:moveTo>
                  <a:pt x="9384550" y="1428710"/>
                </a:moveTo>
                <a:cubicBezTo>
                  <a:pt x="9420264" y="1428710"/>
                  <a:pt x="9449216" y="1457662"/>
                  <a:pt x="9449216" y="1493374"/>
                </a:cubicBezTo>
                <a:cubicBezTo>
                  <a:pt x="9449216" y="1529088"/>
                  <a:pt x="9420264" y="1558040"/>
                  <a:pt x="9384550" y="1558040"/>
                </a:cubicBezTo>
                <a:cubicBezTo>
                  <a:pt x="9348836" y="1558040"/>
                  <a:pt x="9319884" y="1529088"/>
                  <a:pt x="9319884" y="1493374"/>
                </a:cubicBezTo>
                <a:cubicBezTo>
                  <a:pt x="9319884" y="1457662"/>
                  <a:pt x="9348836" y="1428710"/>
                  <a:pt x="9384550" y="1428710"/>
                </a:cubicBezTo>
                <a:close/>
                <a:moveTo>
                  <a:pt x="9227977" y="1428710"/>
                </a:moveTo>
                <a:cubicBezTo>
                  <a:pt x="9263691" y="1428710"/>
                  <a:pt x="9292643" y="1457662"/>
                  <a:pt x="9292643" y="1493374"/>
                </a:cubicBezTo>
                <a:cubicBezTo>
                  <a:pt x="9292643" y="1529088"/>
                  <a:pt x="9263691" y="1558040"/>
                  <a:pt x="9227977" y="1558040"/>
                </a:cubicBezTo>
                <a:cubicBezTo>
                  <a:pt x="9192263" y="1558040"/>
                  <a:pt x="9163311" y="1529088"/>
                  <a:pt x="9163311" y="1493374"/>
                </a:cubicBezTo>
                <a:cubicBezTo>
                  <a:pt x="9163311" y="1457662"/>
                  <a:pt x="9192263" y="1428710"/>
                  <a:pt x="9227977" y="1428710"/>
                </a:cubicBezTo>
                <a:close/>
                <a:moveTo>
                  <a:pt x="9075317" y="1428710"/>
                </a:moveTo>
                <a:cubicBezTo>
                  <a:pt x="9111031" y="1428710"/>
                  <a:pt x="9139983" y="1457662"/>
                  <a:pt x="9139983" y="1493374"/>
                </a:cubicBezTo>
                <a:cubicBezTo>
                  <a:pt x="9139983" y="1529088"/>
                  <a:pt x="9111031" y="1558040"/>
                  <a:pt x="9075317" y="1558040"/>
                </a:cubicBezTo>
                <a:cubicBezTo>
                  <a:pt x="9039603" y="1558040"/>
                  <a:pt x="9010651" y="1529088"/>
                  <a:pt x="9010651" y="1493374"/>
                </a:cubicBezTo>
                <a:cubicBezTo>
                  <a:pt x="9010651" y="1457662"/>
                  <a:pt x="9039603" y="1428710"/>
                  <a:pt x="9075317" y="1428710"/>
                </a:cubicBezTo>
                <a:close/>
                <a:moveTo>
                  <a:pt x="8914829" y="1428710"/>
                </a:moveTo>
                <a:cubicBezTo>
                  <a:pt x="8950543" y="1428710"/>
                  <a:pt x="8979495" y="1457662"/>
                  <a:pt x="8979495" y="1493374"/>
                </a:cubicBezTo>
                <a:cubicBezTo>
                  <a:pt x="8979495" y="1529088"/>
                  <a:pt x="8950543" y="1558040"/>
                  <a:pt x="8914829" y="1558040"/>
                </a:cubicBezTo>
                <a:cubicBezTo>
                  <a:pt x="8879115" y="1558040"/>
                  <a:pt x="8850163" y="1529088"/>
                  <a:pt x="8850163" y="1493374"/>
                </a:cubicBezTo>
                <a:cubicBezTo>
                  <a:pt x="8850163" y="1457662"/>
                  <a:pt x="8879115" y="1428710"/>
                  <a:pt x="8914829" y="1428710"/>
                </a:cubicBezTo>
                <a:close/>
                <a:moveTo>
                  <a:pt x="8766086" y="1428710"/>
                </a:moveTo>
                <a:cubicBezTo>
                  <a:pt x="8801800" y="1428710"/>
                  <a:pt x="8830752" y="1457662"/>
                  <a:pt x="8830752" y="1493374"/>
                </a:cubicBezTo>
                <a:cubicBezTo>
                  <a:pt x="8830752" y="1529088"/>
                  <a:pt x="8801800" y="1558040"/>
                  <a:pt x="8766086" y="1558040"/>
                </a:cubicBezTo>
                <a:cubicBezTo>
                  <a:pt x="8730372" y="1558040"/>
                  <a:pt x="8701420" y="1529088"/>
                  <a:pt x="8701420" y="1493374"/>
                </a:cubicBezTo>
                <a:cubicBezTo>
                  <a:pt x="8701420" y="1457662"/>
                  <a:pt x="8730372" y="1428710"/>
                  <a:pt x="8766086" y="1428710"/>
                </a:cubicBezTo>
                <a:close/>
                <a:moveTo>
                  <a:pt x="8601683" y="1428710"/>
                </a:moveTo>
                <a:cubicBezTo>
                  <a:pt x="8637397" y="1428710"/>
                  <a:pt x="8666349" y="1457662"/>
                  <a:pt x="8666349" y="1493374"/>
                </a:cubicBezTo>
                <a:cubicBezTo>
                  <a:pt x="8666349" y="1529088"/>
                  <a:pt x="8637397" y="1558040"/>
                  <a:pt x="8601683" y="1558040"/>
                </a:cubicBezTo>
                <a:cubicBezTo>
                  <a:pt x="8565969" y="1558040"/>
                  <a:pt x="8537017" y="1529088"/>
                  <a:pt x="8537017" y="1493374"/>
                </a:cubicBezTo>
                <a:cubicBezTo>
                  <a:pt x="8537017" y="1457662"/>
                  <a:pt x="8565969" y="1428710"/>
                  <a:pt x="8601683" y="1428710"/>
                </a:cubicBezTo>
                <a:close/>
                <a:moveTo>
                  <a:pt x="8449025" y="1428710"/>
                </a:moveTo>
                <a:cubicBezTo>
                  <a:pt x="8484739" y="1428710"/>
                  <a:pt x="8513691" y="1457662"/>
                  <a:pt x="8513691" y="1493374"/>
                </a:cubicBezTo>
                <a:cubicBezTo>
                  <a:pt x="8513691" y="1529088"/>
                  <a:pt x="8484739" y="1558040"/>
                  <a:pt x="8449025" y="1558040"/>
                </a:cubicBezTo>
                <a:cubicBezTo>
                  <a:pt x="8413311" y="1558040"/>
                  <a:pt x="8384359" y="1529088"/>
                  <a:pt x="8384359" y="1493374"/>
                </a:cubicBezTo>
                <a:cubicBezTo>
                  <a:pt x="8384359" y="1457662"/>
                  <a:pt x="8413311" y="1428710"/>
                  <a:pt x="8449025" y="1428710"/>
                </a:cubicBezTo>
                <a:close/>
                <a:moveTo>
                  <a:pt x="8296367" y="1428710"/>
                </a:moveTo>
                <a:cubicBezTo>
                  <a:pt x="8332081" y="1428710"/>
                  <a:pt x="8361033" y="1457662"/>
                  <a:pt x="8361033" y="1493374"/>
                </a:cubicBezTo>
                <a:cubicBezTo>
                  <a:pt x="8361033" y="1529088"/>
                  <a:pt x="8332081" y="1558040"/>
                  <a:pt x="8296367" y="1558040"/>
                </a:cubicBezTo>
                <a:cubicBezTo>
                  <a:pt x="8260653" y="1558040"/>
                  <a:pt x="8231701" y="1529088"/>
                  <a:pt x="8231701" y="1493374"/>
                </a:cubicBezTo>
                <a:cubicBezTo>
                  <a:pt x="8231701" y="1457662"/>
                  <a:pt x="8260653" y="1428710"/>
                  <a:pt x="8296367" y="1428710"/>
                </a:cubicBezTo>
                <a:close/>
                <a:moveTo>
                  <a:pt x="8139792" y="1428710"/>
                </a:moveTo>
                <a:cubicBezTo>
                  <a:pt x="8175506" y="1428710"/>
                  <a:pt x="8204458" y="1457662"/>
                  <a:pt x="8204458" y="1493374"/>
                </a:cubicBezTo>
                <a:cubicBezTo>
                  <a:pt x="8204458" y="1529088"/>
                  <a:pt x="8175506" y="1558040"/>
                  <a:pt x="8139792" y="1558040"/>
                </a:cubicBezTo>
                <a:cubicBezTo>
                  <a:pt x="8104078" y="1558040"/>
                  <a:pt x="8075126" y="1529088"/>
                  <a:pt x="8075126" y="1493374"/>
                </a:cubicBezTo>
                <a:cubicBezTo>
                  <a:pt x="8075126" y="1457662"/>
                  <a:pt x="8104078" y="1428710"/>
                  <a:pt x="8139792" y="1428710"/>
                </a:cubicBezTo>
                <a:close/>
                <a:moveTo>
                  <a:pt x="7987133" y="1428710"/>
                </a:moveTo>
                <a:cubicBezTo>
                  <a:pt x="8022847" y="1428710"/>
                  <a:pt x="8051799" y="1457662"/>
                  <a:pt x="8051799" y="1493374"/>
                </a:cubicBezTo>
                <a:cubicBezTo>
                  <a:pt x="8051799" y="1529088"/>
                  <a:pt x="8022847" y="1558040"/>
                  <a:pt x="7987133" y="1558040"/>
                </a:cubicBezTo>
                <a:cubicBezTo>
                  <a:pt x="7951419" y="1558040"/>
                  <a:pt x="7922467" y="1529088"/>
                  <a:pt x="7922467" y="1493374"/>
                </a:cubicBezTo>
                <a:cubicBezTo>
                  <a:pt x="7922467" y="1457662"/>
                  <a:pt x="7951419" y="1428710"/>
                  <a:pt x="7987133" y="1428710"/>
                </a:cubicBezTo>
                <a:close/>
                <a:moveTo>
                  <a:pt x="7830562" y="1428710"/>
                </a:moveTo>
                <a:cubicBezTo>
                  <a:pt x="7866276" y="1428710"/>
                  <a:pt x="7895228" y="1457662"/>
                  <a:pt x="7895228" y="1493374"/>
                </a:cubicBezTo>
                <a:cubicBezTo>
                  <a:pt x="7895228" y="1529088"/>
                  <a:pt x="7866276" y="1558040"/>
                  <a:pt x="7830562" y="1558040"/>
                </a:cubicBezTo>
                <a:cubicBezTo>
                  <a:pt x="7794848" y="1558040"/>
                  <a:pt x="7765896" y="1529088"/>
                  <a:pt x="7765896" y="1493374"/>
                </a:cubicBezTo>
                <a:cubicBezTo>
                  <a:pt x="7765896" y="1457662"/>
                  <a:pt x="7794848" y="1428710"/>
                  <a:pt x="7830562" y="1428710"/>
                </a:cubicBezTo>
                <a:close/>
                <a:moveTo>
                  <a:pt x="7677902" y="1428710"/>
                </a:moveTo>
                <a:cubicBezTo>
                  <a:pt x="7713616" y="1428710"/>
                  <a:pt x="7742568" y="1457662"/>
                  <a:pt x="7742568" y="1493374"/>
                </a:cubicBezTo>
                <a:cubicBezTo>
                  <a:pt x="7742568" y="1529088"/>
                  <a:pt x="7713616" y="1558040"/>
                  <a:pt x="7677902" y="1558040"/>
                </a:cubicBezTo>
                <a:cubicBezTo>
                  <a:pt x="7642188" y="1558040"/>
                  <a:pt x="7613236" y="1529088"/>
                  <a:pt x="7613236" y="1493374"/>
                </a:cubicBezTo>
                <a:cubicBezTo>
                  <a:pt x="7613236" y="1457662"/>
                  <a:pt x="7642188" y="1428710"/>
                  <a:pt x="7677902" y="1428710"/>
                </a:cubicBezTo>
                <a:close/>
                <a:moveTo>
                  <a:pt x="7521329" y="1428710"/>
                </a:moveTo>
                <a:cubicBezTo>
                  <a:pt x="7557043" y="1428710"/>
                  <a:pt x="7585995" y="1457662"/>
                  <a:pt x="7585995" y="1493374"/>
                </a:cubicBezTo>
                <a:cubicBezTo>
                  <a:pt x="7585995" y="1529088"/>
                  <a:pt x="7557043" y="1558040"/>
                  <a:pt x="7521329" y="1558040"/>
                </a:cubicBezTo>
                <a:cubicBezTo>
                  <a:pt x="7485615" y="1558040"/>
                  <a:pt x="7456663" y="1529088"/>
                  <a:pt x="7456663" y="1493374"/>
                </a:cubicBezTo>
                <a:cubicBezTo>
                  <a:pt x="7456663" y="1457662"/>
                  <a:pt x="7485615" y="1428710"/>
                  <a:pt x="7521329" y="1428710"/>
                </a:cubicBezTo>
                <a:close/>
                <a:moveTo>
                  <a:pt x="7368669" y="1428710"/>
                </a:moveTo>
                <a:cubicBezTo>
                  <a:pt x="7404383" y="1428710"/>
                  <a:pt x="7433335" y="1457662"/>
                  <a:pt x="7433335" y="1493374"/>
                </a:cubicBezTo>
                <a:cubicBezTo>
                  <a:pt x="7433335" y="1529088"/>
                  <a:pt x="7404383" y="1558040"/>
                  <a:pt x="7368669" y="1558040"/>
                </a:cubicBezTo>
                <a:cubicBezTo>
                  <a:pt x="7332955" y="1558040"/>
                  <a:pt x="7304003" y="1529088"/>
                  <a:pt x="7304003" y="1493374"/>
                </a:cubicBezTo>
                <a:cubicBezTo>
                  <a:pt x="7304003" y="1457662"/>
                  <a:pt x="7332955" y="1428710"/>
                  <a:pt x="7368669" y="1428710"/>
                </a:cubicBezTo>
                <a:close/>
                <a:moveTo>
                  <a:pt x="7212096" y="1428710"/>
                </a:moveTo>
                <a:cubicBezTo>
                  <a:pt x="7247810" y="1428710"/>
                  <a:pt x="7276762" y="1457662"/>
                  <a:pt x="7276762" y="1493374"/>
                </a:cubicBezTo>
                <a:cubicBezTo>
                  <a:pt x="7276762" y="1529088"/>
                  <a:pt x="7247810" y="1558040"/>
                  <a:pt x="7212096" y="1558040"/>
                </a:cubicBezTo>
                <a:cubicBezTo>
                  <a:pt x="7176382" y="1558040"/>
                  <a:pt x="7147430" y="1529088"/>
                  <a:pt x="7147430" y="1493374"/>
                </a:cubicBezTo>
                <a:cubicBezTo>
                  <a:pt x="7147430" y="1457662"/>
                  <a:pt x="7176382" y="1428710"/>
                  <a:pt x="7212096" y="1428710"/>
                </a:cubicBezTo>
                <a:close/>
                <a:moveTo>
                  <a:pt x="7055523" y="1428710"/>
                </a:moveTo>
                <a:cubicBezTo>
                  <a:pt x="7091237" y="1428710"/>
                  <a:pt x="7120189" y="1457662"/>
                  <a:pt x="7120189" y="1493374"/>
                </a:cubicBezTo>
                <a:cubicBezTo>
                  <a:pt x="7120189" y="1529088"/>
                  <a:pt x="7091237" y="1558040"/>
                  <a:pt x="7055523" y="1558040"/>
                </a:cubicBezTo>
                <a:cubicBezTo>
                  <a:pt x="7019809" y="1558040"/>
                  <a:pt x="6990857" y="1529088"/>
                  <a:pt x="6990857" y="1493374"/>
                </a:cubicBezTo>
                <a:cubicBezTo>
                  <a:pt x="6990857" y="1457662"/>
                  <a:pt x="7019809" y="1428710"/>
                  <a:pt x="7055523" y="1428710"/>
                </a:cubicBezTo>
                <a:close/>
                <a:moveTo>
                  <a:pt x="6895037" y="1428710"/>
                </a:moveTo>
                <a:cubicBezTo>
                  <a:pt x="6930751" y="1428710"/>
                  <a:pt x="6959703" y="1457662"/>
                  <a:pt x="6959703" y="1493374"/>
                </a:cubicBezTo>
                <a:cubicBezTo>
                  <a:pt x="6959703" y="1529088"/>
                  <a:pt x="6930751" y="1558040"/>
                  <a:pt x="6895037" y="1558040"/>
                </a:cubicBezTo>
                <a:cubicBezTo>
                  <a:pt x="6859323" y="1558040"/>
                  <a:pt x="6830371" y="1529088"/>
                  <a:pt x="6830371" y="1493374"/>
                </a:cubicBezTo>
                <a:cubicBezTo>
                  <a:pt x="6830371" y="1457662"/>
                  <a:pt x="6859323" y="1428710"/>
                  <a:pt x="6895037" y="1428710"/>
                </a:cubicBezTo>
                <a:close/>
                <a:moveTo>
                  <a:pt x="6742375" y="1428710"/>
                </a:moveTo>
                <a:cubicBezTo>
                  <a:pt x="6778089" y="1428710"/>
                  <a:pt x="6807041" y="1457662"/>
                  <a:pt x="6807041" y="1493374"/>
                </a:cubicBezTo>
                <a:cubicBezTo>
                  <a:pt x="6807041" y="1529088"/>
                  <a:pt x="6778089" y="1558040"/>
                  <a:pt x="6742375" y="1558040"/>
                </a:cubicBezTo>
                <a:cubicBezTo>
                  <a:pt x="6706661" y="1558040"/>
                  <a:pt x="6677709" y="1529088"/>
                  <a:pt x="6677709" y="1493374"/>
                </a:cubicBezTo>
                <a:cubicBezTo>
                  <a:pt x="6677709" y="1457662"/>
                  <a:pt x="6706661" y="1428710"/>
                  <a:pt x="6742375" y="1428710"/>
                </a:cubicBezTo>
                <a:close/>
                <a:moveTo>
                  <a:pt x="6585802" y="1428710"/>
                </a:moveTo>
                <a:cubicBezTo>
                  <a:pt x="6621516" y="1428710"/>
                  <a:pt x="6650468" y="1457662"/>
                  <a:pt x="6650468" y="1493374"/>
                </a:cubicBezTo>
                <a:cubicBezTo>
                  <a:pt x="6650468" y="1529088"/>
                  <a:pt x="6621516" y="1558040"/>
                  <a:pt x="6585802" y="1558040"/>
                </a:cubicBezTo>
                <a:cubicBezTo>
                  <a:pt x="6550088" y="1558040"/>
                  <a:pt x="6521136" y="1529088"/>
                  <a:pt x="6521136" y="1493374"/>
                </a:cubicBezTo>
                <a:cubicBezTo>
                  <a:pt x="6521136" y="1457662"/>
                  <a:pt x="6550088" y="1428710"/>
                  <a:pt x="6585802" y="1428710"/>
                </a:cubicBezTo>
                <a:close/>
                <a:moveTo>
                  <a:pt x="6429229" y="1428710"/>
                </a:moveTo>
                <a:cubicBezTo>
                  <a:pt x="6464943" y="1428710"/>
                  <a:pt x="6493895" y="1457662"/>
                  <a:pt x="6493895" y="1493374"/>
                </a:cubicBezTo>
                <a:cubicBezTo>
                  <a:pt x="6493895" y="1529088"/>
                  <a:pt x="6464943" y="1558040"/>
                  <a:pt x="6429229" y="1558040"/>
                </a:cubicBezTo>
                <a:cubicBezTo>
                  <a:pt x="6393515" y="1558040"/>
                  <a:pt x="6364563" y="1529088"/>
                  <a:pt x="6364563" y="1493374"/>
                </a:cubicBezTo>
                <a:cubicBezTo>
                  <a:pt x="6364563" y="1457662"/>
                  <a:pt x="6393515" y="1428710"/>
                  <a:pt x="6429229" y="1428710"/>
                </a:cubicBezTo>
                <a:close/>
                <a:moveTo>
                  <a:pt x="6276571" y="1428710"/>
                </a:moveTo>
                <a:cubicBezTo>
                  <a:pt x="6312285" y="1428710"/>
                  <a:pt x="6341237" y="1457662"/>
                  <a:pt x="6341237" y="1493374"/>
                </a:cubicBezTo>
                <a:cubicBezTo>
                  <a:pt x="6341237" y="1529088"/>
                  <a:pt x="6312285" y="1558040"/>
                  <a:pt x="6276571" y="1558040"/>
                </a:cubicBezTo>
                <a:cubicBezTo>
                  <a:pt x="6240857" y="1558040"/>
                  <a:pt x="6211905" y="1529088"/>
                  <a:pt x="6211905" y="1493374"/>
                </a:cubicBezTo>
                <a:cubicBezTo>
                  <a:pt x="6211905" y="1457662"/>
                  <a:pt x="6240857" y="1428710"/>
                  <a:pt x="6276571" y="1428710"/>
                </a:cubicBezTo>
                <a:close/>
                <a:moveTo>
                  <a:pt x="5967338" y="1428710"/>
                </a:moveTo>
                <a:cubicBezTo>
                  <a:pt x="6003052" y="1428710"/>
                  <a:pt x="6032004" y="1457662"/>
                  <a:pt x="6032004" y="1493374"/>
                </a:cubicBezTo>
                <a:cubicBezTo>
                  <a:pt x="6032004" y="1529088"/>
                  <a:pt x="6003052" y="1558040"/>
                  <a:pt x="5967338" y="1558040"/>
                </a:cubicBezTo>
                <a:cubicBezTo>
                  <a:pt x="5931624" y="1558040"/>
                  <a:pt x="5902672" y="1529088"/>
                  <a:pt x="5902672" y="1493374"/>
                </a:cubicBezTo>
                <a:cubicBezTo>
                  <a:pt x="5902672" y="1457662"/>
                  <a:pt x="5931624" y="1428710"/>
                  <a:pt x="5967338" y="1428710"/>
                </a:cubicBezTo>
                <a:close/>
                <a:moveTo>
                  <a:pt x="5810805" y="1428710"/>
                </a:moveTo>
                <a:cubicBezTo>
                  <a:pt x="5846479" y="1428710"/>
                  <a:pt x="5875431" y="1457662"/>
                  <a:pt x="5875431" y="1493374"/>
                </a:cubicBezTo>
                <a:cubicBezTo>
                  <a:pt x="5875431" y="1529088"/>
                  <a:pt x="5846479" y="1558040"/>
                  <a:pt x="5810805" y="1558040"/>
                </a:cubicBezTo>
                <a:cubicBezTo>
                  <a:pt x="5775079" y="1558040"/>
                  <a:pt x="5746119" y="1529088"/>
                  <a:pt x="5746119" y="1493374"/>
                </a:cubicBezTo>
                <a:cubicBezTo>
                  <a:pt x="5746119" y="1457662"/>
                  <a:pt x="5775079" y="1428710"/>
                  <a:pt x="5810805" y="1428710"/>
                </a:cubicBezTo>
                <a:close/>
                <a:moveTo>
                  <a:pt x="5658108" y="1428710"/>
                </a:moveTo>
                <a:cubicBezTo>
                  <a:pt x="5693823" y="1428710"/>
                  <a:pt x="5722785" y="1457662"/>
                  <a:pt x="5722785" y="1493374"/>
                </a:cubicBezTo>
                <a:cubicBezTo>
                  <a:pt x="5722785" y="1529088"/>
                  <a:pt x="5693823" y="1558040"/>
                  <a:pt x="5658108" y="1558040"/>
                </a:cubicBezTo>
                <a:cubicBezTo>
                  <a:pt x="5622397" y="1558040"/>
                  <a:pt x="5593443" y="1529088"/>
                  <a:pt x="5593443" y="1493374"/>
                </a:cubicBezTo>
                <a:cubicBezTo>
                  <a:pt x="5593443" y="1457662"/>
                  <a:pt x="5622397" y="1428710"/>
                  <a:pt x="5658108" y="1428710"/>
                </a:cubicBezTo>
                <a:close/>
                <a:moveTo>
                  <a:pt x="526542" y="1428710"/>
                </a:moveTo>
                <a:cubicBezTo>
                  <a:pt x="562256" y="1428710"/>
                  <a:pt x="591208" y="1457662"/>
                  <a:pt x="591208" y="1493374"/>
                </a:cubicBezTo>
                <a:cubicBezTo>
                  <a:pt x="591208" y="1529088"/>
                  <a:pt x="562256" y="1558040"/>
                  <a:pt x="526542" y="1558040"/>
                </a:cubicBezTo>
                <a:cubicBezTo>
                  <a:pt x="490829" y="1558040"/>
                  <a:pt x="461877" y="1529088"/>
                  <a:pt x="461877" y="1493374"/>
                </a:cubicBezTo>
                <a:cubicBezTo>
                  <a:pt x="461877" y="1457662"/>
                  <a:pt x="490829" y="1428710"/>
                  <a:pt x="526542" y="1428710"/>
                </a:cubicBezTo>
                <a:close/>
                <a:moveTo>
                  <a:pt x="373886" y="1428710"/>
                </a:moveTo>
                <a:cubicBezTo>
                  <a:pt x="409600" y="1428710"/>
                  <a:pt x="438551" y="1457662"/>
                  <a:pt x="438551" y="1493374"/>
                </a:cubicBezTo>
                <a:cubicBezTo>
                  <a:pt x="438551" y="1529088"/>
                  <a:pt x="409600" y="1558040"/>
                  <a:pt x="373886" y="1558040"/>
                </a:cubicBezTo>
                <a:cubicBezTo>
                  <a:pt x="338173" y="1558040"/>
                  <a:pt x="309221" y="1529088"/>
                  <a:pt x="309221" y="1493374"/>
                </a:cubicBezTo>
                <a:cubicBezTo>
                  <a:pt x="309221" y="1457662"/>
                  <a:pt x="338173" y="1428710"/>
                  <a:pt x="373886" y="1428710"/>
                </a:cubicBezTo>
                <a:close/>
                <a:moveTo>
                  <a:pt x="217317" y="1428710"/>
                </a:moveTo>
                <a:cubicBezTo>
                  <a:pt x="253031" y="1428710"/>
                  <a:pt x="281982" y="1457662"/>
                  <a:pt x="281982" y="1493374"/>
                </a:cubicBezTo>
                <a:cubicBezTo>
                  <a:pt x="281982" y="1529088"/>
                  <a:pt x="253031" y="1558040"/>
                  <a:pt x="217317" y="1558040"/>
                </a:cubicBezTo>
                <a:cubicBezTo>
                  <a:pt x="181604" y="1558040"/>
                  <a:pt x="152652" y="1529088"/>
                  <a:pt x="152652" y="1493374"/>
                </a:cubicBezTo>
                <a:cubicBezTo>
                  <a:pt x="152652" y="1457662"/>
                  <a:pt x="181604" y="1428710"/>
                  <a:pt x="217317" y="1428710"/>
                </a:cubicBezTo>
                <a:close/>
                <a:moveTo>
                  <a:pt x="5348888" y="1428708"/>
                </a:moveTo>
                <a:cubicBezTo>
                  <a:pt x="5384604" y="1428708"/>
                  <a:pt x="5413557" y="1457660"/>
                  <a:pt x="5413557" y="1493374"/>
                </a:cubicBezTo>
                <a:cubicBezTo>
                  <a:pt x="5413557" y="1529086"/>
                  <a:pt x="5384604" y="1558038"/>
                  <a:pt x="5348888" y="1558038"/>
                </a:cubicBezTo>
                <a:cubicBezTo>
                  <a:pt x="5313192" y="1558038"/>
                  <a:pt x="5284237" y="1529086"/>
                  <a:pt x="5284237" y="1493374"/>
                </a:cubicBezTo>
                <a:cubicBezTo>
                  <a:pt x="5284237" y="1457660"/>
                  <a:pt x="5313192" y="1428708"/>
                  <a:pt x="5348888" y="1428708"/>
                </a:cubicBezTo>
                <a:close/>
                <a:moveTo>
                  <a:pt x="3321398" y="1428708"/>
                </a:moveTo>
                <a:cubicBezTo>
                  <a:pt x="3357109" y="1428708"/>
                  <a:pt x="3386040" y="1457660"/>
                  <a:pt x="3386040" y="1493374"/>
                </a:cubicBezTo>
                <a:cubicBezTo>
                  <a:pt x="3386040" y="1529086"/>
                  <a:pt x="3357109" y="1558038"/>
                  <a:pt x="3321398" y="1558038"/>
                </a:cubicBezTo>
                <a:cubicBezTo>
                  <a:pt x="3285674" y="1558038"/>
                  <a:pt x="3256733" y="1529086"/>
                  <a:pt x="3256733" y="1493374"/>
                </a:cubicBezTo>
                <a:cubicBezTo>
                  <a:pt x="3256733" y="1457660"/>
                  <a:pt x="3285674" y="1428708"/>
                  <a:pt x="3321398" y="1428708"/>
                </a:cubicBezTo>
                <a:close/>
                <a:moveTo>
                  <a:pt x="3172644" y="1428708"/>
                </a:moveTo>
                <a:cubicBezTo>
                  <a:pt x="3208369" y="1428708"/>
                  <a:pt x="3237318" y="1457660"/>
                  <a:pt x="3237318" y="1493374"/>
                </a:cubicBezTo>
                <a:cubicBezTo>
                  <a:pt x="3237318" y="1529086"/>
                  <a:pt x="3208369" y="1558038"/>
                  <a:pt x="3172644" y="1558038"/>
                </a:cubicBezTo>
                <a:cubicBezTo>
                  <a:pt x="3136920" y="1558038"/>
                  <a:pt x="3107959" y="1529086"/>
                  <a:pt x="3107959" y="1493374"/>
                </a:cubicBezTo>
                <a:cubicBezTo>
                  <a:pt x="3107959" y="1457660"/>
                  <a:pt x="3136920" y="1428708"/>
                  <a:pt x="3172644" y="1428708"/>
                </a:cubicBezTo>
                <a:close/>
                <a:moveTo>
                  <a:pt x="3012125" y="1428708"/>
                </a:moveTo>
                <a:cubicBezTo>
                  <a:pt x="3047833" y="1428708"/>
                  <a:pt x="3076794" y="1457660"/>
                  <a:pt x="3076794" y="1493374"/>
                </a:cubicBezTo>
                <a:cubicBezTo>
                  <a:pt x="3076794" y="1529086"/>
                  <a:pt x="3047833" y="1558038"/>
                  <a:pt x="3012125" y="1558038"/>
                </a:cubicBezTo>
                <a:cubicBezTo>
                  <a:pt x="2976416" y="1558038"/>
                  <a:pt x="2947469" y="1529086"/>
                  <a:pt x="2947469" y="1493374"/>
                </a:cubicBezTo>
                <a:cubicBezTo>
                  <a:pt x="2947469" y="1457660"/>
                  <a:pt x="2976416" y="1428708"/>
                  <a:pt x="3012125" y="1428708"/>
                </a:cubicBezTo>
                <a:close/>
                <a:moveTo>
                  <a:pt x="2389803" y="1428708"/>
                </a:moveTo>
                <a:cubicBezTo>
                  <a:pt x="2425546" y="1428708"/>
                  <a:pt x="2454493" y="1457660"/>
                  <a:pt x="2454493" y="1493374"/>
                </a:cubicBezTo>
                <a:cubicBezTo>
                  <a:pt x="2454493" y="1529086"/>
                  <a:pt x="2425546" y="1558038"/>
                  <a:pt x="2389803" y="1558038"/>
                </a:cubicBezTo>
                <a:cubicBezTo>
                  <a:pt x="2354117" y="1558038"/>
                  <a:pt x="2325157" y="1529086"/>
                  <a:pt x="2325157" y="1493374"/>
                </a:cubicBezTo>
                <a:cubicBezTo>
                  <a:pt x="2325157" y="1457660"/>
                  <a:pt x="2354117" y="1428708"/>
                  <a:pt x="2389803" y="1428708"/>
                </a:cubicBezTo>
                <a:close/>
                <a:moveTo>
                  <a:pt x="2237136" y="1428708"/>
                </a:moveTo>
                <a:cubicBezTo>
                  <a:pt x="2272861" y="1428708"/>
                  <a:pt x="2301822" y="1457660"/>
                  <a:pt x="2301822" y="1493374"/>
                </a:cubicBezTo>
                <a:cubicBezTo>
                  <a:pt x="2301822" y="1529086"/>
                  <a:pt x="2272861" y="1558038"/>
                  <a:pt x="2237136" y="1558038"/>
                </a:cubicBezTo>
                <a:cubicBezTo>
                  <a:pt x="2201412" y="1558038"/>
                  <a:pt x="2172451" y="1529086"/>
                  <a:pt x="2172451" y="1493374"/>
                </a:cubicBezTo>
                <a:cubicBezTo>
                  <a:pt x="2172451" y="1457660"/>
                  <a:pt x="2201412" y="1428708"/>
                  <a:pt x="2237136" y="1428708"/>
                </a:cubicBezTo>
                <a:close/>
                <a:moveTo>
                  <a:pt x="2084457" y="1428708"/>
                </a:moveTo>
                <a:cubicBezTo>
                  <a:pt x="2120169" y="1428708"/>
                  <a:pt x="2149118" y="1457660"/>
                  <a:pt x="2149118" y="1493374"/>
                </a:cubicBezTo>
                <a:cubicBezTo>
                  <a:pt x="2149118" y="1529086"/>
                  <a:pt x="2120169" y="1558038"/>
                  <a:pt x="2084457" y="1558038"/>
                </a:cubicBezTo>
                <a:cubicBezTo>
                  <a:pt x="2048724" y="1558038"/>
                  <a:pt x="2019816" y="1529086"/>
                  <a:pt x="2019816" y="1493374"/>
                </a:cubicBezTo>
                <a:cubicBezTo>
                  <a:pt x="2019816" y="1457660"/>
                  <a:pt x="2048724" y="1428708"/>
                  <a:pt x="2084457" y="1428708"/>
                </a:cubicBezTo>
                <a:close/>
                <a:moveTo>
                  <a:pt x="1927872" y="1428708"/>
                </a:moveTo>
                <a:cubicBezTo>
                  <a:pt x="1963586" y="1428708"/>
                  <a:pt x="1992557" y="1457660"/>
                  <a:pt x="1992557" y="1493374"/>
                </a:cubicBezTo>
                <a:cubicBezTo>
                  <a:pt x="1992557" y="1529086"/>
                  <a:pt x="1963586" y="1558038"/>
                  <a:pt x="1927872" y="1558038"/>
                </a:cubicBezTo>
                <a:cubicBezTo>
                  <a:pt x="1892188" y="1558038"/>
                  <a:pt x="1863233" y="1529086"/>
                  <a:pt x="1863233" y="1493374"/>
                </a:cubicBezTo>
                <a:cubicBezTo>
                  <a:pt x="1863233" y="1457660"/>
                  <a:pt x="1892188" y="1428708"/>
                  <a:pt x="1927872" y="1428708"/>
                </a:cubicBezTo>
                <a:close/>
                <a:moveTo>
                  <a:pt x="1775219" y="1428708"/>
                </a:moveTo>
                <a:cubicBezTo>
                  <a:pt x="1810923" y="1428708"/>
                  <a:pt x="1839905" y="1457660"/>
                  <a:pt x="1839905" y="1493374"/>
                </a:cubicBezTo>
                <a:cubicBezTo>
                  <a:pt x="1839905" y="1529086"/>
                  <a:pt x="1810923" y="1558038"/>
                  <a:pt x="1775219" y="1558038"/>
                </a:cubicBezTo>
                <a:cubicBezTo>
                  <a:pt x="1739498" y="1558038"/>
                  <a:pt x="1710549" y="1529086"/>
                  <a:pt x="1710549" y="1493374"/>
                </a:cubicBezTo>
                <a:cubicBezTo>
                  <a:pt x="1710549" y="1457660"/>
                  <a:pt x="1739498" y="1428708"/>
                  <a:pt x="1775219" y="1428708"/>
                </a:cubicBezTo>
                <a:close/>
                <a:moveTo>
                  <a:pt x="1618636" y="1428708"/>
                </a:moveTo>
                <a:cubicBezTo>
                  <a:pt x="1654355" y="1428708"/>
                  <a:pt x="1683307" y="1457660"/>
                  <a:pt x="1683307" y="1493374"/>
                </a:cubicBezTo>
                <a:cubicBezTo>
                  <a:pt x="1683307" y="1529086"/>
                  <a:pt x="1654355" y="1558038"/>
                  <a:pt x="1618636" y="1558038"/>
                </a:cubicBezTo>
                <a:cubicBezTo>
                  <a:pt x="1582925" y="1558038"/>
                  <a:pt x="1553973" y="1529086"/>
                  <a:pt x="1553973" y="1493374"/>
                </a:cubicBezTo>
                <a:cubicBezTo>
                  <a:pt x="1553973" y="1457660"/>
                  <a:pt x="1582925" y="1428708"/>
                  <a:pt x="1618636" y="1428708"/>
                </a:cubicBezTo>
                <a:close/>
                <a:moveTo>
                  <a:pt x="1465980" y="1428708"/>
                </a:moveTo>
                <a:cubicBezTo>
                  <a:pt x="1501694" y="1428708"/>
                  <a:pt x="1530647" y="1457660"/>
                  <a:pt x="1530647" y="1493374"/>
                </a:cubicBezTo>
                <a:cubicBezTo>
                  <a:pt x="1530647" y="1529086"/>
                  <a:pt x="1501694" y="1558038"/>
                  <a:pt x="1465980" y="1558038"/>
                </a:cubicBezTo>
                <a:cubicBezTo>
                  <a:pt x="1430267" y="1558038"/>
                  <a:pt x="1401318" y="1529086"/>
                  <a:pt x="1401318" y="1493374"/>
                </a:cubicBezTo>
                <a:cubicBezTo>
                  <a:pt x="1401318" y="1457660"/>
                  <a:pt x="1430267" y="1428708"/>
                  <a:pt x="1465980" y="1428708"/>
                </a:cubicBezTo>
                <a:close/>
                <a:moveTo>
                  <a:pt x="1309407" y="1428708"/>
                </a:moveTo>
                <a:cubicBezTo>
                  <a:pt x="1345121" y="1428708"/>
                  <a:pt x="1374073" y="1457660"/>
                  <a:pt x="1374073" y="1493374"/>
                </a:cubicBezTo>
                <a:cubicBezTo>
                  <a:pt x="1374073" y="1529086"/>
                  <a:pt x="1345121" y="1558038"/>
                  <a:pt x="1309407" y="1558038"/>
                </a:cubicBezTo>
                <a:cubicBezTo>
                  <a:pt x="1273694" y="1558038"/>
                  <a:pt x="1244742" y="1529086"/>
                  <a:pt x="1244742" y="1493374"/>
                </a:cubicBezTo>
                <a:cubicBezTo>
                  <a:pt x="1244742" y="1457660"/>
                  <a:pt x="1273694" y="1428708"/>
                  <a:pt x="1309407" y="1428708"/>
                </a:cubicBezTo>
                <a:close/>
                <a:moveTo>
                  <a:pt x="1148923" y="1428708"/>
                </a:moveTo>
                <a:cubicBezTo>
                  <a:pt x="1184637" y="1428708"/>
                  <a:pt x="1213588" y="1457660"/>
                  <a:pt x="1213588" y="1493374"/>
                </a:cubicBezTo>
                <a:cubicBezTo>
                  <a:pt x="1213588" y="1529086"/>
                  <a:pt x="1184637" y="1558038"/>
                  <a:pt x="1148923" y="1558038"/>
                </a:cubicBezTo>
                <a:cubicBezTo>
                  <a:pt x="1113209" y="1558038"/>
                  <a:pt x="1084258" y="1529086"/>
                  <a:pt x="1084258" y="1493374"/>
                </a:cubicBezTo>
                <a:cubicBezTo>
                  <a:pt x="1084258" y="1457660"/>
                  <a:pt x="1113209" y="1428708"/>
                  <a:pt x="1148923" y="1428708"/>
                </a:cubicBezTo>
                <a:close/>
                <a:moveTo>
                  <a:pt x="11095111" y="1287791"/>
                </a:moveTo>
                <a:cubicBezTo>
                  <a:pt x="11130825" y="1287791"/>
                  <a:pt x="11159777" y="1316743"/>
                  <a:pt x="11159777" y="1352456"/>
                </a:cubicBezTo>
                <a:cubicBezTo>
                  <a:pt x="11159777" y="1388171"/>
                  <a:pt x="11130825" y="1417123"/>
                  <a:pt x="11095111" y="1417123"/>
                </a:cubicBezTo>
                <a:cubicBezTo>
                  <a:pt x="11059397" y="1417123"/>
                  <a:pt x="11030445" y="1388171"/>
                  <a:pt x="11030445" y="1352456"/>
                </a:cubicBezTo>
                <a:cubicBezTo>
                  <a:pt x="11030445" y="1316743"/>
                  <a:pt x="11059397" y="1287791"/>
                  <a:pt x="11095111" y="1287791"/>
                </a:cubicBezTo>
                <a:close/>
                <a:moveTo>
                  <a:pt x="10938538" y="1287791"/>
                </a:moveTo>
                <a:cubicBezTo>
                  <a:pt x="10974252" y="1287791"/>
                  <a:pt x="11003204" y="1316743"/>
                  <a:pt x="11003204" y="1352456"/>
                </a:cubicBezTo>
                <a:cubicBezTo>
                  <a:pt x="11003204" y="1388171"/>
                  <a:pt x="10974252" y="1417123"/>
                  <a:pt x="10938538" y="1417123"/>
                </a:cubicBezTo>
                <a:cubicBezTo>
                  <a:pt x="10902824" y="1417123"/>
                  <a:pt x="10873872" y="1388171"/>
                  <a:pt x="10873872" y="1352456"/>
                </a:cubicBezTo>
                <a:cubicBezTo>
                  <a:pt x="10873872" y="1316743"/>
                  <a:pt x="10902824" y="1287791"/>
                  <a:pt x="10938538" y="1287791"/>
                </a:cubicBezTo>
                <a:close/>
                <a:moveTo>
                  <a:pt x="10778051" y="1287791"/>
                </a:moveTo>
                <a:cubicBezTo>
                  <a:pt x="10813765" y="1287791"/>
                  <a:pt x="10842717" y="1316743"/>
                  <a:pt x="10842717" y="1352456"/>
                </a:cubicBezTo>
                <a:cubicBezTo>
                  <a:pt x="10842717" y="1388171"/>
                  <a:pt x="10813765" y="1417123"/>
                  <a:pt x="10778051" y="1417123"/>
                </a:cubicBezTo>
                <a:cubicBezTo>
                  <a:pt x="10742337" y="1417123"/>
                  <a:pt x="10713385" y="1388171"/>
                  <a:pt x="10713385" y="1352456"/>
                </a:cubicBezTo>
                <a:cubicBezTo>
                  <a:pt x="10713385" y="1316743"/>
                  <a:pt x="10742337" y="1287791"/>
                  <a:pt x="10778051" y="1287791"/>
                </a:cubicBezTo>
                <a:close/>
                <a:moveTo>
                  <a:pt x="10625391" y="1287791"/>
                </a:moveTo>
                <a:cubicBezTo>
                  <a:pt x="10661105" y="1287791"/>
                  <a:pt x="10690057" y="1316743"/>
                  <a:pt x="10690057" y="1352456"/>
                </a:cubicBezTo>
                <a:cubicBezTo>
                  <a:pt x="10690057" y="1388171"/>
                  <a:pt x="10661105" y="1417123"/>
                  <a:pt x="10625391" y="1417123"/>
                </a:cubicBezTo>
                <a:cubicBezTo>
                  <a:pt x="10589677" y="1417123"/>
                  <a:pt x="10560725" y="1388171"/>
                  <a:pt x="10560725" y="1352456"/>
                </a:cubicBezTo>
                <a:cubicBezTo>
                  <a:pt x="10560725" y="1316743"/>
                  <a:pt x="10589677" y="1287791"/>
                  <a:pt x="10625391" y="1287791"/>
                </a:cubicBezTo>
                <a:close/>
                <a:moveTo>
                  <a:pt x="10468818" y="1287791"/>
                </a:moveTo>
                <a:cubicBezTo>
                  <a:pt x="10504532" y="1287791"/>
                  <a:pt x="10533484" y="1316743"/>
                  <a:pt x="10533484" y="1352456"/>
                </a:cubicBezTo>
                <a:cubicBezTo>
                  <a:pt x="10533484" y="1388171"/>
                  <a:pt x="10504532" y="1417123"/>
                  <a:pt x="10468818" y="1417123"/>
                </a:cubicBezTo>
                <a:cubicBezTo>
                  <a:pt x="10433104" y="1417123"/>
                  <a:pt x="10404152" y="1388171"/>
                  <a:pt x="10404152" y="1352456"/>
                </a:cubicBezTo>
                <a:cubicBezTo>
                  <a:pt x="10404152" y="1316743"/>
                  <a:pt x="10433104" y="1287791"/>
                  <a:pt x="10468818" y="1287791"/>
                </a:cubicBezTo>
                <a:close/>
                <a:moveTo>
                  <a:pt x="10312244" y="1287791"/>
                </a:moveTo>
                <a:cubicBezTo>
                  <a:pt x="10347958" y="1287791"/>
                  <a:pt x="10376910" y="1316743"/>
                  <a:pt x="10376910" y="1352456"/>
                </a:cubicBezTo>
                <a:cubicBezTo>
                  <a:pt x="10376910" y="1388171"/>
                  <a:pt x="10347958" y="1417123"/>
                  <a:pt x="10312244" y="1417123"/>
                </a:cubicBezTo>
                <a:cubicBezTo>
                  <a:pt x="10276530" y="1417123"/>
                  <a:pt x="10247578" y="1388171"/>
                  <a:pt x="10247578" y="1352456"/>
                </a:cubicBezTo>
                <a:cubicBezTo>
                  <a:pt x="10247578" y="1316743"/>
                  <a:pt x="10276530" y="1287791"/>
                  <a:pt x="10312244" y="1287791"/>
                </a:cubicBezTo>
                <a:close/>
                <a:moveTo>
                  <a:pt x="10159586" y="1287791"/>
                </a:moveTo>
                <a:cubicBezTo>
                  <a:pt x="10195300" y="1287791"/>
                  <a:pt x="10224252" y="1316743"/>
                  <a:pt x="10224252" y="1352456"/>
                </a:cubicBezTo>
                <a:cubicBezTo>
                  <a:pt x="10224252" y="1388171"/>
                  <a:pt x="10195300" y="1417123"/>
                  <a:pt x="10159586" y="1417123"/>
                </a:cubicBezTo>
                <a:cubicBezTo>
                  <a:pt x="10123872" y="1417123"/>
                  <a:pt x="10094920" y="1388171"/>
                  <a:pt x="10094920" y="1352456"/>
                </a:cubicBezTo>
                <a:cubicBezTo>
                  <a:pt x="10094920" y="1316743"/>
                  <a:pt x="10123872" y="1287791"/>
                  <a:pt x="10159586" y="1287791"/>
                </a:cubicBezTo>
                <a:close/>
                <a:moveTo>
                  <a:pt x="10003015" y="1287791"/>
                </a:moveTo>
                <a:cubicBezTo>
                  <a:pt x="10038729" y="1287791"/>
                  <a:pt x="10067681" y="1316743"/>
                  <a:pt x="10067681" y="1352456"/>
                </a:cubicBezTo>
                <a:cubicBezTo>
                  <a:pt x="10067681" y="1388171"/>
                  <a:pt x="10038729" y="1417123"/>
                  <a:pt x="10003015" y="1417123"/>
                </a:cubicBezTo>
                <a:cubicBezTo>
                  <a:pt x="9967301" y="1417123"/>
                  <a:pt x="9938349" y="1388171"/>
                  <a:pt x="9938349" y="1352456"/>
                </a:cubicBezTo>
                <a:cubicBezTo>
                  <a:pt x="9938349" y="1316743"/>
                  <a:pt x="9967301" y="1287791"/>
                  <a:pt x="10003015" y="1287791"/>
                </a:cubicBezTo>
                <a:close/>
                <a:moveTo>
                  <a:pt x="9850355" y="1287791"/>
                </a:moveTo>
                <a:cubicBezTo>
                  <a:pt x="9886069" y="1287791"/>
                  <a:pt x="9915021" y="1316743"/>
                  <a:pt x="9915021" y="1352456"/>
                </a:cubicBezTo>
                <a:cubicBezTo>
                  <a:pt x="9915021" y="1388171"/>
                  <a:pt x="9886069" y="1417123"/>
                  <a:pt x="9850355" y="1417123"/>
                </a:cubicBezTo>
                <a:cubicBezTo>
                  <a:pt x="9814641" y="1417123"/>
                  <a:pt x="9785689" y="1388171"/>
                  <a:pt x="9785689" y="1352456"/>
                </a:cubicBezTo>
                <a:cubicBezTo>
                  <a:pt x="9785689" y="1316743"/>
                  <a:pt x="9814641" y="1287791"/>
                  <a:pt x="9850355" y="1287791"/>
                </a:cubicBezTo>
                <a:close/>
                <a:moveTo>
                  <a:pt x="9693780" y="1287791"/>
                </a:moveTo>
                <a:cubicBezTo>
                  <a:pt x="9729494" y="1287791"/>
                  <a:pt x="9758446" y="1316743"/>
                  <a:pt x="9758446" y="1352456"/>
                </a:cubicBezTo>
                <a:cubicBezTo>
                  <a:pt x="9758446" y="1388171"/>
                  <a:pt x="9729494" y="1417123"/>
                  <a:pt x="9693780" y="1417123"/>
                </a:cubicBezTo>
                <a:cubicBezTo>
                  <a:pt x="9658066" y="1417123"/>
                  <a:pt x="9629114" y="1388171"/>
                  <a:pt x="9629114" y="1352456"/>
                </a:cubicBezTo>
                <a:cubicBezTo>
                  <a:pt x="9629114" y="1316743"/>
                  <a:pt x="9658066" y="1287791"/>
                  <a:pt x="9693780" y="1287791"/>
                </a:cubicBezTo>
                <a:close/>
                <a:moveTo>
                  <a:pt x="9541122" y="1287791"/>
                </a:moveTo>
                <a:cubicBezTo>
                  <a:pt x="9576836" y="1287791"/>
                  <a:pt x="9605788" y="1316743"/>
                  <a:pt x="9605788" y="1352456"/>
                </a:cubicBezTo>
                <a:cubicBezTo>
                  <a:pt x="9605788" y="1388171"/>
                  <a:pt x="9576836" y="1417123"/>
                  <a:pt x="9541122" y="1417123"/>
                </a:cubicBezTo>
                <a:cubicBezTo>
                  <a:pt x="9505408" y="1417123"/>
                  <a:pt x="9476456" y="1388171"/>
                  <a:pt x="9476456" y="1352456"/>
                </a:cubicBezTo>
                <a:cubicBezTo>
                  <a:pt x="9476456" y="1316743"/>
                  <a:pt x="9505408" y="1287791"/>
                  <a:pt x="9541122" y="1287791"/>
                </a:cubicBezTo>
                <a:close/>
                <a:moveTo>
                  <a:pt x="9384549" y="1287791"/>
                </a:moveTo>
                <a:cubicBezTo>
                  <a:pt x="9420263" y="1287791"/>
                  <a:pt x="9449215" y="1316743"/>
                  <a:pt x="9449215" y="1352456"/>
                </a:cubicBezTo>
                <a:cubicBezTo>
                  <a:pt x="9449215" y="1388171"/>
                  <a:pt x="9420263" y="1417123"/>
                  <a:pt x="9384549" y="1417123"/>
                </a:cubicBezTo>
                <a:cubicBezTo>
                  <a:pt x="9348835" y="1417123"/>
                  <a:pt x="9319883" y="1388171"/>
                  <a:pt x="9319883" y="1352456"/>
                </a:cubicBezTo>
                <a:cubicBezTo>
                  <a:pt x="9319883" y="1316743"/>
                  <a:pt x="9348835" y="1287791"/>
                  <a:pt x="9384549" y="1287791"/>
                </a:cubicBezTo>
                <a:close/>
                <a:moveTo>
                  <a:pt x="9227976" y="1287791"/>
                </a:moveTo>
                <a:cubicBezTo>
                  <a:pt x="9263690" y="1287791"/>
                  <a:pt x="9292642" y="1316743"/>
                  <a:pt x="9292642" y="1352456"/>
                </a:cubicBezTo>
                <a:cubicBezTo>
                  <a:pt x="9292642" y="1388171"/>
                  <a:pt x="9263690" y="1417123"/>
                  <a:pt x="9227976" y="1417123"/>
                </a:cubicBezTo>
                <a:cubicBezTo>
                  <a:pt x="9192262" y="1417123"/>
                  <a:pt x="9163310" y="1388171"/>
                  <a:pt x="9163310" y="1352456"/>
                </a:cubicBezTo>
                <a:cubicBezTo>
                  <a:pt x="9163310" y="1316743"/>
                  <a:pt x="9192262" y="1287791"/>
                  <a:pt x="9227976" y="1287791"/>
                </a:cubicBezTo>
                <a:close/>
                <a:moveTo>
                  <a:pt x="9075316" y="1287791"/>
                </a:moveTo>
                <a:cubicBezTo>
                  <a:pt x="9111030" y="1287791"/>
                  <a:pt x="9139982" y="1316743"/>
                  <a:pt x="9139982" y="1352456"/>
                </a:cubicBezTo>
                <a:cubicBezTo>
                  <a:pt x="9139982" y="1388171"/>
                  <a:pt x="9111030" y="1417123"/>
                  <a:pt x="9075316" y="1417123"/>
                </a:cubicBezTo>
                <a:cubicBezTo>
                  <a:pt x="9039602" y="1417123"/>
                  <a:pt x="9010650" y="1388171"/>
                  <a:pt x="9010650" y="1352456"/>
                </a:cubicBezTo>
                <a:cubicBezTo>
                  <a:pt x="9010650" y="1316743"/>
                  <a:pt x="9039602" y="1287791"/>
                  <a:pt x="9075316" y="1287791"/>
                </a:cubicBezTo>
                <a:close/>
                <a:moveTo>
                  <a:pt x="8914828" y="1287791"/>
                </a:moveTo>
                <a:cubicBezTo>
                  <a:pt x="8950542" y="1287791"/>
                  <a:pt x="8979494" y="1316743"/>
                  <a:pt x="8979494" y="1352456"/>
                </a:cubicBezTo>
                <a:cubicBezTo>
                  <a:pt x="8979494" y="1388171"/>
                  <a:pt x="8950542" y="1417123"/>
                  <a:pt x="8914828" y="1417123"/>
                </a:cubicBezTo>
                <a:cubicBezTo>
                  <a:pt x="8879114" y="1417123"/>
                  <a:pt x="8850162" y="1388171"/>
                  <a:pt x="8850162" y="1352456"/>
                </a:cubicBezTo>
                <a:cubicBezTo>
                  <a:pt x="8850162" y="1316743"/>
                  <a:pt x="8879114" y="1287791"/>
                  <a:pt x="8914828" y="1287791"/>
                </a:cubicBezTo>
                <a:close/>
                <a:moveTo>
                  <a:pt x="8766084" y="1287791"/>
                </a:moveTo>
                <a:cubicBezTo>
                  <a:pt x="8801798" y="1287791"/>
                  <a:pt x="8830750" y="1316743"/>
                  <a:pt x="8830750" y="1352456"/>
                </a:cubicBezTo>
                <a:cubicBezTo>
                  <a:pt x="8830750" y="1388171"/>
                  <a:pt x="8801798" y="1417123"/>
                  <a:pt x="8766084" y="1417123"/>
                </a:cubicBezTo>
                <a:cubicBezTo>
                  <a:pt x="8730370" y="1417123"/>
                  <a:pt x="8701418" y="1388171"/>
                  <a:pt x="8701418" y="1352456"/>
                </a:cubicBezTo>
                <a:cubicBezTo>
                  <a:pt x="8701418" y="1316743"/>
                  <a:pt x="8730370" y="1287791"/>
                  <a:pt x="8766084" y="1287791"/>
                </a:cubicBezTo>
                <a:close/>
                <a:moveTo>
                  <a:pt x="8601682" y="1287791"/>
                </a:moveTo>
                <a:cubicBezTo>
                  <a:pt x="8637396" y="1287791"/>
                  <a:pt x="8666348" y="1316743"/>
                  <a:pt x="8666348" y="1352456"/>
                </a:cubicBezTo>
                <a:cubicBezTo>
                  <a:pt x="8666348" y="1388171"/>
                  <a:pt x="8637396" y="1417123"/>
                  <a:pt x="8601682" y="1417123"/>
                </a:cubicBezTo>
                <a:cubicBezTo>
                  <a:pt x="8565968" y="1417123"/>
                  <a:pt x="8537016" y="1388171"/>
                  <a:pt x="8537016" y="1352456"/>
                </a:cubicBezTo>
                <a:cubicBezTo>
                  <a:pt x="8537016" y="1316743"/>
                  <a:pt x="8565968" y="1287791"/>
                  <a:pt x="8601682" y="1287791"/>
                </a:cubicBezTo>
                <a:close/>
                <a:moveTo>
                  <a:pt x="8449023" y="1287791"/>
                </a:moveTo>
                <a:cubicBezTo>
                  <a:pt x="8484737" y="1287791"/>
                  <a:pt x="8513689" y="1316743"/>
                  <a:pt x="8513689" y="1352456"/>
                </a:cubicBezTo>
                <a:cubicBezTo>
                  <a:pt x="8513689" y="1388171"/>
                  <a:pt x="8484737" y="1417123"/>
                  <a:pt x="8449023" y="1417123"/>
                </a:cubicBezTo>
                <a:cubicBezTo>
                  <a:pt x="8413309" y="1417123"/>
                  <a:pt x="8384357" y="1388171"/>
                  <a:pt x="8384357" y="1352456"/>
                </a:cubicBezTo>
                <a:cubicBezTo>
                  <a:pt x="8384357" y="1316743"/>
                  <a:pt x="8413309" y="1287791"/>
                  <a:pt x="8449023" y="1287791"/>
                </a:cubicBezTo>
                <a:close/>
                <a:moveTo>
                  <a:pt x="8296365" y="1287791"/>
                </a:moveTo>
                <a:cubicBezTo>
                  <a:pt x="8332079" y="1287791"/>
                  <a:pt x="8361031" y="1316743"/>
                  <a:pt x="8361031" y="1352456"/>
                </a:cubicBezTo>
                <a:cubicBezTo>
                  <a:pt x="8361031" y="1388171"/>
                  <a:pt x="8332079" y="1417123"/>
                  <a:pt x="8296365" y="1417123"/>
                </a:cubicBezTo>
                <a:cubicBezTo>
                  <a:pt x="8260651" y="1417123"/>
                  <a:pt x="8231699" y="1388171"/>
                  <a:pt x="8231699" y="1352456"/>
                </a:cubicBezTo>
                <a:cubicBezTo>
                  <a:pt x="8231699" y="1316743"/>
                  <a:pt x="8260651" y="1287791"/>
                  <a:pt x="8296365" y="1287791"/>
                </a:cubicBezTo>
                <a:close/>
                <a:moveTo>
                  <a:pt x="8139790" y="1287791"/>
                </a:moveTo>
                <a:cubicBezTo>
                  <a:pt x="8175504" y="1287791"/>
                  <a:pt x="8204456" y="1316743"/>
                  <a:pt x="8204456" y="1352456"/>
                </a:cubicBezTo>
                <a:cubicBezTo>
                  <a:pt x="8204456" y="1388171"/>
                  <a:pt x="8175504" y="1417123"/>
                  <a:pt x="8139790" y="1417123"/>
                </a:cubicBezTo>
                <a:cubicBezTo>
                  <a:pt x="8104076" y="1417123"/>
                  <a:pt x="8075124" y="1388171"/>
                  <a:pt x="8075124" y="1352456"/>
                </a:cubicBezTo>
                <a:cubicBezTo>
                  <a:pt x="8075124" y="1316743"/>
                  <a:pt x="8104076" y="1287791"/>
                  <a:pt x="8139790" y="1287791"/>
                </a:cubicBezTo>
                <a:close/>
                <a:moveTo>
                  <a:pt x="7987132" y="1287791"/>
                </a:moveTo>
                <a:cubicBezTo>
                  <a:pt x="8022846" y="1287791"/>
                  <a:pt x="8051798" y="1316743"/>
                  <a:pt x="8051798" y="1352456"/>
                </a:cubicBezTo>
                <a:cubicBezTo>
                  <a:pt x="8051798" y="1388171"/>
                  <a:pt x="8022846" y="1417123"/>
                  <a:pt x="7987132" y="1417123"/>
                </a:cubicBezTo>
                <a:cubicBezTo>
                  <a:pt x="7951418" y="1417123"/>
                  <a:pt x="7922466" y="1388171"/>
                  <a:pt x="7922466" y="1352456"/>
                </a:cubicBezTo>
                <a:cubicBezTo>
                  <a:pt x="7922466" y="1316743"/>
                  <a:pt x="7951418" y="1287791"/>
                  <a:pt x="7987132" y="1287791"/>
                </a:cubicBezTo>
                <a:close/>
                <a:moveTo>
                  <a:pt x="7830560" y="1287791"/>
                </a:moveTo>
                <a:cubicBezTo>
                  <a:pt x="7866274" y="1287791"/>
                  <a:pt x="7895226" y="1316743"/>
                  <a:pt x="7895226" y="1352456"/>
                </a:cubicBezTo>
                <a:cubicBezTo>
                  <a:pt x="7895226" y="1388171"/>
                  <a:pt x="7866274" y="1417123"/>
                  <a:pt x="7830560" y="1417123"/>
                </a:cubicBezTo>
                <a:cubicBezTo>
                  <a:pt x="7794846" y="1417123"/>
                  <a:pt x="7765894" y="1388171"/>
                  <a:pt x="7765894" y="1352456"/>
                </a:cubicBezTo>
                <a:cubicBezTo>
                  <a:pt x="7765894" y="1316743"/>
                  <a:pt x="7794846" y="1287791"/>
                  <a:pt x="7830560" y="1287791"/>
                </a:cubicBezTo>
                <a:close/>
                <a:moveTo>
                  <a:pt x="7677900" y="1287791"/>
                </a:moveTo>
                <a:cubicBezTo>
                  <a:pt x="7713614" y="1287791"/>
                  <a:pt x="7742566" y="1316743"/>
                  <a:pt x="7742566" y="1352456"/>
                </a:cubicBezTo>
                <a:cubicBezTo>
                  <a:pt x="7742566" y="1388171"/>
                  <a:pt x="7713614" y="1417123"/>
                  <a:pt x="7677900" y="1417123"/>
                </a:cubicBezTo>
                <a:cubicBezTo>
                  <a:pt x="7642186" y="1417123"/>
                  <a:pt x="7613234" y="1388171"/>
                  <a:pt x="7613234" y="1352456"/>
                </a:cubicBezTo>
                <a:cubicBezTo>
                  <a:pt x="7613234" y="1316743"/>
                  <a:pt x="7642186" y="1287791"/>
                  <a:pt x="7677900" y="1287791"/>
                </a:cubicBezTo>
                <a:close/>
                <a:moveTo>
                  <a:pt x="7521327" y="1287791"/>
                </a:moveTo>
                <a:cubicBezTo>
                  <a:pt x="7557041" y="1287791"/>
                  <a:pt x="7585993" y="1316743"/>
                  <a:pt x="7585993" y="1352456"/>
                </a:cubicBezTo>
                <a:cubicBezTo>
                  <a:pt x="7585993" y="1388171"/>
                  <a:pt x="7557041" y="1417123"/>
                  <a:pt x="7521327" y="1417123"/>
                </a:cubicBezTo>
                <a:cubicBezTo>
                  <a:pt x="7485613" y="1417123"/>
                  <a:pt x="7456661" y="1388171"/>
                  <a:pt x="7456661" y="1352456"/>
                </a:cubicBezTo>
                <a:cubicBezTo>
                  <a:pt x="7456661" y="1316743"/>
                  <a:pt x="7485613" y="1287791"/>
                  <a:pt x="7521327" y="1287791"/>
                </a:cubicBezTo>
                <a:close/>
                <a:moveTo>
                  <a:pt x="7368667" y="1287791"/>
                </a:moveTo>
                <a:cubicBezTo>
                  <a:pt x="7404381" y="1287791"/>
                  <a:pt x="7433333" y="1316743"/>
                  <a:pt x="7433333" y="1352456"/>
                </a:cubicBezTo>
                <a:cubicBezTo>
                  <a:pt x="7433333" y="1388171"/>
                  <a:pt x="7404381" y="1417123"/>
                  <a:pt x="7368667" y="1417123"/>
                </a:cubicBezTo>
                <a:cubicBezTo>
                  <a:pt x="7332953" y="1417123"/>
                  <a:pt x="7304001" y="1388171"/>
                  <a:pt x="7304001" y="1352456"/>
                </a:cubicBezTo>
                <a:cubicBezTo>
                  <a:pt x="7304001" y="1316743"/>
                  <a:pt x="7332953" y="1287791"/>
                  <a:pt x="7368667" y="1287791"/>
                </a:cubicBezTo>
                <a:close/>
                <a:moveTo>
                  <a:pt x="7212094" y="1287791"/>
                </a:moveTo>
                <a:cubicBezTo>
                  <a:pt x="7247808" y="1287791"/>
                  <a:pt x="7276760" y="1316743"/>
                  <a:pt x="7276760" y="1352456"/>
                </a:cubicBezTo>
                <a:cubicBezTo>
                  <a:pt x="7276760" y="1388171"/>
                  <a:pt x="7247808" y="1417123"/>
                  <a:pt x="7212094" y="1417123"/>
                </a:cubicBezTo>
                <a:cubicBezTo>
                  <a:pt x="7176380" y="1417123"/>
                  <a:pt x="7147428" y="1388171"/>
                  <a:pt x="7147428" y="1352456"/>
                </a:cubicBezTo>
                <a:cubicBezTo>
                  <a:pt x="7147428" y="1316743"/>
                  <a:pt x="7176380" y="1287791"/>
                  <a:pt x="7212094" y="1287791"/>
                </a:cubicBezTo>
                <a:close/>
                <a:moveTo>
                  <a:pt x="7055521" y="1287791"/>
                </a:moveTo>
                <a:cubicBezTo>
                  <a:pt x="7091235" y="1287791"/>
                  <a:pt x="7120187" y="1316743"/>
                  <a:pt x="7120187" y="1352456"/>
                </a:cubicBezTo>
                <a:cubicBezTo>
                  <a:pt x="7120187" y="1388171"/>
                  <a:pt x="7091235" y="1417123"/>
                  <a:pt x="7055521" y="1417123"/>
                </a:cubicBezTo>
                <a:cubicBezTo>
                  <a:pt x="7019807" y="1417123"/>
                  <a:pt x="6990855" y="1388171"/>
                  <a:pt x="6990855" y="1352456"/>
                </a:cubicBezTo>
                <a:cubicBezTo>
                  <a:pt x="6990855" y="1316743"/>
                  <a:pt x="7019807" y="1287791"/>
                  <a:pt x="7055521" y="1287791"/>
                </a:cubicBezTo>
                <a:close/>
                <a:moveTo>
                  <a:pt x="6895035" y="1287791"/>
                </a:moveTo>
                <a:cubicBezTo>
                  <a:pt x="6930749" y="1287791"/>
                  <a:pt x="6959701" y="1316743"/>
                  <a:pt x="6959701" y="1352456"/>
                </a:cubicBezTo>
                <a:cubicBezTo>
                  <a:pt x="6959701" y="1388171"/>
                  <a:pt x="6930749" y="1417123"/>
                  <a:pt x="6895035" y="1417123"/>
                </a:cubicBezTo>
                <a:cubicBezTo>
                  <a:pt x="6859321" y="1417123"/>
                  <a:pt x="6830369" y="1388171"/>
                  <a:pt x="6830369" y="1352456"/>
                </a:cubicBezTo>
                <a:cubicBezTo>
                  <a:pt x="6830369" y="1316743"/>
                  <a:pt x="6859321" y="1287791"/>
                  <a:pt x="6895035" y="1287791"/>
                </a:cubicBezTo>
                <a:close/>
                <a:moveTo>
                  <a:pt x="6742375" y="1287791"/>
                </a:moveTo>
                <a:cubicBezTo>
                  <a:pt x="6778089" y="1287791"/>
                  <a:pt x="6807041" y="1316743"/>
                  <a:pt x="6807041" y="1352456"/>
                </a:cubicBezTo>
                <a:cubicBezTo>
                  <a:pt x="6807041" y="1388171"/>
                  <a:pt x="6778089" y="1417123"/>
                  <a:pt x="6742375" y="1417123"/>
                </a:cubicBezTo>
                <a:cubicBezTo>
                  <a:pt x="6706661" y="1417123"/>
                  <a:pt x="6677709" y="1388171"/>
                  <a:pt x="6677709" y="1352456"/>
                </a:cubicBezTo>
                <a:cubicBezTo>
                  <a:pt x="6677709" y="1316743"/>
                  <a:pt x="6706661" y="1287791"/>
                  <a:pt x="6742375" y="1287791"/>
                </a:cubicBezTo>
                <a:close/>
                <a:moveTo>
                  <a:pt x="6585801" y="1287791"/>
                </a:moveTo>
                <a:cubicBezTo>
                  <a:pt x="6621515" y="1287791"/>
                  <a:pt x="6650467" y="1316743"/>
                  <a:pt x="6650467" y="1352456"/>
                </a:cubicBezTo>
                <a:cubicBezTo>
                  <a:pt x="6650467" y="1388171"/>
                  <a:pt x="6621515" y="1417123"/>
                  <a:pt x="6585801" y="1417123"/>
                </a:cubicBezTo>
                <a:cubicBezTo>
                  <a:pt x="6550087" y="1417123"/>
                  <a:pt x="6521135" y="1388171"/>
                  <a:pt x="6521135" y="1352456"/>
                </a:cubicBezTo>
                <a:cubicBezTo>
                  <a:pt x="6521135" y="1316743"/>
                  <a:pt x="6550087" y="1287791"/>
                  <a:pt x="6585801" y="1287791"/>
                </a:cubicBezTo>
                <a:close/>
                <a:moveTo>
                  <a:pt x="6429228" y="1287791"/>
                </a:moveTo>
                <a:cubicBezTo>
                  <a:pt x="6464942" y="1287791"/>
                  <a:pt x="6493894" y="1316743"/>
                  <a:pt x="6493894" y="1352456"/>
                </a:cubicBezTo>
                <a:cubicBezTo>
                  <a:pt x="6493894" y="1388171"/>
                  <a:pt x="6464942" y="1417123"/>
                  <a:pt x="6429228" y="1417123"/>
                </a:cubicBezTo>
                <a:cubicBezTo>
                  <a:pt x="6393514" y="1417123"/>
                  <a:pt x="6364562" y="1388171"/>
                  <a:pt x="6364562" y="1352456"/>
                </a:cubicBezTo>
                <a:cubicBezTo>
                  <a:pt x="6364562" y="1316743"/>
                  <a:pt x="6393514" y="1287791"/>
                  <a:pt x="6429228" y="1287791"/>
                </a:cubicBezTo>
                <a:close/>
                <a:moveTo>
                  <a:pt x="6276569" y="1287791"/>
                </a:moveTo>
                <a:cubicBezTo>
                  <a:pt x="6312283" y="1287791"/>
                  <a:pt x="6341235" y="1316743"/>
                  <a:pt x="6341235" y="1352456"/>
                </a:cubicBezTo>
                <a:cubicBezTo>
                  <a:pt x="6341235" y="1388171"/>
                  <a:pt x="6312283" y="1417123"/>
                  <a:pt x="6276569" y="1417123"/>
                </a:cubicBezTo>
                <a:cubicBezTo>
                  <a:pt x="6240855" y="1417123"/>
                  <a:pt x="6211903" y="1388171"/>
                  <a:pt x="6211903" y="1352456"/>
                </a:cubicBezTo>
                <a:cubicBezTo>
                  <a:pt x="6211903" y="1316743"/>
                  <a:pt x="6240855" y="1287791"/>
                  <a:pt x="6276569" y="1287791"/>
                </a:cubicBezTo>
                <a:close/>
                <a:moveTo>
                  <a:pt x="5967336" y="1287791"/>
                </a:moveTo>
                <a:cubicBezTo>
                  <a:pt x="6003050" y="1287791"/>
                  <a:pt x="6032002" y="1316743"/>
                  <a:pt x="6032002" y="1352456"/>
                </a:cubicBezTo>
                <a:cubicBezTo>
                  <a:pt x="6032002" y="1388171"/>
                  <a:pt x="6003050" y="1417123"/>
                  <a:pt x="5967336" y="1417123"/>
                </a:cubicBezTo>
                <a:cubicBezTo>
                  <a:pt x="5931622" y="1417123"/>
                  <a:pt x="5902670" y="1388171"/>
                  <a:pt x="5902670" y="1352456"/>
                </a:cubicBezTo>
                <a:cubicBezTo>
                  <a:pt x="5902670" y="1316743"/>
                  <a:pt x="5931622" y="1287791"/>
                  <a:pt x="5967336" y="1287791"/>
                </a:cubicBezTo>
                <a:close/>
                <a:moveTo>
                  <a:pt x="5810805" y="1287791"/>
                </a:moveTo>
                <a:cubicBezTo>
                  <a:pt x="5846477" y="1287791"/>
                  <a:pt x="5875429" y="1316743"/>
                  <a:pt x="5875429" y="1352456"/>
                </a:cubicBezTo>
                <a:cubicBezTo>
                  <a:pt x="5875429" y="1388171"/>
                  <a:pt x="5846477" y="1417123"/>
                  <a:pt x="5810805" y="1417123"/>
                </a:cubicBezTo>
                <a:cubicBezTo>
                  <a:pt x="5775079" y="1417123"/>
                  <a:pt x="5746117" y="1388171"/>
                  <a:pt x="5746117" y="1352456"/>
                </a:cubicBezTo>
                <a:cubicBezTo>
                  <a:pt x="5746117" y="1316743"/>
                  <a:pt x="5775079" y="1287791"/>
                  <a:pt x="5810805" y="1287791"/>
                </a:cubicBezTo>
                <a:close/>
                <a:moveTo>
                  <a:pt x="5658107" y="1287791"/>
                </a:moveTo>
                <a:cubicBezTo>
                  <a:pt x="5693823" y="1287791"/>
                  <a:pt x="5722783" y="1316743"/>
                  <a:pt x="5722783" y="1352456"/>
                </a:cubicBezTo>
                <a:cubicBezTo>
                  <a:pt x="5722783" y="1388171"/>
                  <a:pt x="5693823" y="1417123"/>
                  <a:pt x="5658107" y="1417123"/>
                </a:cubicBezTo>
                <a:cubicBezTo>
                  <a:pt x="5622397" y="1417123"/>
                  <a:pt x="5593441" y="1388171"/>
                  <a:pt x="5593441" y="1352456"/>
                </a:cubicBezTo>
                <a:cubicBezTo>
                  <a:pt x="5593441" y="1316743"/>
                  <a:pt x="5622397" y="1287791"/>
                  <a:pt x="5658107" y="1287791"/>
                </a:cubicBezTo>
                <a:close/>
                <a:moveTo>
                  <a:pt x="4100247" y="1287791"/>
                </a:moveTo>
                <a:cubicBezTo>
                  <a:pt x="4135947" y="1287791"/>
                  <a:pt x="4164920" y="1316743"/>
                  <a:pt x="4164920" y="1352456"/>
                </a:cubicBezTo>
                <a:cubicBezTo>
                  <a:pt x="4164920" y="1388171"/>
                  <a:pt x="4135947" y="1417123"/>
                  <a:pt x="4100247" y="1417123"/>
                </a:cubicBezTo>
                <a:cubicBezTo>
                  <a:pt x="4064521" y="1417123"/>
                  <a:pt x="4035590" y="1388171"/>
                  <a:pt x="4035590" y="1352456"/>
                </a:cubicBezTo>
                <a:cubicBezTo>
                  <a:pt x="4035590" y="1316743"/>
                  <a:pt x="4064521" y="1287791"/>
                  <a:pt x="4100247" y="1287791"/>
                </a:cubicBezTo>
                <a:close/>
                <a:moveTo>
                  <a:pt x="3012132" y="1287791"/>
                </a:moveTo>
                <a:cubicBezTo>
                  <a:pt x="3047840" y="1287791"/>
                  <a:pt x="3076802" y="1316743"/>
                  <a:pt x="3076802" y="1352456"/>
                </a:cubicBezTo>
                <a:cubicBezTo>
                  <a:pt x="3076802" y="1388171"/>
                  <a:pt x="3047840" y="1417123"/>
                  <a:pt x="3012132" y="1417123"/>
                </a:cubicBezTo>
                <a:cubicBezTo>
                  <a:pt x="2976423" y="1417123"/>
                  <a:pt x="2947475" y="1388171"/>
                  <a:pt x="2947475" y="1352456"/>
                </a:cubicBezTo>
                <a:cubicBezTo>
                  <a:pt x="2947475" y="1316743"/>
                  <a:pt x="2976423" y="1287791"/>
                  <a:pt x="3012132" y="1287791"/>
                </a:cubicBezTo>
                <a:close/>
                <a:moveTo>
                  <a:pt x="2389823" y="1287791"/>
                </a:moveTo>
                <a:cubicBezTo>
                  <a:pt x="2425559" y="1287791"/>
                  <a:pt x="2454505" y="1316743"/>
                  <a:pt x="2454505" y="1352456"/>
                </a:cubicBezTo>
                <a:cubicBezTo>
                  <a:pt x="2454505" y="1388171"/>
                  <a:pt x="2425559" y="1417123"/>
                  <a:pt x="2389823" y="1417123"/>
                </a:cubicBezTo>
                <a:cubicBezTo>
                  <a:pt x="2354127" y="1417123"/>
                  <a:pt x="2325168" y="1388171"/>
                  <a:pt x="2325168" y="1352456"/>
                </a:cubicBezTo>
                <a:cubicBezTo>
                  <a:pt x="2325168" y="1316743"/>
                  <a:pt x="2354127" y="1287791"/>
                  <a:pt x="2389823" y="1287791"/>
                </a:cubicBezTo>
                <a:close/>
                <a:moveTo>
                  <a:pt x="2237146" y="1287791"/>
                </a:moveTo>
                <a:cubicBezTo>
                  <a:pt x="2272871" y="1287791"/>
                  <a:pt x="2301833" y="1316743"/>
                  <a:pt x="2301833" y="1352456"/>
                </a:cubicBezTo>
                <a:cubicBezTo>
                  <a:pt x="2301833" y="1388171"/>
                  <a:pt x="2272871" y="1417123"/>
                  <a:pt x="2237146" y="1417123"/>
                </a:cubicBezTo>
                <a:cubicBezTo>
                  <a:pt x="2201421" y="1417123"/>
                  <a:pt x="2172460" y="1388171"/>
                  <a:pt x="2172460" y="1352456"/>
                </a:cubicBezTo>
                <a:cubicBezTo>
                  <a:pt x="2172460" y="1316743"/>
                  <a:pt x="2201421" y="1287791"/>
                  <a:pt x="2237146" y="1287791"/>
                </a:cubicBezTo>
                <a:close/>
                <a:moveTo>
                  <a:pt x="2084466" y="1287791"/>
                </a:moveTo>
                <a:cubicBezTo>
                  <a:pt x="2120178" y="1287791"/>
                  <a:pt x="2149126" y="1316743"/>
                  <a:pt x="2149126" y="1352456"/>
                </a:cubicBezTo>
                <a:cubicBezTo>
                  <a:pt x="2149126" y="1388171"/>
                  <a:pt x="2120178" y="1417123"/>
                  <a:pt x="2084466" y="1417123"/>
                </a:cubicBezTo>
                <a:cubicBezTo>
                  <a:pt x="2048735" y="1417123"/>
                  <a:pt x="2019823" y="1388171"/>
                  <a:pt x="2019823" y="1352456"/>
                </a:cubicBezTo>
                <a:cubicBezTo>
                  <a:pt x="2019823" y="1316743"/>
                  <a:pt x="2048735" y="1287791"/>
                  <a:pt x="2084466" y="1287791"/>
                </a:cubicBezTo>
                <a:close/>
                <a:moveTo>
                  <a:pt x="1927872" y="1287791"/>
                </a:moveTo>
                <a:cubicBezTo>
                  <a:pt x="1963586" y="1287791"/>
                  <a:pt x="1992567" y="1316743"/>
                  <a:pt x="1992567" y="1352456"/>
                </a:cubicBezTo>
                <a:cubicBezTo>
                  <a:pt x="1992567" y="1388171"/>
                  <a:pt x="1963586" y="1417123"/>
                  <a:pt x="1927872" y="1417123"/>
                </a:cubicBezTo>
                <a:cubicBezTo>
                  <a:pt x="1892197" y="1417123"/>
                  <a:pt x="1863242" y="1388171"/>
                  <a:pt x="1863242" y="1352456"/>
                </a:cubicBezTo>
                <a:cubicBezTo>
                  <a:pt x="1863242" y="1316743"/>
                  <a:pt x="1892197" y="1287791"/>
                  <a:pt x="1927872" y="1287791"/>
                </a:cubicBezTo>
                <a:close/>
                <a:moveTo>
                  <a:pt x="1775228" y="1287791"/>
                </a:moveTo>
                <a:cubicBezTo>
                  <a:pt x="1810931" y="1287791"/>
                  <a:pt x="1839912" y="1316743"/>
                  <a:pt x="1839912" y="1352456"/>
                </a:cubicBezTo>
                <a:cubicBezTo>
                  <a:pt x="1839912" y="1388171"/>
                  <a:pt x="1810931" y="1417123"/>
                  <a:pt x="1775228" y="1417123"/>
                </a:cubicBezTo>
                <a:cubicBezTo>
                  <a:pt x="1739504" y="1417123"/>
                  <a:pt x="1710556" y="1388171"/>
                  <a:pt x="1710556" y="1352456"/>
                </a:cubicBezTo>
                <a:cubicBezTo>
                  <a:pt x="1710556" y="1316743"/>
                  <a:pt x="1739504" y="1287791"/>
                  <a:pt x="1775228" y="1287791"/>
                </a:cubicBezTo>
                <a:close/>
                <a:moveTo>
                  <a:pt x="1618644" y="1287791"/>
                </a:moveTo>
                <a:cubicBezTo>
                  <a:pt x="1654363" y="1287791"/>
                  <a:pt x="1683314" y="1316743"/>
                  <a:pt x="1683314" y="1352456"/>
                </a:cubicBezTo>
                <a:cubicBezTo>
                  <a:pt x="1683314" y="1388171"/>
                  <a:pt x="1654363" y="1417123"/>
                  <a:pt x="1618644" y="1417123"/>
                </a:cubicBezTo>
                <a:cubicBezTo>
                  <a:pt x="1582933" y="1417123"/>
                  <a:pt x="1553981" y="1388171"/>
                  <a:pt x="1553981" y="1352456"/>
                </a:cubicBezTo>
                <a:cubicBezTo>
                  <a:pt x="1553981" y="1316743"/>
                  <a:pt x="1582933" y="1287791"/>
                  <a:pt x="1618644" y="1287791"/>
                </a:cubicBezTo>
                <a:close/>
                <a:moveTo>
                  <a:pt x="1465988" y="1287791"/>
                </a:moveTo>
                <a:cubicBezTo>
                  <a:pt x="1501702" y="1287791"/>
                  <a:pt x="1530654" y="1316743"/>
                  <a:pt x="1530654" y="1352456"/>
                </a:cubicBezTo>
                <a:cubicBezTo>
                  <a:pt x="1530654" y="1388171"/>
                  <a:pt x="1501702" y="1417123"/>
                  <a:pt x="1465988" y="1417123"/>
                </a:cubicBezTo>
                <a:cubicBezTo>
                  <a:pt x="1430275" y="1417123"/>
                  <a:pt x="1401325" y="1388171"/>
                  <a:pt x="1401325" y="1352456"/>
                </a:cubicBezTo>
                <a:cubicBezTo>
                  <a:pt x="1401325" y="1316743"/>
                  <a:pt x="1430275" y="1287791"/>
                  <a:pt x="1465988" y="1287791"/>
                </a:cubicBezTo>
                <a:close/>
                <a:moveTo>
                  <a:pt x="1309415" y="1287791"/>
                </a:moveTo>
                <a:cubicBezTo>
                  <a:pt x="1345129" y="1287791"/>
                  <a:pt x="1374081" y="1316743"/>
                  <a:pt x="1374081" y="1352456"/>
                </a:cubicBezTo>
                <a:cubicBezTo>
                  <a:pt x="1374081" y="1388171"/>
                  <a:pt x="1345129" y="1417123"/>
                  <a:pt x="1309415" y="1417123"/>
                </a:cubicBezTo>
                <a:cubicBezTo>
                  <a:pt x="1273702" y="1417123"/>
                  <a:pt x="1244749" y="1388171"/>
                  <a:pt x="1244749" y="1352456"/>
                </a:cubicBezTo>
                <a:cubicBezTo>
                  <a:pt x="1244749" y="1316743"/>
                  <a:pt x="1273702" y="1287791"/>
                  <a:pt x="1309415" y="1287791"/>
                </a:cubicBezTo>
                <a:close/>
                <a:moveTo>
                  <a:pt x="1148931" y="1287791"/>
                </a:moveTo>
                <a:cubicBezTo>
                  <a:pt x="1184644" y="1287791"/>
                  <a:pt x="1213596" y="1316743"/>
                  <a:pt x="1213596" y="1352456"/>
                </a:cubicBezTo>
                <a:cubicBezTo>
                  <a:pt x="1213596" y="1388171"/>
                  <a:pt x="1184644" y="1417123"/>
                  <a:pt x="1148931" y="1417123"/>
                </a:cubicBezTo>
                <a:cubicBezTo>
                  <a:pt x="1113217" y="1417123"/>
                  <a:pt x="1084266" y="1388171"/>
                  <a:pt x="1084266" y="1352456"/>
                </a:cubicBezTo>
                <a:cubicBezTo>
                  <a:pt x="1084266" y="1316743"/>
                  <a:pt x="1113217" y="1287791"/>
                  <a:pt x="1148931" y="1287791"/>
                </a:cubicBezTo>
                <a:close/>
                <a:moveTo>
                  <a:pt x="992358" y="1287791"/>
                </a:moveTo>
                <a:cubicBezTo>
                  <a:pt x="1028072" y="1287791"/>
                  <a:pt x="1057023" y="1316743"/>
                  <a:pt x="1057023" y="1352456"/>
                </a:cubicBezTo>
                <a:cubicBezTo>
                  <a:pt x="1057023" y="1388171"/>
                  <a:pt x="1028072" y="1417123"/>
                  <a:pt x="992358" y="1417123"/>
                </a:cubicBezTo>
                <a:cubicBezTo>
                  <a:pt x="956644" y="1417123"/>
                  <a:pt x="927693" y="1388171"/>
                  <a:pt x="927693" y="1352456"/>
                </a:cubicBezTo>
                <a:cubicBezTo>
                  <a:pt x="927693" y="1316743"/>
                  <a:pt x="956644" y="1287791"/>
                  <a:pt x="992358" y="1287791"/>
                </a:cubicBezTo>
                <a:close/>
                <a:moveTo>
                  <a:pt x="839701" y="1287791"/>
                </a:moveTo>
                <a:cubicBezTo>
                  <a:pt x="875415" y="1287791"/>
                  <a:pt x="904366" y="1316743"/>
                  <a:pt x="904366" y="1352456"/>
                </a:cubicBezTo>
                <a:cubicBezTo>
                  <a:pt x="904366" y="1388171"/>
                  <a:pt x="875415" y="1417123"/>
                  <a:pt x="839701" y="1417123"/>
                </a:cubicBezTo>
                <a:cubicBezTo>
                  <a:pt x="803988" y="1417123"/>
                  <a:pt x="775036" y="1388171"/>
                  <a:pt x="775036" y="1352456"/>
                </a:cubicBezTo>
                <a:cubicBezTo>
                  <a:pt x="775036" y="1316743"/>
                  <a:pt x="803988" y="1287791"/>
                  <a:pt x="839701" y="1287791"/>
                </a:cubicBezTo>
                <a:close/>
                <a:moveTo>
                  <a:pt x="683129" y="1287791"/>
                </a:moveTo>
                <a:cubicBezTo>
                  <a:pt x="718843" y="1287791"/>
                  <a:pt x="747795" y="1316743"/>
                  <a:pt x="747795" y="1352456"/>
                </a:cubicBezTo>
                <a:cubicBezTo>
                  <a:pt x="747795" y="1388171"/>
                  <a:pt x="718843" y="1417123"/>
                  <a:pt x="683129" y="1417123"/>
                </a:cubicBezTo>
                <a:cubicBezTo>
                  <a:pt x="647416" y="1417123"/>
                  <a:pt x="618464" y="1388171"/>
                  <a:pt x="618464" y="1352456"/>
                </a:cubicBezTo>
                <a:cubicBezTo>
                  <a:pt x="618464" y="1316743"/>
                  <a:pt x="647416" y="1287791"/>
                  <a:pt x="683129" y="1287791"/>
                </a:cubicBezTo>
                <a:close/>
                <a:moveTo>
                  <a:pt x="526550" y="1287791"/>
                </a:moveTo>
                <a:cubicBezTo>
                  <a:pt x="562263" y="1287791"/>
                  <a:pt x="591215" y="1316743"/>
                  <a:pt x="591215" y="1352456"/>
                </a:cubicBezTo>
                <a:cubicBezTo>
                  <a:pt x="591215" y="1388171"/>
                  <a:pt x="562263" y="1417123"/>
                  <a:pt x="526550" y="1417123"/>
                </a:cubicBezTo>
                <a:cubicBezTo>
                  <a:pt x="490836" y="1417123"/>
                  <a:pt x="461884" y="1388171"/>
                  <a:pt x="461884" y="1352456"/>
                </a:cubicBezTo>
                <a:cubicBezTo>
                  <a:pt x="461884" y="1316743"/>
                  <a:pt x="490836" y="1287791"/>
                  <a:pt x="526550" y="1287791"/>
                </a:cubicBezTo>
                <a:close/>
                <a:moveTo>
                  <a:pt x="373894" y="1287791"/>
                </a:moveTo>
                <a:cubicBezTo>
                  <a:pt x="409607" y="1287791"/>
                  <a:pt x="438559" y="1316743"/>
                  <a:pt x="438559" y="1352456"/>
                </a:cubicBezTo>
                <a:cubicBezTo>
                  <a:pt x="438559" y="1388171"/>
                  <a:pt x="409607" y="1417123"/>
                  <a:pt x="373894" y="1417123"/>
                </a:cubicBezTo>
                <a:cubicBezTo>
                  <a:pt x="338180" y="1417123"/>
                  <a:pt x="309228" y="1388171"/>
                  <a:pt x="309228" y="1352456"/>
                </a:cubicBezTo>
                <a:cubicBezTo>
                  <a:pt x="309228" y="1316743"/>
                  <a:pt x="338180" y="1287791"/>
                  <a:pt x="373894" y="1287791"/>
                </a:cubicBezTo>
                <a:close/>
                <a:moveTo>
                  <a:pt x="217323" y="1287791"/>
                </a:moveTo>
                <a:cubicBezTo>
                  <a:pt x="253036" y="1287791"/>
                  <a:pt x="281988" y="1316743"/>
                  <a:pt x="281988" y="1352456"/>
                </a:cubicBezTo>
                <a:cubicBezTo>
                  <a:pt x="281988" y="1388171"/>
                  <a:pt x="253036" y="1417123"/>
                  <a:pt x="217323" y="1417123"/>
                </a:cubicBezTo>
                <a:cubicBezTo>
                  <a:pt x="181609" y="1417123"/>
                  <a:pt x="152658" y="1388171"/>
                  <a:pt x="152658" y="1352456"/>
                </a:cubicBezTo>
                <a:cubicBezTo>
                  <a:pt x="152658" y="1316743"/>
                  <a:pt x="181609" y="1287791"/>
                  <a:pt x="217323" y="1287791"/>
                </a:cubicBezTo>
                <a:close/>
                <a:moveTo>
                  <a:pt x="64665" y="1287791"/>
                </a:moveTo>
                <a:cubicBezTo>
                  <a:pt x="100378" y="1287791"/>
                  <a:pt x="129330" y="1316743"/>
                  <a:pt x="129330" y="1352456"/>
                </a:cubicBezTo>
                <a:cubicBezTo>
                  <a:pt x="129330" y="1388171"/>
                  <a:pt x="100378" y="1417123"/>
                  <a:pt x="64665" y="1417123"/>
                </a:cubicBezTo>
                <a:cubicBezTo>
                  <a:pt x="28951" y="1417123"/>
                  <a:pt x="0" y="1388171"/>
                  <a:pt x="0" y="1352456"/>
                </a:cubicBezTo>
                <a:cubicBezTo>
                  <a:pt x="0" y="1316743"/>
                  <a:pt x="28951" y="1287791"/>
                  <a:pt x="64665" y="1287791"/>
                </a:cubicBezTo>
                <a:close/>
                <a:moveTo>
                  <a:pt x="11251683" y="1142959"/>
                </a:moveTo>
                <a:cubicBezTo>
                  <a:pt x="11287397" y="1142959"/>
                  <a:pt x="11316349" y="1171911"/>
                  <a:pt x="11316349" y="1207625"/>
                </a:cubicBezTo>
                <a:cubicBezTo>
                  <a:pt x="11316349" y="1243340"/>
                  <a:pt x="11287397" y="1272290"/>
                  <a:pt x="11251683" y="1272290"/>
                </a:cubicBezTo>
                <a:cubicBezTo>
                  <a:pt x="11215969" y="1272290"/>
                  <a:pt x="11187017" y="1243340"/>
                  <a:pt x="11187017" y="1207625"/>
                </a:cubicBezTo>
                <a:cubicBezTo>
                  <a:pt x="11187017" y="1171911"/>
                  <a:pt x="11215969" y="1142959"/>
                  <a:pt x="11251683" y="1142959"/>
                </a:cubicBezTo>
                <a:close/>
                <a:moveTo>
                  <a:pt x="11095110" y="1142959"/>
                </a:moveTo>
                <a:cubicBezTo>
                  <a:pt x="11130824" y="1142959"/>
                  <a:pt x="11159776" y="1171911"/>
                  <a:pt x="11159776" y="1207625"/>
                </a:cubicBezTo>
                <a:cubicBezTo>
                  <a:pt x="11159776" y="1243340"/>
                  <a:pt x="11130824" y="1272290"/>
                  <a:pt x="11095110" y="1272290"/>
                </a:cubicBezTo>
                <a:cubicBezTo>
                  <a:pt x="11059396" y="1272290"/>
                  <a:pt x="11030444" y="1243340"/>
                  <a:pt x="11030444" y="1207625"/>
                </a:cubicBezTo>
                <a:cubicBezTo>
                  <a:pt x="11030444" y="1171911"/>
                  <a:pt x="11059396" y="1142959"/>
                  <a:pt x="11095110" y="1142959"/>
                </a:cubicBezTo>
                <a:close/>
                <a:moveTo>
                  <a:pt x="10938537" y="1142959"/>
                </a:moveTo>
                <a:cubicBezTo>
                  <a:pt x="10974251" y="1142959"/>
                  <a:pt x="11003203" y="1171910"/>
                  <a:pt x="11003203" y="1207623"/>
                </a:cubicBezTo>
                <a:cubicBezTo>
                  <a:pt x="11003203" y="1243338"/>
                  <a:pt x="10974251" y="1272290"/>
                  <a:pt x="10938537" y="1272290"/>
                </a:cubicBezTo>
                <a:cubicBezTo>
                  <a:pt x="10902823" y="1272290"/>
                  <a:pt x="10873871" y="1243338"/>
                  <a:pt x="10873871" y="1207623"/>
                </a:cubicBezTo>
                <a:cubicBezTo>
                  <a:pt x="10873871" y="1171910"/>
                  <a:pt x="10902823" y="1142959"/>
                  <a:pt x="10938537" y="1142959"/>
                </a:cubicBezTo>
                <a:close/>
                <a:moveTo>
                  <a:pt x="10778049" y="1142959"/>
                </a:moveTo>
                <a:cubicBezTo>
                  <a:pt x="10813763" y="1142959"/>
                  <a:pt x="10842715" y="1171910"/>
                  <a:pt x="10842715" y="1207623"/>
                </a:cubicBezTo>
                <a:cubicBezTo>
                  <a:pt x="10842715" y="1243338"/>
                  <a:pt x="10813763" y="1272290"/>
                  <a:pt x="10778049" y="1272290"/>
                </a:cubicBezTo>
                <a:cubicBezTo>
                  <a:pt x="10742335" y="1272290"/>
                  <a:pt x="10713383" y="1243338"/>
                  <a:pt x="10713383" y="1207623"/>
                </a:cubicBezTo>
                <a:cubicBezTo>
                  <a:pt x="10713383" y="1171910"/>
                  <a:pt x="10742335" y="1142959"/>
                  <a:pt x="10778049" y="1142959"/>
                </a:cubicBezTo>
                <a:close/>
                <a:moveTo>
                  <a:pt x="10625391" y="1142959"/>
                </a:moveTo>
                <a:cubicBezTo>
                  <a:pt x="10661105" y="1142959"/>
                  <a:pt x="10690057" y="1171910"/>
                  <a:pt x="10690057" y="1207623"/>
                </a:cubicBezTo>
                <a:cubicBezTo>
                  <a:pt x="10690057" y="1243338"/>
                  <a:pt x="10661105" y="1272290"/>
                  <a:pt x="10625391" y="1272290"/>
                </a:cubicBezTo>
                <a:cubicBezTo>
                  <a:pt x="10589677" y="1272290"/>
                  <a:pt x="10560725" y="1243338"/>
                  <a:pt x="10560725" y="1207623"/>
                </a:cubicBezTo>
                <a:cubicBezTo>
                  <a:pt x="10560725" y="1171910"/>
                  <a:pt x="10589677" y="1142959"/>
                  <a:pt x="10625391" y="1142959"/>
                </a:cubicBezTo>
                <a:close/>
                <a:moveTo>
                  <a:pt x="10468818" y="1142959"/>
                </a:moveTo>
                <a:cubicBezTo>
                  <a:pt x="10504532" y="1142959"/>
                  <a:pt x="10533484" y="1171911"/>
                  <a:pt x="10533484" y="1207625"/>
                </a:cubicBezTo>
                <a:cubicBezTo>
                  <a:pt x="10533484" y="1243340"/>
                  <a:pt x="10504532" y="1272290"/>
                  <a:pt x="10468818" y="1272290"/>
                </a:cubicBezTo>
                <a:cubicBezTo>
                  <a:pt x="10433104" y="1272290"/>
                  <a:pt x="10404152" y="1243340"/>
                  <a:pt x="10404152" y="1207625"/>
                </a:cubicBezTo>
                <a:cubicBezTo>
                  <a:pt x="10404152" y="1171911"/>
                  <a:pt x="10433104" y="1142959"/>
                  <a:pt x="10468818" y="1142959"/>
                </a:cubicBezTo>
                <a:close/>
                <a:moveTo>
                  <a:pt x="10312244" y="1142959"/>
                </a:moveTo>
                <a:cubicBezTo>
                  <a:pt x="10347958" y="1142959"/>
                  <a:pt x="10376910" y="1171910"/>
                  <a:pt x="10376910" y="1207623"/>
                </a:cubicBezTo>
                <a:cubicBezTo>
                  <a:pt x="10376910" y="1243338"/>
                  <a:pt x="10347958" y="1272290"/>
                  <a:pt x="10312244" y="1272290"/>
                </a:cubicBezTo>
                <a:cubicBezTo>
                  <a:pt x="10276530" y="1272290"/>
                  <a:pt x="10247578" y="1243338"/>
                  <a:pt x="10247578" y="1207623"/>
                </a:cubicBezTo>
                <a:cubicBezTo>
                  <a:pt x="10247578" y="1171910"/>
                  <a:pt x="10276530" y="1142959"/>
                  <a:pt x="10312244" y="1142959"/>
                </a:cubicBezTo>
                <a:close/>
                <a:moveTo>
                  <a:pt x="10159585" y="1142959"/>
                </a:moveTo>
                <a:cubicBezTo>
                  <a:pt x="10195299" y="1142959"/>
                  <a:pt x="10224251" y="1171910"/>
                  <a:pt x="10224251" y="1207623"/>
                </a:cubicBezTo>
                <a:cubicBezTo>
                  <a:pt x="10224251" y="1243338"/>
                  <a:pt x="10195299" y="1272290"/>
                  <a:pt x="10159585" y="1272290"/>
                </a:cubicBezTo>
                <a:cubicBezTo>
                  <a:pt x="10123871" y="1272290"/>
                  <a:pt x="10094919" y="1243338"/>
                  <a:pt x="10094919" y="1207623"/>
                </a:cubicBezTo>
                <a:cubicBezTo>
                  <a:pt x="10094919" y="1171910"/>
                  <a:pt x="10123871" y="1142959"/>
                  <a:pt x="10159585" y="1142959"/>
                </a:cubicBezTo>
                <a:close/>
                <a:moveTo>
                  <a:pt x="10003013" y="1142959"/>
                </a:moveTo>
                <a:cubicBezTo>
                  <a:pt x="10038727" y="1142959"/>
                  <a:pt x="10067679" y="1171910"/>
                  <a:pt x="10067679" y="1207623"/>
                </a:cubicBezTo>
                <a:cubicBezTo>
                  <a:pt x="10067679" y="1243338"/>
                  <a:pt x="10038727" y="1272290"/>
                  <a:pt x="10003013" y="1272290"/>
                </a:cubicBezTo>
                <a:cubicBezTo>
                  <a:pt x="9967299" y="1272290"/>
                  <a:pt x="9938347" y="1243338"/>
                  <a:pt x="9938347" y="1207623"/>
                </a:cubicBezTo>
                <a:cubicBezTo>
                  <a:pt x="9938347" y="1171910"/>
                  <a:pt x="9967299" y="1142959"/>
                  <a:pt x="10003013" y="1142959"/>
                </a:cubicBezTo>
                <a:close/>
                <a:moveTo>
                  <a:pt x="9850355" y="1142959"/>
                </a:moveTo>
                <a:cubicBezTo>
                  <a:pt x="9886069" y="1142959"/>
                  <a:pt x="9915021" y="1171911"/>
                  <a:pt x="9915021" y="1207625"/>
                </a:cubicBezTo>
                <a:cubicBezTo>
                  <a:pt x="9915021" y="1243340"/>
                  <a:pt x="9886069" y="1272290"/>
                  <a:pt x="9850355" y="1272290"/>
                </a:cubicBezTo>
                <a:cubicBezTo>
                  <a:pt x="9814641" y="1272290"/>
                  <a:pt x="9785689" y="1243340"/>
                  <a:pt x="9785689" y="1207625"/>
                </a:cubicBezTo>
                <a:cubicBezTo>
                  <a:pt x="9785689" y="1171911"/>
                  <a:pt x="9814641" y="1142959"/>
                  <a:pt x="9850355" y="1142959"/>
                </a:cubicBezTo>
                <a:close/>
                <a:moveTo>
                  <a:pt x="9693780" y="1142959"/>
                </a:moveTo>
                <a:cubicBezTo>
                  <a:pt x="9729494" y="1142959"/>
                  <a:pt x="9758446" y="1171910"/>
                  <a:pt x="9758446" y="1207623"/>
                </a:cubicBezTo>
                <a:cubicBezTo>
                  <a:pt x="9758446" y="1243338"/>
                  <a:pt x="9729494" y="1272290"/>
                  <a:pt x="9693780" y="1272290"/>
                </a:cubicBezTo>
                <a:cubicBezTo>
                  <a:pt x="9658066" y="1272290"/>
                  <a:pt x="9629114" y="1243338"/>
                  <a:pt x="9629114" y="1207623"/>
                </a:cubicBezTo>
                <a:cubicBezTo>
                  <a:pt x="9629114" y="1171910"/>
                  <a:pt x="9658066" y="1142959"/>
                  <a:pt x="9693780" y="1142959"/>
                </a:cubicBezTo>
                <a:close/>
                <a:moveTo>
                  <a:pt x="9541120" y="1142959"/>
                </a:moveTo>
                <a:cubicBezTo>
                  <a:pt x="9576834" y="1142959"/>
                  <a:pt x="9605786" y="1171910"/>
                  <a:pt x="9605786" y="1207623"/>
                </a:cubicBezTo>
                <a:cubicBezTo>
                  <a:pt x="9605786" y="1243338"/>
                  <a:pt x="9576834" y="1272290"/>
                  <a:pt x="9541120" y="1272290"/>
                </a:cubicBezTo>
                <a:cubicBezTo>
                  <a:pt x="9505406" y="1272290"/>
                  <a:pt x="9476454" y="1243338"/>
                  <a:pt x="9476454" y="1207623"/>
                </a:cubicBezTo>
                <a:cubicBezTo>
                  <a:pt x="9476454" y="1171910"/>
                  <a:pt x="9505406" y="1142959"/>
                  <a:pt x="9541120" y="1142959"/>
                </a:cubicBezTo>
                <a:close/>
                <a:moveTo>
                  <a:pt x="9384547" y="1142959"/>
                </a:moveTo>
                <a:cubicBezTo>
                  <a:pt x="9420261" y="1142959"/>
                  <a:pt x="9449213" y="1171910"/>
                  <a:pt x="9449213" y="1207623"/>
                </a:cubicBezTo>
                <a:cubicBezTo>
                  <a:pt x="9449213" y="1243338"/>
                  <a:pt x="9420261" y="1272290"/>
                  <a:pt x="9384547" y="1272290"/>
                </a:cubicBezTo>
                <a:cubicBezTo>
                  <a:pt x="9348833" y="1272290"/>
                  <a:pt x="9319881" y="1243338"/>
                  <a:pt x="9319881" y="1207623"/>
                </a:cubicBezTo>
                <a:cubicBezTo>
                  <a:pt x="9319881" y="1171910"/>
                  <a:pt x="9348833" y="1142959"/>
                  <a:pt x="9384547" y="1142959"/>
                </a:cubicBezTo>
                <a:close/>
                <a:moveTo>
                  <a:pt x="9227974" y="1142959"/>
                </a:moveTo>
                <a:cubicBezTo>
                  <a:pt x="9263688" y="1142959"/>
                  <a:pt x="9292640" y="1171911"/>
                  <a:pt x="9292640" y="1207625"/>
                </a:cubicBezTo>
                <a:cubicBezTo>
                  <a:pt x="9292640" y="1243340"/>
                  <a:pt x="9263688" y="1272290"/>
                  <a:pt x="9227974" y="1272290"/>
                </a:cubicBezTo>
                <a:cubicBezTo>
                  <a:pt x="9192260" y="1272290"/>
                  <a:pt x="9163308" y="1243340"/>
                  <a:pt x="9163308" y="1207625"/>
                </a:cubicBezTo>
                <a:cubicBezTo>
                  <a:pt x="9163308" y="1171911"/>
                  <a:pt x="9192260" y="1142959"/>
                  <a:pt x="9227974" y="1142959"/>
                </a:cubicBezTo>
                <a:close/>
                <a:moveTo>
                  <a:pt x="9075316" y="1142959"/>
                </a:moveTo>
                <a:cubicBezTo>
                  <a:pt x="9111030" y="1142959"/>
                  <a:pt x="9139982" y="1171911"/>
                  <a:pt x="9139982" y="1207625"/>
                </a:cubicBezTo>
                <a:cubicBezTo>
                  <a:pt x="9139982" y="1243340"/>
                  <a:pt x="9111030" y="1272290"/>
                  <a:pt x="9075316" y="1272290"/>
                </a:cubicBezTo>
                <a:cubicBezTo>
                  <a:pt x="9039602" y="1272290"/>
                  <a:pt x="9010650" y="1243340"/>
                  <a:pt x="9010650" y="1207625"/>
                </a:cubicBezTo>
                <a:cubicBezTo>
                  <a:pt x="9010650" y="1171911"/>
                  <a:pt x="9039602" y="1142959"/>
                  <a:pt x="9075316" y="1142959"/>
                </a:cubicBezTo>
                <a:close/>
                <a:moveTo>
                  <a:pt x="8914828" y="1142959"/>
                </a:moveTo>
                <a:cubicBezTo>
                  <a:pt x="8950542" y="1142959"/>
                  <a:pt x="8979494" y="1171910"/>
                  <a:pt x="8979494" y="1207623"/>
                </a:cubicBezTo>
                <a:cubicBezTo>
                  <a:pt x="8979494" y="1243338"/>
                  <a:pt x="8950542" y="1272290"/>
                  <a:pt x="8914828" y="1272290"/>
                </a:cubicBezTo>
                <a:cubicBezTo>
                  <a:pt x="8879114" y="1272290"/>
                  <a:pt x="8850162" y="1243338"/>
                  <a:pt x="8850162" y="1207623"/>
                </a:cubicBezTo>
                <a:cubicBezTo>
                  <a:pt x="8850162" y="1171910"/>
                  <a:pt x="8879114" y="1142959"/>
                  <a:pt x="8914828" y="1142959"/>
                </a:cubicBezTo>
                <a:close/>
                <a:moveTo>
                  <a:pt x="8766083" y="1142959"/>
                </a:moveTo>
                <a:cubicBezTo>
                  <a:pt x="8801797" y="1142959"/>
                  <a:pt x="8830749" y="1171911"/>
                  <a:pt x="8830749" y="1207625"/>
                </a:cubicBezTo>
                <a:cubicBezTo>
                  <a:pt x="8830749" y="1243340"/>
                  <a:pt x="8801797" y="1272290"/>
                  <a:pt x="8766083" y="1272290"/>
                </a:cubicBezTo>
                <a:cubicBezTo>
                  <a:pt x="8730369" y="1272290"/>
                  <a:pt x="8701417" y="1243340"/>
                  <a:pt x="8701417" y="1207625"/>
                </a:cubicBezTo>
                <a:cubicBezTo>
                  <a:pt x="8701417" y="1171911"/>
                  <a:pt x="8730369" y="1142959"/>
                  <a:pt x="8766083" y="1142959"/>
                </a:cubicBezTo>
                <a:close/>
                <a:moveTo>
                  <a:pt x="8601682" y="1142959"/>
                </a:moveTo>
                <a:cubicBezTo>
                  <a:pt x="8637396" y="1142959"/>
                  <a:pt x="8666348" y="1171911"/>
                  <a:pt x="8666348" y="1207625"/>
                </a:cubicBezTo>
                <a:cubicBezTo>
                  <a:pt x="8666348" y="1243340"/>
                  <a:pt x="8637396" y="1272290"/>
                  <a:pt x="8601682" y="1272290"/>
                </a:cubicBezTo>
                <a:cubicBezTo>
                  <a:pt x="8565968" y="1272290"/>
                  <a:pt x="8537016" y="1243340"/>
                  <a:pt x="8537016" y="1207625"/>
                </a:cubicBezTo>
                <a:cubicBezTo>
                  <a:pt x="8537016" y="1171911"/>
                  <a:pt x="8565968" y="1142959"/>
                  <a:pt x="8601682" y="1142959"/>
                </a:cubicBezTo>
                <a:close/>
                <a:moveTo>
                  <a:pt x="8449022" y="1142959"/>
                </a:moveTo>
                <a:cubicBezTo>
                  <a:pt x="8484736" y="1142959"/>
                  <a:pt x="8513688" y="1171911"/>
                  <a:pt x="8513688" y="1207625"/>
                </a:cubicBezTo>
                <a:cubicBezTo>
                  <a:pt x="8513688" y="1243340"/>
                  <a:pt x="8484736" y="1272290"/>
                  <a:pt x="8449022" y="1272290"/>
                </a:cubicBezTo>
                <a:cubicBezTo>
                  <a:pt x="8413308" y="1272290"/>
                  <a:pt x="8384356" y="1243340"/>
                  <a:pt x="8384356" y="1207625"/>
                </a:cubicBezTo>
                <a:cubicBezTo>
                  <a:pt x="8384356" y="1171911"/>
                  <a:pt x="8413308" y="1142959"/>
                  <a:pt x="8449022" y="1142959"/>
                </a:cubicBezTo>
                <a:close/>
                <a:moveTo>
                  <a:pt x="8296365" y="1142959"/>
                </a:moveTo>
                <a:cubicBezTo>
                  <a:pt x="8332079" y="1142959"/>
                  <a:pt x="8361031" y="1171910"/>
                  <a:pt x="8361031" y="1207623"/>
                </a:cubicBezTo>
                <a:cubicBezTo>
                  <a:pt x="8361031" y="1243338"/>
                  <a:pt x="8332079" y="1272290"/>
                  <a:pt x="8296365" y="1272290"/>
                </a:cubicBezTo>
                <a:cubicBezTo>
                  <a:pt x="8260651" y="1272290"/>
                  <a:pt x="8231699" y="1243338"/>
                  <a:pt x="8231699" y="1207623"/>
                </a:cubicBezTo>
                <a:cubicBezTo>
                  <a:pt x="8231699" y="1171910"/>
                  <a:pt x="8260651" y="1142959"/>
                  <a:pt x="8296365" y="1142959"/>
                </a:cubicBezTo>
                <a:close/>
                <a:moveTo>
                  <a:pt x="8139790" y="1142959"/>
                </a:moveTo>
                <a:cubicBezTo>
                  <a:pt x="8175504" y="1142959"/>
                  <a:pt x="8204456" y="1171911"/>
                  <a:pt x="8204456" y="1207625"/>
                </a:cubicBezTo>
                <a:cubicBezTo>
                  <a:pt x="8204456" y="1243340"/>
                  <a:pt x="8175504" y="1272290"/>
                  <a:pt x="8139790" y="1272290"/>
                </a:cubicBezTo>
                <a:cubicBezTo>
                  <a:pt x="8104076" y="1272290"/>
                  <a:pt x="8075124" y="1243340"/>
                  <a:pt x="8075124" y="1207625"/>
                </a:cubicBezTo>
                <a:cubicBezTo>
                  <a:pt x="8075124" y="1171911"/>
                  <a:pt x="8104076" y="1142959"/>
                  <a:pt x="8139790" y="1142959"/>
                </a:cubicBezTo>
                <a:close/>
                <a:moveTo>
                  <a:pt x="7987132" y="1142959"/>
                </a:moveTo>
                <a:cubicBezTo>
                  <a:pt x="8022846" y="1142959"/>
                  <a:pt x="8051798" y="1171911"/>
                  <a:pt x="8051798" y="1207625"/>
                </a:cubicBezTo>
                <a:cubicBezTo>
                  <a:pt x="8051798" y="1243340"/>
                  <a:pt x="8022846" y="1272290"/>
                  <a:pt x="7987132" y="1272290"/>
                </a:cubicBezTo>
                <a:cubicBezTo>
                  <a:pt x="7951418" y="1272290"/>
                  <a:pt x="7922466" y="1243340"/>
                  <a:pt x="7922466" y="1207625"/>
                </a:cubicBezTo>
                <a:cubicBezTo>
                  <a:pt x="7922466" y="1171911"/>
                  <a:pt x="7951418" y="1142959"/>
                  <a:pt x="7987132" y="1142959"/>
                </a:cubicBezTo>
                <a:close/>
                <a:moveTo>
                  <a:pt x="7830560" y="1142959"/>
                </a:moveTo>
                <a:cubicBezTo>
                  <a:pt x="7866274" y="1142959"/>
                  <a:pt x="7895226" y="1171911"/>
                  <a:pt x="7895226" y="1207625"/>
                </a:cubicBezTo>
                <a:cubicBezTo>
                  <a:pt x="7895226" y="1243340"/>
                  <a:pt x="7866274" y="1272290"/>
                  <a:pt x="7830560" y="1272290"/>
                </a:cubicBezTo>
                <a:cubicBezTo>
                  <a:pt x="7794846" y="1272290"/>
                  <a:pt x="7765894" y="1243340"/>
                  <a:pt x="7765894" y="1207625"/>
                </a:cubicBezTo>
                <a:cubicBezTo>
                  <a:pt x="7765894" y="1171911"/>
                  <a:pt x="7794846" y="1142959"/>
                  <a:pt x="7830560" y="1142959"/>
                </a:cubicBezTo>
                <a:close/>
                <a:moveTo>
                  <a:pt x="7677900" y="1142959"/>
                </a:moveTo>
                <a:cubicBezTo>
                  <a:pt x="7713614" y="1142959"/>
                  <a:pt x="7742566" y="1171910"/>
                  <a:pt x="7742566" y="1207623"/>
                </a:cubicBezTo>
                <a:cubicBezTo>
                  <a:pt x="7742566" y="1243338"/>
                  <a:pt x="7713614" y="1272290"/>
                  <a:pt x="7677900" y="1272290"/>
                </a:cubicBezTo>
                <a:cubicBezTo>
                  <a:pt x="7642186" y="1272290"/>
                  <a:pt x="7613234" y="1243338"/>
                  <a:pt x="7613234" y="1207623"/>
                </a:cubicBezTo>
                <a:cubicBezTo>
                  <a:pt x="7613234" y="1171910"/>
                  <a:pt x="7642186" y="1142959"/>
                  <a:pt x="7677900" y="1142959"/>
                </a:cubicBezTo>
                <a:close/>
                <a:moveTo>
                  <a:pt x="7521327" y="1142959"/>
                </a:moveTo>
                <a:cubicBezTo>
                  <a:pt x="7557041" y="1142959"/>
                  <a:pt x="7585993" y="1171910"/>
                  <a:pt x="7585993" y="1207623"/>
                </a:cubicBezTo>
                <a:cubicBezTo>
                  <a:pt x="7585993" y="1243338"/>
                  <a:pt x="7557041" y="1272290"/>
                  <a:pt x="7521327" y="1272290"/>
                </a:cubicBezTo>
                <a:cubicBezTo>
                  <a:pt x="7485613" y="1272290"/>
                  <a:pt x="7456661" y="1243338"/>
                  <a:pt x="7456661" y="1207623"/>
                </a:cubicBezTo>
                <a:cubicBezTo>
                  <a:pt x="7456661" y="1171910"/>
                  <a:pt x="7485613" y="1142959"/>
                  <a:pt x="7521327" y="1142959"/>
                </a:cubicBezTo>
                <a:close/>
                <a:moveTo>
                  <a:pt x="7368667" y="1142959"/>
                </a:moveTo>
                <a:cubicBezTo>
                  <a:pt x="7404381" y="1142959"/>
                  <a:pt x="7433333" y="1171911"/>
                  <a:pt x="7433333" y="1207625"/>
                </a:cubicBezTo>
                <a:cubicBezTo>
                  <a:pt x="7433333" y="1243340"/>
                  <a:pt x="7404381" y="1272290"/>
                  <a:pt x="7368667" y="1272290"/>
                </a:cubicBezTo>
                <a:cubicBezTo>
                  <a:pt x="7332953" y="1272290"/>
                  <a:pt x="7304001" y="1243340"/>
                  <a:pt x="7304001" y="1207625"/>
                </a:cubicBezTo>
                <a:cubicBezTo>
                  <a:pt x="7304001" y="1171911"/>
                  <a:pt x="7332953" y="1142959"/>
                  <a:pt x="7368667" y="1142959"/>
                </a:cubicBezTo>
                <a:close/>
                <a:moveTo>
                  <a:pt x="7212094" y="1142959"/>
                </a:moveTo>
                <a:cubicBezTo>
                  <a:pt x="7247808" y="1142959"/>
                  <a:pt x="7276760" y="1171910"/>
                  <a:pt x="7276760" y="1207623"/>
                </a:cubicBezTo>
                <a:cubicBezTo>
                  <a:pt x="7276760" y="1243338"/>
                  <a:pt x="7247808" y="1272290"/>
                  <a:pt x="7212094" y="1272290"/>
                </a:cubicBezTo>
                <a:cubicBezTo>
                  <a:pt x="7176380" y="1272290"/>
                  <a:pt x="7147428" y="1243338"/>
                  <a:pt x="7147428" y="1207623"/>
                </a:cubicBezTo>
                <a:cubicBezTo>
                  <a:pt x="7147428" y="1171910"/>
                  <a:pt x="7176380" y="1142959"/>
                  <a:pt x="7212094" y="1142959"/>
                </a:cubicBezTo>
                <a:close/>
                <a:moveTo>
                  <a:pt x="7055520" y="1142959"/>
                </a:moveTo>
                <a:cubicBezTo>
                  <a:pt x="7091234" y="1142959"/>
                  <a:pt x="7120186" y="1171910"/>
                  <a:pt x="7120186" y="1207623"/>
                </a:cubicBezTo>
                <a:cubicBezTo>
                  <a:pt x="7120186" y="1243338"/>
                  <a:pt x="7091234" y="1272290"/>
                  <a:pt x="7055520" y="1272290"/>
                </a:cubicBezTo>
                <a:cubicBezTo>
                  <a:pt x="7019806" y="1272290"/>
                  <a:pt x="6990854" y="1243338"/>
                  <a:pt x="6990854" y="1207623"/>
                </a:cubicBezTo>
                <a:cubicBezTo>
                  <a:pt x="6990854" y="1171910"/>
                  <a:pt x="7019806" y="1142959"/>
                  <a:pt x="7055520" y="1142959"/>
                </a:cubicBezTo>
                <a:close/>
                <a:moveTo>
                  <a:pt x="6895035" y="1142959"/>
                </a:moveTo>
                <a:cubicBezTo>
                  <a:pt x="6930749" y="1142959"/>
                  <a:pt x="6959701" y="1171910"/>
                  <a:pt x="6959701" y="1207623"/>
                </a:cubicBezTo>
                <a:cubicBezTo>
                  <a:pt x="6959701" y="1243338"/>
                  <a:pt x="6930749" y="1272290"/>
                  <a:pt x="6895035" y="1272290"/>
                </a:cubicBezTo>
                <a:cubicBezTo>
                  <a:pt x="6859321" y="1272290"/>
                  <a:pt x="6830369" y="1243338"/>
                  <a:pt x="6830369" y="1207623"/>
                </a:cubicBezTo>
                <a:cubicBezTo>
                  <a:pt x="6830369" y="1171910"/>
                  <a:pt x="6859321" y="1142959"/>
                  <a:pt x="6895035" y="1142959"/>
                </a:cubicBezTo>
                <a:close/>
                <a:moveTo>
                  <a:pt x="6742374" y="1142959"/>
                </a:moveTo>
                <a:cubicBezTo>
                  <a:pt x="6778088" y="1142959"/>
                  <a:pt x="6807040" y="1171911"/>
                  <a:pt x="6807040" y="1207625"/>
                </a:cubicBezTo>
                <a:cubicBezTo>
                  <a:pt x="6807040" y="1243340"/>
                  <a:pt x="6778088" y="1272290"/>
                  <a:pt x="6742374" y="1272290"/>
                </a:cubicBezTo>
                <a:cubicBezTo>
                  <a:pt x="6706660" y="1272290"/>
                  <a:pt x="6677708" y="1243340"/>
                  <a:pt x="6677708" y="1207625"/>
                </a:cubicBezTo>
                <a:cubicBezTo>
                  <a:pt x="6677708" y="1171911"/>
                  <a:pt x="6706660" y="1142959"/>
                  <a:pt x="6742374" y="1142959"/>
                </a:cubicBezTo>
                <a:close/>
                <a:moveTo>
                  <a:pt x="6585801" y="1142959"/>
                </a:moveTo>
                <a:cubicBezTo>
                  <a:pt x="6621515" y="1142959"/>
                  <a:pt x="6650467" y="1171910"/>
                  <a:pt x="6650467" y="1207623"/>
                </a:cubicBezTo>
                <a:cubicBezTo>
                  <a:pt x="6650467" y="1243338"/>
                  <a:pt x="6621515" y="1272290"/>
                  <a:pt x="6585801" y="1272290"/>
                </a:cubicBezTo>
                <a:cubicBezTo>
                  <a:pt x="6550087" y="1272290"/>
                  <a:pt x="6521135" y="1243338"/>
                  <a:pt x="6521135" y="1207623"/>
                </a:cubicBezTo>
                <a:cubicBezTo>
                  <a:pt x="6521135" y="1171910"/>
                  <a:pt x="6550087" y="1142959"/>
                  <a:pt x="6585801" y="1142959"/>
                </a:cubicBezTo>
                <a:close/>
                <a:moveTo>
                  <a:pt x="6429228" y="1142959"/>
                </a:moveTo>
                <a:cubicBezTo>
                  <a:pt x="6464942" y="1142959"/>
                  <a:pt x="6493894" y="1171911"/>
                  <a:pt x="6493894" y="1207625"/>
                </a:cubicBezTo>
                <a:cubicBezTo>
                  <a:pt x="6493894" y="1243340"/>
                  <a:pt x="6464942" y="1272290"/>
                  <a:pt x="6429228" y="1272290"/>
                </a:cubicBezTo>
                <a:cubicBezTo>
                  <a:pt x="6393514" y="1272290"/>
                  <a:pt x="6364562" y="1243340"/>
                  <a:pt x="6364562" y="1207625"/>
                </a:cubicBezTo>
                <a:cubicBezTo>
                  <a:pt x="6364562" y="1171911"/>
                  <a:pt x="6393514" y="1142959"/>
                  <a:pt x="6429228" y="1142959"/>
                </a:cubicBezTo>
                <a:close/>
                <a:moveTo>
                  <a:pt x="6276569" y="1142959"/>
                </a:moveTo>
                <a:cubicBezTo>
                  <a:pt x="6312283" y="1142959"/>
                  <a:pt x="6341235" y="1171911"/>
                  <a:pt x="6341235" y="1207625"/>
                </a:cubicBezTo>
                <a:cubicBezTo>
                  <a:pt x="6341235" y="1243340"/>
                  <a:pt x="6312283" y="1272290"/>
                  <a:pt x="6276569" y="1272290"/>
                </a:cubicBezTo>
                <a:cubicBezTo>
                  <a:pt x="6240855" y="1272290"/>
                  <a:pt x="6211903" y="1243340"/>
                  <a:pt x="6211903" y="1207625"/>
                </a:cubicBezTo>
                <a:cubicBezTo>
                  <a:pt x="6211903" y="1171911"/>
                  <a:pt x="6240855" y="1142959"/>
                  <a:pt x="6276569" y="1142959"/>
                </a:cubicBezTo>
                <a:close/>
                <a:moveTo>
                  <a:pt x="6119998" y="1142959"/>
                </a:moveTo>
                <a:cubicBezTo>
                  <a:pt x="6155712" y="1142959"/>
                  <a:pt x="6184664" y="1171910"/>
                  <a:pt x="6184664" y="1207623"/>
                </a:cubicBezTo>
                <a:cubicBezTo>
                  <a:pt x="6184664" y="1243338"/>
                  <a:pt x="6155712" y="1272290"/>
                  <a:pt x="6119998" y="1272290"/>
                </a:cubicBezTo>
                <a:cubicBezTo>
                  <a:pt x="6084284" y="1272290"/>
                  <a:pt x="6055332" y="1243338"/>
                  <a:pt x="6055332" y="1207623"/>
                </a:cubicBezTo>
                <a:cubicBezTo>
                  <a:pt x="6055332" y="1171910"/>
                  <a:pt x="6084284" y="1142959"/>
                  <a:pt x="6119998" y="1142959"/>
                </a:cubicBezTo>
                <a:close/>
                <a:moveTo>
                  <a:pt x="5967336" y="1142959"/>
                </a:moveTo>
                <a:cubicBezTo>
                  <a:pt x="6003050" y="1142959"/>
                  <a:pt x="6032002" y="1171911"/>
                  <a:pt x="6032002" y="1207625"/>
                </a:cubicBezTo>
                <a:cubicBezTo>
                  <a:pt x="6032002" y="1243340"/>
                  <a:pt x="6003050" y="1272290"/>
                  <a:pt x="5967336" y="1272290"/>
                </a:cubicBezTo>
                <a:cubicBezTo>
                  <a:pt x="5931622" y="1272290"/>
                  <a:pt x="5902670" y="1243340"/>
                  <a:pt x="5902670" y="1207625"/>
                </a:cubicBezTo>
                <a:cubicBezTo>
                  <a:pt x="5902670" y="1171911"/>
                  <a:pt x="5931622" y="1142959"/>
                  <a:pt x="5967336" y="1142959"/>
                </a:cubicBezTo>
                <a:close/>
                <a:moveTo>
                  <a:pt x="5810807" y="1142959"/>
                </a:moveTo>
                <a:cubicBezTo>
                  <a:pt x="5846478" y="1142959"/>
                  <a:pt x="5875431" y="1171911"/>
                  <a:pt x="5875431" y="1207625"/>
                </a:cubicBezTo>
                <a:cubicBezTo>
                  <a:pt x="5875431" y="1243340"/>
                  <a:pt x="5846478" y="1272290"/>
                  <a:pt x="5810807" y="1272290"/>
                </a:cubicBezTo>
                <a:cubicBezTo>
                  <a:pt x="5775081" y="1272290"/>
                  <a:pt x="5746117" y="1243340"/>
                  <a:pt x="5746117" y="1207625"/>
                </a:cubicBezTo>
                <a:cubicBezTo>
                  <a:pt x="5746117" y="1171911"/>
                  <a:pt x="5775081" y="1142959"/>
                  <a:pt x="5810807" y="1142959"/>
                </a:cubicBezTo>
                <a:close/>
                <a:moveTo>
                  <a:pt x="5031849" y="1142959"/>
                </a:moveTo>
                <a:cubicBezTo>
                  <a:pt x="5067551" y="1142959"/>
                  <a:pt x="5096509" y="1171910"/>
                  <a:pt x="5096509" y="1207623"/>
                </a:cubicBezTo>
                <a:cubicBezTo>
                  <a:pt x="5096509" y="1243338"/>
                  <a:pt x="5067551" y="1272290"/>
                  <a:pt x="5031849" y="1272290"/>
                </a:cubicBezTo>
                <a:cubicBezTo>
                  <a:pt x="4996113" y="1272290"/>
                  <a:pt x="4967172" y="1243338"/>
                  <a:pt x="4967172" y="1207623"/>
                </a:cubicBezTo>
                <a:cubicBezTo>
                  <a:pt x="4967172" y="1171910"/>
                  <a:pt x="4996113" y="1142959"/>
                  <a:pt x="5031849" y="1142959"/>
                </a:cubicBezTo>
                <a:close/>
                <a:moveTo>
                  <a:pt x="4875262" y="1142959"/>
                </a:moveTo>
                <a:cubicBezTo>
                  <a:pt x="4910981" y="1142959"/>
                  <a:pt x="4939938" y="1171911"/>
                  <a:pt x="4939938" y="1207625"/>
                </a:cubicBezTo>
                <a:cubicBezTo>
                  <a:pt x="4939938" y="1243340"/>
                  <a:pt x="4910981" y="1272290"/>
                  <a:pt x="4875262" y="1272290"/>
                </a:cubicBezTo>
                <a:cubicBezTo>
                  <a:pt x="4839541" y="1272290"/>
                  <a:pt x="4810599" y="1243340"/>
                  <a:pt x="4810599" y="1207625"/>
                </a:cubicBezTo>
                <a:cubicBezTo>
                  <a:pt x="4810599" y="1171911"/>
                  <a:pt x="4839541" y="1142959"/>
                  <a:pt x="4875262" y="1142959"/>
                </a:cubicBezTo>
                <a:close/>
                <a:moveTo>
                  <a:pt x="4722604" y="1142959"/>
                </a:moveTo>
                <a:cubicBezTo>
                  <a:pt x="4758338" y="1142959"/>
                  <a:pt x="4787268" y="1171911"/>
                  <a:pt x="4787268" y="1207625"/>
                </a:cubicBezTo>
                <a:cubicBezTo>
                  <a:pt x="4787268" y="1243340"/>
                  <a:pt x="4758338" y="1272290"/>
                  <a:pt x="4722604" y="1272290"/>
                </a:cubicBezTo>
                <a:cubicBezTo>
                  <a:pt x="4686897" y="1272290"/>
                  <a:pt x="4657945" y="1243340"/>
                  <a:pt x="4657945" y="1207625"/>
                </a:cubicBezTo>
                <a:cubicBezTo>
                  <a:pt x="4657945" y="1171911"/>
                  <a:pt x="4686897" y="1142959"/>
                  <a:pt x="4722604" y="1142959"/>
                </a:cubicBezTo>
                <a:close/>
                <a:moveTo>
                  <a:pt x="4100249" y="1142959"/>
                </a:moveTo>
                <a:cubicBezTo>
                  <a:pt x="4135947" y="1142959"/>
                  <a:pt x="4164920" y="1171910"/>
                  <a:pt x="4164920" y="1207623"/>
                </a:cubicBezTo>
                <a:cubicBezTo>
                  <a:pt x="4164920" y="1243338"/>
                  <a:pt x="4135947" y="1272290"/>
                  <a:pt x="4100249" y="1272290"/>
                </a:cubicBezTo>
                <a:cubicBezTo>
                  <a:pt x="4064526" y="1272290"/>
                  <a:pt x="4035594" y="1243338"/>
                  <a:pt x="4035594" y="1207623"/>
                </a:cubicBezTo>
                <a:cubicBezTo>
                  <a:pt x="4035594" y="1171910"/>
                  <a:pt x="4064526" y="1142959"/>
                  <a:pt x="4100249" y="1142959"/>
                </a:cubicBezTo>
                <a:close/>
                <a:moveTo>
                  <a:pt x="3947573" y="1142959"/>
                </a:moveTo>
                <a:cubicBezTo>
                  <a:pt x="3983297" y="1142959"/>
                  <a:pt x="4012257" y="1171911"/>
                  <a:pt x="4012257" y="1207625"/>
                </a:cubicBezTo>
                <a:cubicBezTo>
                  <a:pt x="4012257" y="1243340"/>
                  <a:pt x="3983297" y="1272290"/>
                  <a:pt x="3947573" y="1272290"/>
                </a:cubicBezTo>
                <a:cubicBezTo>
                  <a:pt x="3911977" y="1272290"/>
                  <a:pt x="3883028" y="1243340"/>
                  <a:pt x="3883028" y="1207625"/>
                </a:cubicBezTo>
                <a:cubicBezTo>
                  <a:pt x="3883028" y="1171911"/>
                  <a:pt x="3911977" y="1142959"/>
                  <a:pt x="3947573" y="1142959"/>
                </a:cubicBezTo>
                <a:close/>
                <a:moveTo>
                  <a:pt x="3321416" y="1142959"/>
                </a:moveTo>
                <a:cubicBezTo>
                  <a:pt x="3357123" y="1142959"/>
                  <a:pt x="3386056" y="1171910"/>
                  <a:pt x="3386056" y="1207623"/>
                </a:cubicBezTo>
                <a:cubicBezTo>
                  <a:pt x="3386056" y="1243338"/>
                  <a:pt x="3357123" y="1272290"/>
                  <a:pt x="3321416" y="1272290"/>
                </a:cubicBezTo>
                <a:cubicBezTo>
                  <a:pt x="3285691" y="1272290"/>
                  <a:pt x="3256751" y="1243338"/>
                  <a:pt x="3256751" y="1207623"/>
                </a:cubicBezTo>
                <a:cubicBezTo>
                  <a:pt x="3256751" y="1171910"/>
                  <a:pt x="3285691" y="1142959"/>
                  <a:pt x="3321416" y="1142959"/>
                </a:cubicBezTo>
                <a:close/>
                <a:moveTo>
                  <a:pt x="3172663" y="1142959"/>
                </a:moveTo>
                <a:cubicBezTo>
                  <a:pt x="3208387" y="1142959"/>
                  <a:pt x="3237336" y="1171911"/>
                  <a:pt x="3237336" y="1207625"/>
                </a:cubicBezTo>
                <a:cubicBezTo>
                  <a:pt x="3237336" y="1243340"/>
                  <a:pt x="3208387" y="1272290"/>
                  <a:pt x="3172663" y="1272290"/>
                </a:cubicBezTo>
                <a:cubicBezTo>
                  <a:pt x="3136936" y="1272290"/>
                  <a:pt x="3107975" y="1243340"/>
                  <a:pt x="3107975" y="1207625"/>
                </a:cubicBezTo>
                <a:cubicBezTo>
                  <a:pt x="3107975" y="1171911"/>
                  <a:pt x="3136936" y="1142959"/>
                  <a:pt x="3172663" y="1142959"/>
                </a:cubicBezTo>
                <a:close/>
                <a:moveTo>
                  <a:pt x="2699047" y="1142959"/>
                </a:moveTo>
                <a:cubicBezTo>
                  <a:pt x="2734754" y="1142959"/>
                  <a:pt x="2763701" y="1171910"/>
                  <a:pt x="2763701" y="1207623"/>
                </a:cubicBezTo>
                <a:cubicBezTo>
                  <a:pt x="2763701" y="1243338"/>
                  <a:pt x="2734754" y="1272290"/>
                  <a:pt x="2699047" y="1272290"/>
                </a:cubicBezTo>
                <a:cubicBezTo>
                  <a:pt x="2663339" y="1272290"/>
                  <a:pt x="2634393" y="1243338"/>
                  <a:pt x="2634393" y="1207623"/>
                </a:cubicBezTo>
                <a:cubicBezTo>
                  <a:pt x="2634393" y="1171910"/>
                  <a:pt x="2663339" y="1142959"/>
                  <a:pt x="2699047" y="1142959"/>
                </a:cubicBezTo>
                <a:close/>
                <a:moveTo>
                  <a:pt x="2546410" y="1142959"/>
                </a:moveTo>
                <a:cubicBezTo>
                  <a:pt x="2582122" y="1142959"/>
                  <a:pt x="2611069" y="1171911"/>
                  <a:pt x="2611069" y="1207625"/>
                </a:cubicBezTo>
                <a:cubicBezTo>
                  <a:pt x="2611069" y="1243340"/>
                  <a:pt x="2582122" y="1272290"/>
                  <a:pt x="2546410" y="1272290"/>
                </a:cubicBezTo>
                <a:cubicBezTo>
                  <a:pt x="2510687" y="1272290"/>
                  <a:pt x="2481752" y="1243340"/>
                  <a:pt x="2481752" y="1207625"/>
                </a:cubicBezTo>
                <a:cubicBezTo>
                  <a:pt x="2481752" y="1171911"/>
                  <a:pt x="2510687" y="1142959"/>
                  <a:pt x="2546410" y="1142959"/>
                </a:cubicBezTo>
                <a:close/>
                <a:moveTo>
                  <a:pt x="2389823" y="1142959"/>
                </a:moveTo>
                <a:cubicBezTo>
                  <a:pt x="2425571" y="1142959"/>
                  <a:pt x="2454516" y="1171910"/>
                  <a:pt x="2454516" y="1207623"/>
                </a:cubicBezTo>
                <a:cubicBezTo>
                  <a:pt x="2454516" y="1243338"/>
                  <a:pt x="2425571" y="1272290"/>
                  <a:pt x="2389823" y="1272290"/>
                </a:cubicBezTo>
                <a:cubicBezTo>
                  <a:pt x="2354139" y="1272290"/>
                  <a:pt x="2325179" y="1243338"/>
                  <a:pt x="2325179" y="1207623"/>
                </a:cubicBezTo>
                <a:cubicBezTo>
                  <a:pt x="2325179" y="1171910"/>
                  <a:pt x="2354139" y="1142959"/>
                  <a:pt x="2389823" y="1142959"/>
                </a:cubicBezTo>
                <a:close/>
                <a:moveTo>
                  <a:pt x="2237158" y="1142959"/>
                </a:moveTo>
                <a:cubicBezTo>
                  <a:pt x="2272883" y="1142959"/>
                  <a:pt x="2301845" y="1171910"/>
                  <a:pt x="2301845" y="1207623"/>
                </a:cubicBezTo>
                <a:cubicBezTo>
                  <a:pt x="2301845" y="1243338"/>
                  <a:pt x="2272883" y="1272290"/>
                  <a:pt x="2237158" y="1272290"/>
                </a:cubicBezTo>
                <a:cubicBezTo>
                  <a:pt x="2201433" y="1272290"/>
                  <a:pt x="2172473" y="1243338"/>
                  <a:pt x="2172473" y="1207623"/>
                </a:cubicBezTo>
                <a:cubicBezTo>
                  <a:pt x="2172473" y="1171910"/>
                  <a:pt x="2201433" y="1142959"/>
                  <a:pt x="2237158" y="1142959"/>
                </a:cubicBezTo>
                <a:close/>
                <a:moveTo>
                  <a:pt x="2084472" y="1142959"/>
                </a:moveTo>
                <a:cubicBezTo>
                  <a:pt x="2120189" y="1142959"/>
                  <a:pt x="2149139" y="1171910"/>
                  <a:pt x="2149139" y="1207623"/>
                </a:cubicBezTo>
                <a:cubicBezTo>
                  <a:pt x="2149139" y="1243338"/>
                  <a:pt x="2120189" y="1272290"/>
                  <a:pt x="2084472" y="1272290"/>
                </a:cubicBezTo>
                <a:cubicBezTo>
                  <a:pt x="2048742" y="1272290"/>
                  <a:pt x="2019837" y="1243338"/>
                  <a:pt x="2019837" y="1207623"/>
                </a:cubicBezTo>
                <a:cubicBezTo>
                  <a:pt x="2019837" y="1171910"/>
                  <a:pt x="2048742" y="1142959"/>
                  <a:pt x="2084472" y="1142959"/>
                </a:cubicBezTo>
                <a:close/>
                <a:moveTo>
                  <a:pt x="1927885" y="1142959"/>
                </a:moveTo>
                <a:cubicBezTo>
                  <a:pt x="1963608" y="1142959"/>
                  <a:pt x="1992577" y="1171910"/>
                  <a:pt x="1992577" y="1207623"/>
                </a:cubicBezTo>
                <a:cubicBezTo>
                  <a:pt x="1992577" y="1243338"/>
                  <a:pt x="1963608" y="1272290"/>
                  <a:pt x="1927885" y="1272290"/>
                </a:cubicBezTo>
                <a:cubicBezTo>
                  <a:pt x="1892208" y="1272290"/>
                  <a:pt x="1863252" y="1243338"/>
                  <a:pt x="1863252" y="1207623"/>
                </a:cubicBezTo>
                <a:cubicBezTo>
                  <a:pt x="1863252" y="1171910"/>
                  <a:pt x="1892208" y="1142959"/>
                  <a:pt x="1927885" y="1142959"/>
                </a:cubicBezTo>
                <a:close/>
                <a:moveTo>
                  <a:pt x="1775237" y="1142959"/>
                </a:moveTo>
                <a:cubicBezTo>
                  <a:pt x="1810940" y="1142959"/>
                  <a:pt x="1839926" y="1171910"/>
                  <a:pt x="1839926" y="1207623"/>
                </a:cubicBezTo>
                <a:cubicBezTo>
                  <a:pt x="1839926" y="1243338"/>
                  <a:pt x="1810940" y="1272290"/>
                  <a:pt x="1775237" y="1272290"/>
                </a:cubicBezTo>
                <a:cubicBezTo>
                  <a:pt x="1739514" y="1272290"/>
                  <a:pt x="1710566" y="1243338"/>
                  <a:pt x="1710566" y="1207623"/>
                </a:cubicBezTo>
                <a:cubicBezTo>
                  <a:pt x="1710566" y="1171910"/>
                  <a:pt x="1739514" y="1142959"/>
                  <a:pt x="1775237" y="1142959"/>
                </a:cubicBezTo>
                <a:close/>
                <a:moveTo>
                  <a:pt x="1618652" y="1142959"/>
                </a:moveTo>
                <a:cubicBezTo>
                  <a:pt x="1654374" y="1142959"/>
                  <a:pt x="1683323" y="1171910"/>
                  <a:pt x="1683323" y="1207623"/>
                </a:cubicBezTo>
                <a:cubicBezTo>
                  <a:pt x="1683323" y="1243338"/>
                  <a:pt x="1654374" y="1272290"/>
                  <a:pt x="1618652" y="1272290"/>
                </a:cubicBezTo>
                <a:cubicBezTo>
                  <a:pt x="1582943" y="1272290"/>
                  <a:pt x="1553991" y="1243338"/>
                  <a:pt x="1553991" y="1207623"/>
                </a:cubicBezTo>
                <a:cubicBezTo>
                  <a:pt x="1553991" y="1171910"/>
                  <a:pt x="1582943" y="1142959"/>
                  <a:pt x="1618652" y="1142959"/>
                </a:cubicBezTo>
                <a:close/>
                <a:moveTo>
                  <a:pt x="1465997" y="1142959"/>
                </a:moveTo>
                <a:cubicBezTo>
                  <a:pt x="1501712" y="1142959"/>
                  <a:pt x="1530664" y="1171911"/>
                  <a:pt x="1530664" y="1207625"/>
                </a:cubicBezTo>
                <a:cubicBezTo>
                  <a:pt x="1530664" y="1243340"/>
                  <a:pt x="1501712" y="1272290"/>
                  <a:pt x="1465997" y="1272290"/>
                </a:cubicBezTo>
                <a:cubicBezTo>
                  <a:pt x="1430284" y="1272290"/>
                  <a:pt x="1401335" y="1243340"/>
                  <a:pt x="1401335" y="1207625"/>
                </a:cubicBezTo>
                <a:cubicBezTo>
                  <a:pt x="1401335" y="1171911"/>
                  <a:pt x="1430284" y="1142959"/>
                  <a:pt x="1465997" y="1142959"/>
                </a:cubicBezTo>
                <a:close/>
                <a:moveTo>
                  <a:pt x="1309424" y="1142959"/>
                </a:moveTo>
                <a:cubicBezTo>
                  <a:pt x="1345137" y="1142959"/>
                  <a:pt x="1374089" y="1171910"/>
                  <a:pt x="1374089" y="1207623"/>
                </a:cubicBezTo>
                <a:cubicBezTo>
                  <a:pt x="1374089" y="1243338"/>
                  <a:pt x="1345137" y="1272290"/>
                  <a:pt x="1309424" y="1272290"/>
                </a:cubicBezTo>
                <a:cubicBezTo>
                  <a:pt x="1273709" y="1272290"/>
                  <a:pt x="1244757" y="1243338"/>
                  <a:pt x="1244757" y="1207623"/>
                </a:cubicBezTo>
                <a:cubicBezTo>
                  <a:pt x="1244757" y="1171910"/>
                  <a:pt x="1273709" y="1142959"/>
                  <a:pt x="1309424" y="1142959"/>
                </a:cubicBezTo>
                <a:close/>
                <a:moveTo>
                  <a:pt x="1148940" y="1142959"/>
                </a:moveTo>
                <a:cubicBezTo>
                  <a:pt x="1184653" y="1142959"/>
                  <a:pt x="1213605" y="1171910"/>
                  <a:pt x="1213605" y="1207623"/>
                </a:cubicBezTo>
                <a:cubicBezTo>
                  <a:pt x="1213605" y="1243338"/>
                  <a:pt x="1184653" y="1272290"/>
                  <a:pt x="1148940" y="1272290"/>
                </a:cubicBezTo>
                <a:cubicBezTo>
                  <a:pt x="1113226" y="1272290"/>
                  <a:pt x="1084275" y="1243338"/>
                  <a:pt x="1084275" y="1207623"/>
                </a:cubicBezTo>
                <a:cubicBezTo>
                  <a:pt x="1084275" y="1171910"/>
                  <a:pt x="1113226" y="1142959"/>
                  <a:pt x="1148940" y="1142959"/>
                </a:cubicBezTo>
                <a:close/>
                <a:moveTo>
                  <a:pt x="992366" y="1142959"/>
                </a:moveTo>
                <a:cubicBezTo>
                  <a:pt x="1028080" y="1142959"/>
                  <a:pt x="1057031" y="1171911"/>
                  <a:pt x="1057031" y="1207625"/>
                </a:cubicBezTo>
                <a:cubicBezTo>
                  <a:pt x="1057031" y="1243340"/>
                  <a:pt x="1028080" y="1272290"/>
                  <a:pt x="992366" y="1272290"/>
                </a:cubicBezTo>
                <a:cubicBezTo>
                  <a:pt x="956653" y="1272290"/>
                  <a:pt x="927701" y="1243340"/>
                  <a:pt x="927701" y="1207625"/>
                </a:cubicBezTo>
                <a:cubicBezTo>
                  <a:pt x="927701" y="1171911"/>
                  <a:pt x="956653" y="1142959"/>
                  <a:pt x="992366" y="1142959"/>
                </a:cubicBezTo>
                <a:close/>
                <a:moveTo>
                  <a:pt x="839710" y="1142959"/>
                </a:moveTo>
                <a:cubicBezTo>
                  <a:pt x="875424" y="1142959"/>
                  <a:pt x="904376" y="1171910"/>
                  <a:pt x="904376" y="1207623"/>
                </a:cubicBezTo>
                <a:cubicBezTo>
                  <a:pt x="904376" y="1243338"/>
                  <a:pt x="875424" y="1272290"/>
                  <a:pt x="839710" y="1272290"/>
                </a:cubicBezTo>
                <a:cubicBezTo>
                  <a:pt x="803997" y="1272290"/>
                  <a:pt x="775045" y="1243338"/>
                  <a:pt x="775045" y="1207623"/>
                </a:cubicBezTo>
                <a:cubicBezTo>
                  <a:pt x="775045" y="1171910"/>
                  <a:pt x="803997" y="1142959"/>
                  <a:pt x="839710" y="1142959"/>
                </a:cubicBezTo>
                <a:close/>
                <a:moveTo>
                  <a:pt x="683139" y="1142959"/>
                </a:moveTo>
                <a:cubicBezTo>
                  <a:pt x="718852" y="1142959"/>
                  <a:pt x="747804" y="1171910"/>
                  <a:pt x="747804" y="1207623"/>
                </a:cubicBezTo>
                <a:cubicBezTo>
                  <a:pt x="747804" y="1243338"/>
                  <a:pt x="718852" y="1272290"/>
                  <a:pt x="683139" y="1272290"/>
                </a:cubicBezTo>
                <a:cubicBezTo>
                  <a:pt x="647425" y="1272290"/>
                  <a:pt x="618474" y="1243338"/>
                  <a:pt x="618474" y="1207623"/>
                </a:cubicBezTo>
                <a:cubicBezTo>
                  <a:pt x="618474" y="1171910"/>
                  <a:pt x="647425" y="1142959"/>
                  <a:pt x="683139" y="1142959"/>
                </a:cubicBezTo>
                <a:close/>
                <a:moveTo>
                  <a:pt x="526558" y="1142959"/>
                </a:moveTo>
                <a:cubicBezTo>
                  <a:pt x="562272" y="1142959"/>
                  <a:pt x="591224" y="1171910"/>
                  <a:pt x="591224" y="1207623"/>
                </a:cubicBezTo>
                <a:cubicBezTo>
                  <a:pt x="591224" y="1243338"/>
                  <a:pt x="562272" y="1272290"/>
                  <a:pt x="526558" y="1272290"/>
                </a:cubicBezTo>
                <a:cubicBezTo>
                  <a:pt x="490845" y="1272290"/>
                  <a:pt x="461893" y="1243338"/>
                  <a:pt x="461893" y="1207623"/>
                </a:cubicBezTo>
                <a:cubicBezTo>
                  <a:pt x="461893" y="1171910"/>
                  <a:pt x="490845" y="1142959"/>
                  <a:pt x="526558" y="1142959"/>
                </a:cubicBezTo>
                <a:close/>
                <a:moveTo>
                  <a:pt x="373903" y="1142959"/>
                </a:moveTo>
                <a:cubicBezTo>
                  <a:pt x="409616" y="1142959"/>
                  <a:pt x="438568" y="1171910"/>
                  <a:pt x="438568" y="1207623"/>
                </a:cubicBezTo>
                <a:cubicBezTo>
                  <a:pt x="438568" y="1243338"/>
                  <a:pt x="409616" y="1272290"/>
                  <a:pt x="373903" y="1272290"/>
                </a:cubicBezTo>
                <a:cubicBezTo>
                  <a:pt x="338189" y="1272290"/>
                  <a:pt x="309237" y="1243338"/>
                  <a:pt x="309237" y="1207623"/>
                </a:cubicBezTo>
                <a:cubicBezTo>
                  <a:pt x="309237" y="1171910"/>
                  <a:pt x="338189" y="1142959"/>
                  <a:pt x="373903" y="1142959"/>
                </a:cubicBezTo>
                <a:close/>
                <a:moveTo>
                  <a:pt x="217332" y="1142959"/>
                </a:moveTo>
                <a:cubicBezTo>
                  <a:pt x="253045" y="1142959"/>
                  <a:pt x="281997" y="1171910"/>
                  <a:pt x="281997" y="1207623"/>
                </a:cubicBezTo>
                <a:cubicBezTo>
                  <a:pt x="281997" y="1243338"/>
                  <a:pt x="253045" y="1272290"/>
                  <a:pt x="217332" y="1272290"/>
                </a:cubicBezTo>
                <a:cubicBezTo>
                  <a:pt x="181618" y="1272290"/>
                  <a:pt x="152667" y="1243338"/>
                  <a:pt x="152667" y="1207623"/>
                </a:cubicBezTo>
                <a:cubicBezTo>
                  <a:pt x="152667" y="1171910"/>
                  <a:pt x="181618" y="1142959"/>
                  <a:pt x="217332" y="1142959"/>
                </a:cubicBezTo>
                <a:close/>
                <a:moveTo>
                  <a:pt x="64674" y="1142959"/>
                </a:moveTo>
                <a:cubicBezTo>
                  <a:pt x="100387" y="1142959"/>
                  <a:pt x="129339" y="1171910"/>
                  <a:pt x="129339" y="1207623"/>
                </a:cubicBezTo>
                <a:cubicBezTo>
                  <a:pt x="129339" y="1243338"/>
                  <a:pt x="100387" y="1272290"/>
                  <a:pt x="64674" y="1272290"/>
                </a:cubicBezTo>
                <a:cubicBezTo>
                  <a:pt x="28960" y="1272290"/>
                  <a:pt x="9" y="1243338"/>
                  <a:pt x="9" y="1207623"/>
                </a:cubicBezTo>
                <a:cubicBezTo>
                  <a:pt x="9" y="1171910"/>
                  <a:pt x="28960" y="1142959"/>
                  <a:pt x="64674" y="1142959"/>
                </a:cubicBezTo>
                <a:close/>
                <a:moveTo>
                  <a:pt x="11095111" y="1002044"/>
                </a:moveTo>
                <a:cubicBezTo>
                  <a:pt x="11130825" y="1002044"/>
                  <a:pt x="11159777" y="1030995"/>
                  <a:pt x="11159777" y="1066709"/>
                </a:cubicBezTo>
                <a:cubicBezTo>
                  <a:pt x="11159777" y="1102424"/>
                  <a:pt x="11130825" y="1131375"/>
                  <a:pt x="11095111" y="1131375"/>
                </a:cubicBezTo>
                <a:cubicBezTo>
                  <a:pt x="11059397" y="1131375"/>
                  <a:pt x="11030445" y="1102424"/>
                  <a:pt x="11030445" y="1066709"/>
                </a:cubicBezTo>
                <a:cubicBezTo>
                  <a:pt x="11030445" y="1030995"/>
                  <a:pt x="11059397" y="1002044"/>
                  <a:pt x="11095111" y="1002044"/>
                </a:cubicBezTo>
                <a:close/>
                <a:moveTo>
                  <a:pt x="10938538" y="1002044"/>
                </a:moveTo>
                <a:cubicBezTo>
                  <a:pt x="10974252" y="1002044"/>
                  <a:pt x="11003204" y="1030995"/>
                  <a:pt x="11003204" y="1066709"/>
                </a:cubicBezTo>
                <a:cubicBezTo>
                  <a:pt x="11003204" y="1102424"/>
                  <a:pt x="10974252" y="1131375"/>
                  <a:pt x="10938538" y="1131375"/>
                </a:cubicBezTo>
                <a:cubicBezTo>
                  <a:pt x="10902824" y="1131375"/>
                  <a:pt x="10873872" y="1102424"/>
                  <a:pt x="10873872" y="1066709"/>
                </a:cubicBezTo>
                <a:cubicBezTo>
                  <a:pt x="10873872" y="1030995"/>
                  <a:pt x="10902824" y="1002044"/>
                  <a:pt x="10938538" y="1002044"/>
                </a:cubicBezTo>
                <a:close/>
                <a:moveTo>
                  <a:pt x="10778051" y="1002044"/>
                </a:moveTo>
                <a:cubicBezTo>
                  <a:pt x="10813765" y="1002044"/>
                  <a:pt x="10842717" y="1030995"/>
                  <a:pt x="10842717" y="1066709"/>
                </a:cubicBezTo>
                <a:cubicBezTo>
                  <a:pt x="10842717" y="1102424"/>
                  <a:pt x="10813765" y="1131375"/>
                  <a:pt x="10778051" y="1131375"/>
                </a:cubicBezTo>
                <a:cubicBezTo>
                  <a:pt x="10742337" y="1131375"/>
                  <a:pt x="10713385" y="1102424"/>
                  <a:pt x="10713385" y="1066709"/>
                </a:cubicBezTo>
                <a:cubicBezTo>
                  <a:pt x="10713385" y="1030995"/>
                  <a:pt x="10742337" y="1002044"/>
                  <a:pt x="10778051" y="1002044"/>
                </a:cubicBezTo>
                <a:close/>
                <a:moveTo>
                  <a:pt x="10625392" y="1002044"/>
                </a:moveTo>
                <a:cubicBezTo>
                  <a:pt x="10661106" y="1002044"/>
                  <a:pt x="10690058" y="1030995"/>
                  <a:pt x="10690058" y="1066709"/>
                </a:cubicBezTo>
                <a:cubicBezTo>
                  <a:pt x="10690058" y="1102424"/>
                  <a:pt x="10661106" y="1131375"/>
                  <a:pt x="10625392" y="1131375"/>
                </a:cubicBezTo>
                <a:cubicBezTo>
                  <a:pt x="10589678" y="1131375"/>
                  <a:pt x="10560726" y="1102424"/>
                  <a:pt x="10560726" y="1066709"/>
                </a:cubicBezTo>
                <a:cubicBezTo>
                  <a:pt x="10560726" y="1030995"/>
                  <a:pt x="10589678" y="1002044"/>
                  <a:pt x="10625392" y="1002044"/>
                </a:cubicBezTo>
                <a:close/>
                <a:moveTo>
                  <a:pt x="10468818" y="1002044"/>
                </a:moveTo>
                <a:cubicBezTo>
                  <a:pt x="10504532" y="1002044"/>
                  <a:pt x="10533484" y="1030995"/>
                  <a:pt x="10533484" y="1066709"/>
                </a:cubicBezTo>
                <a:cubicBezTo>
                  <a:pt x="10533484" y="1102424"/>
                  <a:pt x="10504532" y="1131375"/>
                  <a:pt x="10468818" y="1131375"/>
                </a:cubicBezTo>
                <a:cubicBezTo>
                  <a:pt x="10433104" y="1131375"/>
                  <a:pt x="10404152" y="1102424"/>
                  <a:pt x="10404152" y="1066709"/>
                </a:cubicBezTo>
                <a:cubicBezTo>
                  <a:pt x="10404152" y="1030995"/>
                  <a:pt x="10433104" y="1002044"/>
                  <a:pt x="10468818" y="1002044"/>
                </a:cubicBezTo>
                <a:close/>
                <a:moveTo>
                  <a:pt x="10312244" y="1002044"/>
                </a:moveTo>
                <a:cubicBezTo>
                  <a:pt x="10347958" y="1002044"/>
                  <a:pt x="10376910" y="1030995"/>
                  <a:pt x="10376910" y="1066709"/>
                </a:cubicBezTo>
                <a:cubicBezTo>
                  <a:pt x="10376910" y="1102424"/>
                  <a:pt x="10347958" y="1131375"/>
                  <a:pt x="10312244" y="1131375"/>
                </a:cubicBezTo>
                <a:cubicBezTo>
                  <a:pt x="10276530" y="1131375"/>
                  <a:pt x="10247578" y="1102424"/>
                  <a:pt x="10247578" y="1066709"/>
                </a:cubicBezTo>
                <a:cubicBezTo>
                  <a:pt x="10247578" y="1030995"/>
                  <a:pt x="10276530" y="1002044"/>
                  <a:pt x="10312244" y="1002044"/>
                </a:cubicBezTo>
                <a:close/>
                <a:moveTo>
                  <a:pt x="10159586" y="1002044"/>
                </a:moveTo>
                <a:cubicBezTo>
                  <a:pt x="10195300" y="1002044"/>
                  <a:pt x="10224252" y="1030995"/>
                  <a:pt x="10224252" y="1066709"/>
                </a:cubicBezTo>
                <a:cubicBezTo>
                  <a:pt x="10224252" y="1102424"/>
                  <a:pt x="10195300" y="1131375"/>
                  <a:pt x="10159586" y="1131375"/>
                </a:cubicBezTo>
                <a:cubicBezTo>
                  <a:pt x="10123872" y="1131375"/>
                  <a:pt x="10094920" y="1102424"/>
                  <a:pt x="10094920" y="1066709"/>
                </a:cubicBezTo>
                <a:cubicBezTo>
                  <a:pt x="10094920" y="1030995"/>
                  <a:pt x="10123872" y="1002044"/>
                  <a:pt x="10159586" y="1002044"/>
                </a:cubicBezTo>
                <a:close/>
                <a:moveTo>
                  <a:pt x="10003015" y="1002044"/>
                </a:moveTo>
                <a:cubicBezTo>
                  <a:pt x="10038729" y="1002044"/>
                  <a:pt x="10067681" y="1030995"/>
                  <a:pt x="10067681" y="1066709"/>
                </a:cubicBezTo>
                <a:cubicBezTo>
                  <a:pt x="10067681" y="1102424"/>
                  <a:pt x="10038729" y="1131375"/>
                  <a:pt x="10003015" y="1131375"/>
                </a:cubicBezTo>
                <a:cubicBezTo>
                  <a:pt x="9967301" y="1131375"/>
                  <a:pt x="9938349" y="1102424"/>
                  <a:pt x="9938349" y="1066709"/>
                </a:cubicBezTo>
                <a:cubicBezTo>
                  <a:pt x="9938349" y="1030995"/>
                  <a:pt x="9967301" y="1002044"/>
                  <a:pt x="10003015" y="1002044"/>
                </a:cubicBezTo>
                <a:close/>
                <a:moveTo>
                  <a:pt x="9850355" y="1002044"/>
                </a:moveTo>
                <a:cubicBezTo>
                  <a:pt x="9886069" y="1002044"/>
                  <a:pt x="9915021" y="1030995"/>
                  <a:pt x="9915021" y="1066709"/>
                </a:cubicBezTo>
                <a:cubicBezTo>
                  <a:pt x="9915021" y="1102424"/>
                  <a:pt x="9886069" y="1131375"/>
                  <a:pt x="9850355" y="1131375"/>
                </a:cubicBezTo>
                <a:cubicBezTo>
                  <a:pt x="9814641" y="1131375"/>
                  <a:pt x="9785689" y="1102424"/>
                  <a:pt x="9785689" y="1066709"/>
                </a:cubicBezTo>
                <a:cubicBezTo>
                  <a:pt x="9785689" y="1030995"/>
                  <a:pt x="9814641" y="1002044"/>
                  <a:pt x="9850355" y="1002044"/>
                </a:cubicBezTo>
                <a:close/>
                <a:moveTo>
                  <a:pt x="9693780" y="1002044"/>
                </a:moveTo>
                <a:cubicBezTo>
                  <a:pt x="9729494" y="1002044"/>
                  <a:pt x="9758446" y="1030995"/>
                  <a:pt x="9758446" y="1066709"/>
                </a:cubicBezTo>
                <a:cubicBezTo>
                  <a:pt x="9758446" y="1102424"/>
                  <a:pt x="9729494" y="1131375"/>
                  <a:pt x="9693780" y="1131375"/>
                </a:cubicBezTo>
                <a:cubicBezTo>
                  <a:pt x="9658066" y="1131375"/>
                  <a:pt x="9629114" y="1102424"/>
                  <a:pt x="9629114" y="1066709"/>
                </a:cubicBezTo>
                <a:cubicBezTo>
                  <a:pt x="9629114" y="1030995"/>
                  <a:pt x="9658066" y="1002044"/>
                  <a:pt x="9693780" y="1002044"/>
                </a:cubicBezTo>
                <a:close/>
                <a:moveTo>
                  <a:pt x="9541122" y="1002044"/>
                </a:moveTo>
                <a:cubicBezTo>
                  <a:pt x="9576836" y="1002044"/>
                  <a:pt x="9605788" y="1030995"/>
                  <a:pt x="9605788" y="1066709"/>
                </a:cubicBezTo>
                <a:cubicBezTo>
                  <a:pt x="9605788" y="1102424"/>
                  <a:pt x="9576836" y="1131375"/>
                  <a:pt x="9541122" y="1131375"/>
                </a:cubicBezTo>
                <a:cubicBezTo>
                  <a:pt x="9505408" y="1131375"/>
                  <a:pt x="9476456" y="1102424"/>
                  <a:pt x="9476456" y="1066709"/>
                </a:cubicBezTo>
                <a:cubicBezTo>
                  <a:pt x="9476456" y="1030995"/>
                  <a:pt x="9505408" y="1002044"/>
                  <a:pt x="9541122" y="1002044"/>
                </a:cubicBezTo>
                <a:close/>
                <a:moveTo>
                  <a:pt x="9384549" y="1002044"/>
                </a:moveTo>
                <a:cubicBezTo>
                  <a:pt x="9420263" y="1002044"/>
                  <a:pt x="9449215" y="1030995"/>
                  <a:pt x="9449215" y="1066709"/>
                </a:cubicBezTo>
                <a:cubicBezTo>
                  <a:pt x="9449215" y="1102424"/>
                  <a:pt x="9420263" y="1131375"/>
                  <a:pt x="9384549" y="1131375"/>
                </a:cubicBezTo>
                <a:cubicBezTo>
                  <a:pt x="9348835" y="1131375"/>
                  <a:pt x="9319883" y="1102424"/>
                  <a:pt x="9319883" y="1066709"/>
                </a:cubicBezTo>
                <a:cubicBezTo>
                  <a:pt x="9319883" y="1030995"/>
                  <a:pt x="9348835" y="1002044"/>
                  <a:pt x="9384549" y="1002044"/>
                </a:cubicBezTo>
                <a:close/>
                <a:moveTo>
                  <a:pt x="9227976" y="1002044"/>
                </a:moveTo>
                <a:cubicBezTo>
                  <a:pt x="9263690" y="1002044"/>
                  <a:pt x="9292642" y="1030995"/>
                  <a:pt x="9292642" y="1066709"/>
                </a:cubicBezTo>
                <a:cubicBezTo>
                  <a:pt x="9292642" y="1102424"/>
                  <a:pt x="9263690" y="1131375"/>
                  <a:pt x="9227976" y="1131375"/>
                </a:cubicBezTo>
                <a:cubicBezTo>
                  <a:pt x="9192262" y="1131375"/>
                  <a:pt x="9163310" y="1102424"/>
                  <a:pt x="9163310" y="1066709"/>
                </a:cubicBezTo>
                <a:cubicBezTo>
                  <a:pt x="9163310" y="1030995"/>
                  <a:pt x="9192262" y="1002044"/>
                  <a:pt x="9227976" y="1002044"/>
                </a:cubicBezTo>
                <a:close/>
                <a:moveTo>
                  <a:pt x="9075316" y="1002044"/>
                </a:moveTo>
                <a:cubicBezTo>
                  <a:pt x="9111030" y="1002044"/>
                  <a:pt x="9139982" y="1030995"/>
                  <a:pt x="9139982" y="1066709"/>
                </a:cubicBezTo>
                <a:cubicBezTo>
                  <a:pt x="9139982" y="1102424"/>
                  <a:pt x="9111030" y="1131375"/>
                  <a:pt x="9075316" y="1131375"/>
                </a:cubicBezTo>
                <a:cubicBezTo>
                  <a:pt x="9039602" y="1131375"/>
                  <a:pt x="9010650" y="1102424"/>
                  <a:pt x="9010650" y="1066709"/>
                </a:cubicBezTo>
                <a:cubicBezTo>
                  <a:pt x="9010650" y="1030995"/>
                  <a:pt x="9039602" y="1002044"/>
                  <a:pt x="9075316" y="1002044"/>
                </a:cubicBezTo>
                <a:close/>
                <a:moveTo>
                  <a:pt x="8914829" y="1002044"/>
                </a:moveTo>
                <a:cubicBezTo>
                  <a:pt x="8950543" y="1002044"/>
                  <a:pt x="8979495" y="1030995"/>
                  <a:pt x="8979495" y="1066709"/>
                </a:cubicBezTo>
                <a:cubicBezTo>
                  <a:pt x="8979495" y="1102424"/>
                  <a:pt x="8950543" y="1131375"/>
                  <a:pt x="8914829" y="1131375"/>
                </a:cubicBezTo>
                <a:cubicBezTo>
                  <a:pt x="8879115" y="1131375"/>
                  <a:pt x="8850163" y="1102424"/>
                  <a:pt x="8850163" y="1066709"/>
                </a:cubicBezTo>
                <a:cubicBezTo>
                  <a:pt x="8850163" y="1030995"/>
                  <a:pt x="8879115" y="1002044"/>
                  <a:pt x="8914829" y="1002044"/>
                </a:cubicBezTo>
                <a:close/>
                <a:moveTo>
                  <a:pt x="8766084" y="1002044"/>
                </a:moveTo>
                <a:cubicBezTo>
                  <a:pt x="8801798" y="1002044"/>
                  <a:pt x="8830750" y="1030995"/>
                  <a:pt x="8830750" y="1066709"/>
                </a:cubicBezTo>
                <a:cubicBezTo>
                  <a:pt x="8830750" y="1102424"/>
                  <a:pt x="8801798" y="1131375"/>
                  <a:pt x="8766084" y="1131375"/>
                </a:cubicBezTo>
                <a:cubicBezTo>
                  <a:pt x="8730370" y="1131375"/>
                  <a:pt x="8701418" y="1102424"/>
                  <a:pt x="8701418" y="1066709"/>
                </a:cubicBezTo>
                <a:cubicBezTo>
                  <a:pt x="8701418" y="1030995"/>
                  <a:pt x="8730370" y="1002044"/>
                  <a:pt x="8766084" y="1002044"/>
                </a:cubicBezTo>
                <a:close/>
                <a:moveTo>
                  <a:pt x="8601682" y="1002044"/>
                </a:moveTo>
                <a:cubicBezTo>
                  <a:pt x="8637396" y="1002044"/>
                  <a:pt x="8666348" y="1030995"/>
                  <a:pt x="8666348" y="1066709"/>
                </a:cubicBezTo>
                <a:cubicBezTo>
                  <a:pt x="8666348" y="1102424"/>
                  <a:pt x="8637396" y="1131375"/>
                  <a:pt x="8601682" y="1131375"/>
                </a:cubicBezTo>
                <a:cubicBezTo>
                  <a:pt x="8565968" y="1131375"/>
                  <a:pt x="8537016" y="1102424"/>
                  <a:pt x="8537016" y="1066709"/>
                </a:cubicBezTo>
                <a:cubicBezTo>
                  <a:pt x="8537016" y="1030995"/>
                  <a:pt x="8565968" y="1002044"/>
                  <a:pt x="8601682" y="1002044"/>
                </a:cubicBezTo>
                <a:close/>
                <a:moveTo>
                  <a:pt x="8449023" y="1002044"/>
                </a:moveTo>
                <a:cubicBezTo>
                  <a:pt x="8484737" y="1002044"/>
                  <a:pt x="8513689" y="1030995"/>
                  <a:pt x="8513689" y="1066709"/>
                </a:cubicBezTo>
                <a:cubicBezTo>
                  <a:pt x="8513689" y="1102424"/>
                  <a:pt x="8484737" y="1131375"/>
                  <a:pt x="8449023" y="1131375"/>
                </a:cubicBezTo>
                <a:cubicBezTo>
                  <a:pt x="8413309" y="1131375"/>
                  <a:pt x="8384357" y="1102424"/>
                  <a:pt x="8384357" y="1066709"/>
                </a:cubicBezTo>
                <a:cubicBezTo>
                  <a:pt x="8384357" y="1030995"/>
                  <a:pt x="8413309" y="1002044"/>
                  <a:pt x="8449023" y="1002044"/>
                </a:cubicBezTo>
                <a:close/>
                <a:moveTo>
                  <a:pt x="8296367" y="1002044"/>
                </a:moveTo>
                <a:cubicBezTo>
                  <a:pt x="8332081" y="1002044"/>
                  <a:pt x="8361033" y="1030995"/>
                  <a:pt x="8361033" y="1066709"/>
                </a:cubicBezTo>
                <a:cubicBezTo>
                  <a:pt x="8361033" y="1102424"/>
                  <a:pt x="8332081" y="1131375"/>
                  <a:pt x="8296367" y="1131375"/>
                </a:cubicBezTo>
                <a:cubicBezTo>
                  <a:pt x="8260653" y="1131375"/>
                  <a:pt x="8231701" y="1102424"/>
                  <a:pt x="8231701" y="1066709"/>
                </a:cubicBezTo>
                <a:cubicBezTo>
                  <a:pt x="8231701" y="1030995"/>
                  <a:pt x="8260653" y="1002044"/>
                  <a:pt x="8296367" y="1002044"/>
                </a:cubicBezTo>
                <a:close/>
                <a:moveTo>
                  <a:pt x="8139792" y="1002044"/>
                </a:moveTo>
                <a:cubicBezTo>
                  <a:pt x="8175506" y="1002044"/>
                  <a:pt x="8204458" y="1030995"/>
                  <a:pt x="8204458" y="1066709"/>
                </a:cubicBezTo>
                <a:cubicBezTo>
                  <a:pt x="8204458" y="1102424"/>
                  <a:pt x="8175506" y="1131375"/>
                  <a:pt x="8139792" y="1131375"/>
                </a:cubicBezTo>
                <a:cubicBezTo>
                  <a:pt x="8104078" y="1131375"/>
                  <a:pt x="8075126" y="1102424"/>
                  <a:pt x="8075126" y="1066709"/>
                </a:cubicBezTo>
                <a:cubicBezTo>
                  <a:pt x="8075126" y="1030995"/>
                  <a:pt x="8104078" y="1002044"/>
                  <a:pt x="8139792" y="1002044"/>
                </a:cubicBezTo>
                <a:close/>
                <a:moveTo>
                  <a:pt x="7987132" y="1002044"/>
                </a:moveTo>
                <a:cubicBezTo>
                  <a:pt x="8022846" y="1002044"/>
                  <a:pt x="8051798" y="1030995"/>
                  <a:pt x="8051798" y="1066709"/>
                </a:cubicBezTo>
                <a:cubicBezTo>
                  <a:pt x="8051798" y="1102424"/>
                  <a:pt x="8022846" y="1131375"/>
                  <a:pt x="7987132" y="1131375"/>
                </a:cubicBezTo>
                <a:cubicBezTo>
                  <a:pt x="7951418" y="1131375"/>
                  <a:pt x="7922466" y="1102424"/>
                  <a:pt x="7922466" y="1066709"/>
                </a:cubicBezTo>
                <a:cubicBezTo>
                  <a:pt x="7922466" y="1030995"/>
                  <a:pt x="7951418" y="1002044"/>
                  <a:pt x="7987132" y="1002044"/>
                </a:cubicBezTo>
                <a:close/>
                <a:moveTo>
                  <a:pt x="7830560" y="1002044"/>
                </a:moveTo>
                <a:cubicBezTo>
                  <a:pt x="7866274" y="1002044"/>
                  <a:pt x="7895226" y="1030995"/>
                  <a:pt x="7895226" y="1066709"/>
                </a:cubicBezTo>
                <a:cubicBezTo>
                  <a:pt x="7895226" y="1102424"/>
                  <a:pt x="7866274" y="1131375"/>
                  <a:pt x="7830560" y="1131375"/>
                </a:cubicBezTo>
                <a:cubicBezTo>
                  <a:pt x="7794846" y="1131375"/>
                  <a:pt x="7765894" y="1102424"/>
                  <a:pt x="7765894" y="1066709"/>
                </a:cubicBezTo>
                <a:cubicBezTo>
                  <a:pt x="7765894" y="1030995"/>
                  <a:pt x="7794846" y="1002044"/>
                  <a:pt x="7830560" y="1002044"/>
                </a:cubicBezTo>
                <a:close/>
                <a:moveTo>
                  <a:pt x="7677902" y="1002044"/>
                </a:moveTo>
                <a:cubicBezTo>
                  <a:pt x="7713616" y="1002044"/>
                  <a:pt x="7742568" y="1030995"/>
                  <a:pt x="7742568" y="1066709"/>
                </a:cubicBezTo>
                <a:cubicBezTo>
                  <a:pt x="7742568" y="1102424"/>
                  <a:pt x="7713616" y="1131375"/>
                  <a:pt x="7677902" y="1131375"/>
                </a:cubicBezTo>
                <a:cubicBezTo>
                  <a:pt x="7642188" y="1131375"/>
                  <a:pt x="7613236" y="1102424"/>
                  <a:pt x="7613236" y="1066709"/>
                </a:cubicBezTo>
                <a:cubicBezTo>
                  <a:pt x="7613236" y="1030995"/>
                  <a:pt x="7642188" y="1002044"/>
                  <a:pt x="7677902" y="1002044"/>
                </a:cubicBezTo>
                <a:close/>
                <a:moveTo>
                  <a:pt x="7521329" y="1002044"/>
                </a:moveTo>
                <a:cubicBezTo>
                  <a:pt x="7557043" y="1002044"/>
                  <a:pt x="7585995" y="1030995"/>
                  <a:pt x="7585995" y="1066709"/>
                </a:cubicBezTo>
                <a:cubicBezTo>
                  <a:pt x="7585995" y="1102424"/>
                  <a:pt x="7557043" y="1131375"/>
                  <a:pt x="7521329" y="1131375"/>
                </a:cubicBezTo>
                <a:cubicBezTo>
                  <a:pt x="7485615" y="1131375"/>
                  <a:pt x="7456663" y="1102424"/>
                  <a:pt x="7456663" y="1066709"/>
                </a:cubicBezTo>
                <a:cubicBezTo>
                  <a:pt x="7456663" y="1030995"/>
                  <a:pt x="7485615" y="1002044"/>
                  <a:pt x="7521329" y="1002044"/>
                </a:cubicBezTo>
                <a:close/>
                <a:moveTo>
                  <a:pt x="7368667" y="1002044"/>
                </a:moveTo>
                <a:cubicBezTo>
                  <a:pt x="7404381" y="1002044"/>
                  <a:pt x="7433333" y="1030995"/>
                  <a:pt x="7433333" y="1066709"/>
                </a:cubicBezTo>
                <a:cubicBezTo>
                  <a:pt x="7433333" y="1102424"/>
                  <a:pt x="7404381" y="1131375"/>
                  <a:pt x="7368667" y="1131375"/>
                </a:cubicBezTo>
                <a:cubicBezTo>
                  <a:pt x="7332953" y="1131375"/>
                  <a:pt x="7304001" y="1102424"/>
                  <a:pt x="7304001" y="1066709"/>
                </a:cubicBezTo>
                <a:cubicBezTo>
                  <a:pt x="7304001" y="1030995"/>
                  <a:pt x="7332953" y="1002044"/>
                  <a:pt x="7368667" y="1002044"/>
                </a:cubicBezTo>
                <a:close/>
                <a:moveTo>
                  <a:pt x="7212094" y="1002044"/>
                </a:moveTo>
                <a:cubicBezTo>
                  <a:pt x="7247808" y="1002044"/>
                  <a:pt x="7276760" y="1030995"/>
                  <a:pt x="7276760" y="1066709"/>
                </a:cubicBezTo>
                <a:cubicBezTo>
                  <a:pt x="7276760" y="1102424"/>
                  <a:pt x="7247808" y="1131375"/>
                  <a:pt x="7212094" y="1131375"/>
                </a:cubicBezTo>
                <a:cubicBezTo>
                  <a:pt x="7176380" y="1131375"/>
                  <a:pt x="7147428" y="1102424"/>
                  <a:pt x="7147428" y="1066709"/>
                </a:cubicBezTo>
                <a:cubicBezTo>
                  <a:pt x="7147428" y="1030995"/>
                  <a:pt x="7176380" y="1002044"/>
                  <a:pt x="7212094" y="1002044"/>
                </a:cubicBezTo>
                <a:close/>
                <a:moveTo>
                  <a:pt x="7055521" y="1002044"/>
                </a:moveTo>
                <a:cubicBezTo>
                  <a:pt x="7091235" y="1002044"/>
                  <a:pt x="7120187" y="1030995"/>
                  <a:pt x="7120187" y="1066709"/>
                </a:cubicBezTo>
                <a:cubicBezTo>
                  <a:pt x="7120187" y="1102424"/>
                  <a:pt x="7091235" y="1131375"/>
                  <a:pt x="7055521" y="1131375"/>
                </a:cubicBezTo>
                <a:cubicBezTo>
                  <a:pt x="7019807" y="1131375"/>
                  <a:pt x="6990855" y="1102424"/>
                  <a:pt x="6990855" y="1066709"/>
                </a:cubicBezTo>
                <a:cubicBezTo>
                  <a:pt x="6990855" y="1030995"/>
                  <a:pt x="7019807" y="1002044"/>
                  <a:pt x="7055521" y="1002044"/>
                </a:cubicBezTo>
                <a:close/>
                <a:moveTo>
                  <a:pt x="6895035" y="1002044"/>
                </a:moveTo>
                <a:cubicBezTo>
                  <a:pt x="6930749" y="1002044"/>
                  <a:pt x="6959701" y="1030995"/>
                  <a:pt x="6959701" y="1066709"/>
                </a:cubicBezTo>
                <a:cubicBezTo>
                  <a:pt x="6959701" y="1102424"/>
                  <a:pt x="6930749" y="1131375"/>
                  <a:pt x="6895035" y="1131375"/>
                </a:cubicBezTo>
                <a:cubicBezTo>
                  <a:pt x="6859321" y="1131375"/>
                  <a:pt x="6830369" y="1102424"/>
                  <a:pt x="6830369" y="1066709"/>
                </a:cubicBezTo>
                <a:cubicBezTo>
                  <a:pt x="6830369" y="1030995"/>
                  <a:pt x="6859321" y="1002044"/>
                  <a:pt x="6895035" y="1002044"/>
                </a:cubicBezTo>
                <a:close/>
                <a:moveTo>
                  <a:pt x="6742375" y="1002044"/>
                </a:moveTo>
                <a:cubicBezTo>
                  <a:pt x="6778089" y="1002044"/>
                  <a:pt x="6807041" y="1030995"/>
                  <a:pt x="6807041" y="1066709"/>
                </a:cubicBezTo>
                <a:cubicBezTo>
                  <a:pt x="6807041" y="1102424"/>
                  <a:pt x="6778089" y="1131375"/>
                  <a:pt x="6742375" y="1131375"/>
                </a:cubicBezTo>
                <a:cubicBezTo>
                  <a:pt x="6706661" y="1131375"/>
                  <a:pt x="6677709" y="1102424"/>
                  <a:pt x="6677709" y="1066709"/>
                </a:cubicBezTo>
                <a:cubicBezTo>
                  <a:pt x="6677709" y="1030995"/>
                  <a:pt x="6706661" y="1002044"/>
                  <a:pt x="6742375" y="1002044"/>
                </a:cubicBezTo>
                <a:close/>
                <a:moveTo>
                  <a:pt x="6585802" y="1002044"/>
                </a:moveTo>
                <a:cubicBezTo>
                  <a:pt x="6621516" y="1002044"/>
                  <a:pt x="6650468" y="1030995"/>
                  <a:pt x="6650468" y="1066709"/>
                </a:cubicBezTo>
                <a:cubicBezTo>
                  <a:pt x="6650468" y="1102424"/>
                  <a:pt x="6621516" y="1131375"/>
                  <a:pt x="6585802" y="1131375"/>
                </a:cubicBezTo>
                <a:cubicBezTo>
                  <a:pt x="6550088" y="1131375"/>
                  <a:pt x="6521136" y="1102424"/>
                  <a:pt x="6521136" y="1066709"/>
                </a:cubicBezTo>
                <a:cubicBezTo>
                  <a:pt x="6521136" y="1030995"/>
                  <a:pt x="6550088" y="1002044"/>
                  <a:pt x="6585802" y="1002044"/>
                </a:cubicBezTo>
                <a:close/>
                <a:moveTo>
                  <a:pt x="6429229" y="1002044"/>
                </a:moveTo>
                <a:cubicBezTo>
                  <a:pt x="6464943" y="1002044"/>
                  <a:pt x="6493895" y="1030995"/>
                  <a:pt x="6493895" y="1066709"/>
                </a:cubicBezTo>
                <a:cubicBezTo>
                  <a:pt x="6493895" y="1102424"/>
                  <a:pt x="6464943" y="1131375"/>
                  <a:pt x="6429229" y="1131375"/>
                </a:cubicBezTo>
                <a:cubicBezTo>
                  <a:pt x="6393515" y="1131375"/>
                  <a:pt x="6364563" y="1102424"/>
                  <a:pt x="6364563" y="1066709"/>
                </a:cubicBezTo>
                <a:cubicBezTo>
                  <a:pt x="6364563" y="1030995"/>
                  <a:pt x="6393515" y="1002044"/>
                  <a:pt x="6429229" y="1002044"/>
                </a:cubicBezTo>
                <a:close/>
                <a:moveTo>
                  <a:pt x="6276569" y="1002044"/>
                </a:moveTo>
                <a:cubicBezTo>
                  <a:pt x="6312283" y="1002044"/>
                  <a:pt x="6341235" y="1030995"/>
                  <a:pt x="6341235" y="1066709"/>
                </a:cubicBezTo>
                <a:cubicBezTo>
                  <a:pt x="6341235" y="1102424"/>
                  <a:pt x="6312283" y="1131375"/>
                  <a:pt x="6276569" y="1131375"/>
                </a:cubicBezTo>
                <a:cubicBezTo>
                  <a:pt x="6240855" y="1131375"/>
                  <a:pt x="6211903" y="1102424"/>
                  <a:pt x="6211903" y="1066709"/>
                </a:cubicBezTo>
                <a:cubicBezTo>
                  <a:pt x="6211903" y="1030995"/>
                  <a:pt x="6240855" y="1002044"/>
                  <a:pt x="6276569" y="1002044"/>
                </a:cubicBezTo>
                <a:close/>
                <a:moveTo>
                  <a:pt x="6119998" y="1002044"/>
                </a:moveTo>
                <a:cubicBezTo>
                  <a:pt x="6155712" y="1002044"/>
                  <a:pt x="6184664" y="1030995"/>
                  <a:pt x="6184664" y="1066709"/>
                </a:cubicBezTo>
                <a:cubicBezTo>
                  <a:pt x="6184664" y="1102424"/>
                  <a:pt x="6155712" y="1131375"/>
                  <a:pt x="6119998" y="1131375"/>
                </a:cubicBezTo>
                <a:cubicBezTo>
                  <a:pt x="6084284" y="1131375"/>
                  <a:pt x="6055332" y="1102424"/>
                  <a:pt x="6055332" y="1066709"/>
                </a:cubicBezTo>
                <a:cubicBezTo>
                  <a:pt x="6055332" y="1030995"/>
                  <a:pt x="6084284" y="1002044"/>
                  <a:pt x="6119998" y="1002044"/>
                </a:cubicBezTo>
                <a:close/>
                <a:moveTo>
                  <a:pt x="5967338" y="1002044"/>
                </a:moveTo>
                <a:cubicBezTo>
                  <a:pt x="6003052" y="1002044"/>
                  <a:pt x="6032004" y="1030995"/>
                  <a:pt x="6032004" y="1066709"/>
                </a:cubicBezTo>
                <a:cubicBezTo>
                  <a:pt x="6032004" y="1102424"/>
                  <a:pt x="6003052" y="1131375"/>
                  <a:pt x="5967338" y="1131375"/>
                </a:cubicBezTo>
                <a:cubicBezTo>
                  <a:pt x="5931624" y="1131375"/>
                  <a:pt x="5902672" y="1102424"/>
                  <a:pt x="5902672" y="1066709"/>
                </a:cubicBezTo>
                <a:cubicBezTo>
                  <a:pt x="5902672" y="1030995"/>
                  <a:pt x="5931624" y="1002044"/>
                  <a:pt x="5967338" y="1002044"/>
                </a:cubicBezTo>
                <a:close/>
                <a:moveTo>
                  <a:pt x="4875265" y="1002044"/>
                </a:moveTo>
                <a:cubicBezTo>
                  <a:pt x="4910983" y="1002044"/>
                  <a:pt x="4939939" y="1030995"/>
                  <a:pt x="4939939" y="1066709"/>
                </a:cubicBezTo>
                <a:cubicBezTo>
                  <a:pt x="4939939" y="1102424"/>
                  <a:pt x="4910983" y="1131375"/>
                  <a:pt x="4875265" y="1131375"/>
                </a:cubicBezTo>
                <a:cubicBezTo>
                  <a:pt x="4839542" y="1131375"/>
                  <a:pt x="4810599" y="1102424"/>
                  <a:pt x="4810599" y="1066709"/>
                </a:cubicBezTo>
                <a:cubicBezTo>
                  <a:pt x="4810599" y="1030995"/>
                  <a:pt x="4839542" y="1002044"/>
                  <a:pt x="4875265" y="1002044"/>
                </a:cubicBezTo>
                <a:close/>
                <a:moveTo>
                  <a:pt x="4256823" y="1002044"/>
                </a:moveTo>
                <a:cubicBezTo>
                  <a:pt x="4292539" y="1002044"/>
                  <a:pt x="4321467" y="1030995"/>
                  <a:pt x="4321467" y="1066709"/>
                </a:cubicBezTo>
                <a:cubicBezTo>
                  <a:pt x="4321467" y="1102424"/>
                  <a:pt x="4292539" y="1131375"/>
                  <a:pt x="4256823" y="1131375"/>
                </a:cubicBezTo>
                <a:cubicBezTo>
                  <a:pt x="4221103" y="1131375"/>
                  <a:pt x="4192125" y="1102424"/>
                  <a:pt x="4192125" y="1066709"/>
                </a:cubicBezTo>
                <a:cubicBezTo>
                  <a:pt x="4192125" y="1030995"/>
                  <a:pt x="4221103" y="1002044"/>
                  <a:pt x="4256823" y="1002044"/>
                </a:cubicBezTo>
                <a:close/>
                <a:moveTo>
                  <a:pt x="4100249" y="1002044"/>
                </a:moveTo>
                <a:cubicBezTo>
                  <a:pt x="4135950" y="1002044"/>
                  <a:pt x="4164920" y="1030995"/>
                  <a:pt x="4164920" y="1066709"/>
                </a:cubicBezTo>
                <a:cubicBezTo>
                  <a:pt x="4164920" y="1102424"/>
                  <a:pt x="4135950" y="1131375"/>
                  <a:pt x="4100249" y="1131375"/>
                </a:cubicBezTo>
                <a:cubicBezTo>
                  <a:pt x="4064526" y="1131375"/>
                  <a:pt x="4035594" y="1102424"/>
                  <a:pt x="4035594" y="1066709"/>
                </a:cubicBezTo>
                <a:cubicBezTo>
                  <a:pt x="4035594" y="1030995"/>
                  <a:pt x="4064526" y="1002044"/>
                  <a:pt x="4100249" y="1002044"/>
                </a:cubicBezTo>
                <a:close/>
                <a:moveTo>
                  <a:pt x="3947573" y="1002044"/>
                </a:moveTo>
                <a:cubicBezTo>
                  <a:pt x="3983297" y="1002044"/>
                  <a:pt x="4012257" y="1030995"/>
                  <a:pt x="4012257" y="1066709"/>
                </a:cubicBezTo>
                <a:cubicBezTo>
                  <a:pt x="4012257" y="1102424"/>
                  <a:pt x="3983297" y="1131375"/>
                  <a:pt x="3947573" y="1131375"/>
                </a:cubicBezTo>
                <a:cubicBezTo>
                  <a:pt x="3911987" y="1131375"/>
                  <a:pt x="3883039" y="1102424"/>
                  <a:pt x="3883039" y="1066709"/>
                </a:cubicBezTo>
                <a:cubicBezTo>
                  <a:pt x="3883039" y="1030995"/>
                  <a:pt x="3911987" y="1002044"/>
                  <a:pt x="3947573" y="1002044"/>
                </a:cubicBezTo>
                <a:close/>
                <a:moveTo>
                  <a:pt x="3321427" y="1002044"/>
                </a:moveTo>
                <a:cubicBezTo>
                  <a:pt x="3357137" y="1002044"/>
                  <a:pt x="3386066" y="1030995"/>
                  <a:pt x="3386066" y="1066709"/>
                </a:cubicBezTo>
                <a:cubicBezTo>
                  <a:pt x="3386066" y="1102424"/>
                  <a:pt x="3357137" y="1131375"/>
                  <a:pt x="3321427" y="1131375"/>
                </a:cubicBezTo>
                <a:cubicBezTo>
                  <a:pt x="3285704" y="1131375"/>
                  <a:pt x="3256763" y="1102424"/>
                  <a:pt x="3256763" y="1066709"/>
                </a:cubicBezTo>
                <a:cubicBezTo>
                  <a:pt x="3256763" y="1030995"/>
                  <a:pt x="3285704" y="1002044"/>
                  <a:pt x="3321427" y="1002044"/>
                </a:cubicBezTo>
                <a:close/>
                <a:moveTo>
                  <a:pt x="3172672" y="1002044"/>
                </a:moveTo>
                <a:cubicBezTo>
                  <a:pt x="3208395" y="1002044"/>
                  <a:pt x="3237345" y="1030995"/>
                  <a:pt x="3237345" y="1066709"/>
                </a:cubicBezTo>
                <a:cubicBezTo>
                  <a:pt x="3237345" y="1102424"/>
                  <a:pt x="3208395" y="1131375"/>
                  <a:pt x="3172672" y="1131375"/>
                </a:cubicBezTo>
                <a:cubicBezTo>
                  <a:pt x="3136946" y="1131375"/>
                  <a:pt x="3107984" y="1102424"/>
                  <a:pt x="3107984" y="1066709"/>
                </a:cubicBezTo>
                <a:cubicBezTo>
                  <a:pt x="3107984" y="1030995"/>
                  <a:pt x="3136946" y="1002044"/>
                  <a:pt x="3172672" y="1002044"/>
                </a:cubicBezTo>
                <a:close/>
                <a:moveTo>
                  <a:pt x="3012149" y="1002044"/>
                </a:moveTo>
                <a:cubicBezTo>
                  <a:pt x="3047859" y="1002044"/>
                  <a:pt x="3076821" y="1030995"/>
                  <a:pt x="3076821" y="1066709"/>
                </a:cubicBezTo>
                <a:cubicBezTo>
                  <a:pt x="3076821" y="1102424"/>
                  <a:pt x="3047859" y="1131375"/>
                  <a:pt x="3012149" y="1131375"/>
                </a:cubicBezTo>
                <a:cubicBezTo>
                  <a:pt x="2976439" y="1131375"/>
                  <a:pt x="2947494" y="1102424"/>
                  <a:pt x="2947494" y="1066709"/>
                </a:cubicBezTo>
                <a:cubicBezTo>
                  <a:pt x="2947494" y="1030995"/>
                  <a:pt x="2976439" y="1002044"/>
                  <a:pt x="3012149" y="1002044"/>
                </a:cubicBezTo>
                <a:close/>
                <a:moveTo>
                  <a:pt x="2699057" y="1002044"/>
                </a:moveTo>
                <a:cubicBezTo>
                  <a:pt x="2734764" y="1002044"/>
                  <a:pt x="2763710" y="1030995"/>
                  <a:pt x="2763710" y="1066709"/>
                </a:cubicBezTo>
                <a:cubicBezTo>
                  <a:pt x="2763710" y="1102424"/>
                  <a:pt x="2734764" y="1131375"/>
                  <a:pt x="2699057" y="1131375"/>
                </a:cubicBezTo>
                <a:cubicBezTo>
                  <a:pt x="2663349" y="1131375"/>
                  <a:pt x="2634401" y="1102424"/>
                  <a:pt x="2634401" y="1066709"/>
                </a:cubicBezTo>
                <a:cubicBezTo>
                  <a:pt x="2634401" y="1030995"/>
                  <a:pt x="2663349" y="1002044"/>
                  <a:pt x="2699057" y="1002044"/>
                </a:cubicBezTo>
                <a:close/>
                <a:moveTo>
                  <a:pt x="2546420" y="1002044"/>
                </a:moveTo>
                <a:cubicBezTo>
                  <a:pt x="2582131" y="1002044"/>
                  <a:pt x="2611080" y="1030995"/>
                  <a:pt x="2611080" y="1066709"/>
                </a:cubicBezTo>
                <a:cubicBezTo>
                  <a:pt x="2611080" y="1102424"/>
                  <a:pt x="2582131" y="1131375"/>
                  <a:pt x="2546420" y="1131375"/>
                </a:cubicBezTo>
                <a:cubicBezTo>
                  <a:pt x="2510700" y="1131375"/>
                  <a:pt x="2481765" y="1102424"/>
                  <a:pt x="2481765" y="1066709"/>
                </a:cubicBezTo>
                <a:cubicBezTo>
                  <a:pt x="2481765" y="1030995"/>
                  <a:pt x="2510700" y="1002044"/>
                  <a:pt x="2546420" y="1002044"/>
                </a:cubicBezTo>
                <a:close/>
                <a:moveTo>
                  <a:pt x="2389845" y="1002044"/>
                </a:moveTo>
                <a:cubicBezTo>
                  <a:pt x="2425581" y="1002044"/>
                  <a:pt x="2454531" y="1030995"/>
                  <a:pt x="2454531" y="1066709"/>
                </a:cubicBezTo>
                <a:cubicBezTo>
                  <a:pt x="2454531" y="1102424"/>
                  <a:pt x="2425581" y="1131375"/>
                  <a:pt x="2389845" y="1131375"/>
                </a:cubicBezTo>
                <a:cubicBezTo>
                  <a:pt x="2354152" y="1131375"/>
                  <a:pt x="2325192" y="1102424"/>
                  <a:pt x="2325192" y="1066709"/>
                </a:cubicBezTo>
                <a:cubicBezTo>
                  <a:pt x="2325192" y="1030995"/>
                  <a:pt x="2354152" y="1002044"/>
                  <a:pt x="2389845" y="1002044"/>
                </a:cubicBezTo>
                <a:close/>
                <a:moveTo>
                  <a:pt x="2237166" y="1002044"/>
                </a:moveTo>
                <a:cubicBezTo>
                  <a:pt x="2272894" y="1002044"/>
                  <a:pt x="2301856" y="1030995"/>
                  <a:pt x="2301856" y="1066709"/>
                </a:cubicBezTo>
                <a:cubicBezTo>
                  <a:pt x="2301856" y="1102424"/>
                  <a:pt x="2272894" y="1131375"/>
                  <a:pt x="2237166" y="1131375"/>
                </a:cubicBezTo>
                <a:cubicBezTo>
                  <a:pt x="2201442" y="1131375"/>
                  <a:pt x="2172482" y="1102424"/>
                  <a:pt x="2172482" y="1066709"/>
                </a:cubicBezTo>
                <a:cubicBezTo>
                  <a:pt x="2172482" y="1030995"/>
                  <a:pt x="2201442" y="1002044"/>
                  <a:pt x="2237166" y="1002044"/>
                </a:cubicBezTo>
                <a:close/>
                <a:moveTo>
                  <a:pt x="2084488" y="1002044"/>
                </a:moveTo>
                <a:cubicBezTo>
                  <a:pt x="2120200" y="1002044"/>
                  <a:pt x="2149149" y="1030995"/>
                  <a:pt x="2149149" y="1066709"/>
                </a:cubicBezTo>
                <a:cubicBezTo>
                  <a:pt x="2149149" y="1102424"/>
                  <a:pt x="2120200" y="1131375"/>
                  <a:pt x="2084488" y="1131375"/>
                </a:cubicBezTo>
                <a:cubicBezTo>
                  <a:pt x="2048757" y="1131375"/>
                  <a:pt x="2019843" y="1102424"/>
                  <a:pt x="2019843" y="1066709"/>
                </a:cubicBezTo>
                <a:cubicBezTo>
                  <a:pt x="2019843" y="1030995"/>
                  <a:pt x="2048757" y="1002044"/>
                  <a:pt x="2084488" y="1002044"/>
                </a:cubicBezTo>
                <a:close/>
                <a:moveTo>
                  <a:pt x="1927899" y="1002044"/>
                </a:moveTo>
                <a:cubicBezTo>
                  <a:pt x="1963608" y="1002044"/>
                  <a:pt x="1992589" y="1030995"/>
                  <a:pt x="1992589" y="1066709"/>
                </a:cubicBezTo>
                <a:cubicBezTo>
                  <a:pt x="1992589" y="1102424"/>
                  <a:pt x="1963608" y="1131375"/>
                  <a:pt x="1927899" y="1131375"/>
                </a:cubicBezTo>
                <a:cubicBezTo>
                  <a:pt x="1892221" y="1131375"/>
                  <a:pt x="1863266" y="1102424"/>
                  <a:pt x="1863266" y="1066709"/>
                </a:cubicBezTo>
                <a:cubicBezTo>
                  <a:pt x="1863266" y="1030995"/>
                  <a:pt x="1892221" y="1002044"/>
                  <a:pt x="1927899" y="1002044"/>
                </a:cubicBezTo>
                <a:close/>
                <a:moveTo>
                  <a:pt x="1775247" y="1002044"/>
                </a:moveTo>
                <a:cubicBezTo>
                  <a:pt x="1810950" y="1002044"/>
                  <a:pt x="1839934" y="1030995"/>
                  <a:pt x="1839934" y="1066709"/>
                </a:cubicBezTo>
                <a:cubicBezTo>
                  <a:pt x="1839934" y="1102424"/>
                  <a:pt x="1810950" y="1131375"/>
                  <a:pt x="1775247" y="1131375"/>
                </a:cubicBezTo>
                <a:cubicBezTo>
                  <a:pt x="1739525" y="1131375"/>
                  <a:pt x="1710575" y="1102424"/>
                  <a:pt x="1710575" y="1066709"/>
                </a:cubicBezTo>
                <a:cubicBezTo>
                  <a:pt x="1710575" y="1030995"/>
                  <a:pt x="1739525" y="1002044"/>
                  <a:pt x="1775247" y="1002044"/>
                </a:cubicBezTo>
                <a:close/>
                <a:moveTo>
                  <a:pt x="1618661" y="1002044"/>
                </a:moveTo>
                <a:cubicBezTo>
                  <a:pt x="1654383" y="1002044"/>
                  <a:pt x="1683332" y="1030995"/>
                  <a:pt x="1683332" y="1066709"/>
                </a:cubicBezTo>
                <a:cubicBezTo>
                  <a:pt x="1683332" y="1102424"/>
                  <a:pt x="1654383" y="1131375"/>
                  <a:pt x="1618661" y="1131375"/>
                </a:cubicBezTo>
                <a:cubicBezTo>
                  <a:pt x="1582951" y="1131375"/>
                  <a:pt x="1554000" y="1102424"/>
                  <a:pt x="1554000" y="1066709"/>
                </a:cubicBezTo>
                <a:cubicBezTo>
                  <a:pt x="1554000" y="1030995"/>
                  <a:pt x="1582951" y="1002044"/>
                  <a:pt x="1618661" y="1002044"/>
                </a:cubicBezTo>
                <a:close/>
                <a:moveTo>
                  <a:pt x="1466007" y="1002044"/>
                </a:moveTo>
                <a:cubicBezTo>
                  <a:pt x="1501719" y="1002044"/>
                  <a:pt x="1530672" y="1030995"/>
                  <a:pt x="1530672" y="1066709"/>
                </a:cubicBezTo>
                <a:cubicBezTo>
                  <a:pt x="1530672" y="1102424"/>
                  <a:pt x="1501719" y="1131375"/>
                  <a:pt x="1466007" y="1131375"/>
                </a:cubicBezTo>
                <a:cubicBezTo>
                  <a:pt x="1430293" y="1131375"/>
                  <a:pt x="1401343" y="1102424"/>
                  <a:pt x="1401343" y="1066709"/>
                </a:cubicBezTo>
                <a:cubicBezTo>
                  <a:pt x="1401343" y="1030995"/>
                  <a:pt x="1430293" y="1002044"/>
                  <a:pt x="1466007" y="1002044"/>
                </a:cubicBezTo>
                <a:close/>
                <a:moveTo>
                  <a:pt x="1309433" y="1002044"/>
                </a:moveTo>
                <a:cubicBezTo>
                  <a:pt x="1345147" y="1002044"/>
                  <a:pt x="1374099" y="1030995"/>
                  <a:pt x="1374099" y="1066709"/>
                </a:cubicBezTo>
                <a:cubicBezTo>
                  <a:pt x="1374099" y="1102424"/>
                  <a:pt x="1345147" y="1131375"/>
                  <a:pt x="1309433" y="1131375"/>
                </a:cubicBezTo>
                <a:cubicBezTo>
                  <a:pt x="1273720" y="1131375"/>
                  <a:pt x="1244768" y="1102424"/>
                  <a:pt x="1244768" y="1066709"/>
                </a:cubicBezTo>
                <a:cubicBezTo>
                  <a:pt x="1244768" y="1030995"/>
                  <a:pt x="1273720" y="1002044"/>
                  <a:pt x="1309433" y="1002044"/>
                </a:cubicBezTo>
                <a:close/>
                <a:moveTo>
                  <a:pt x="1148949" y="1002044"/>
                </a:moveTo>
                <a:cubicBezTo>
                  <a:pt x="1184663" y="1002044"/>
                  <a:pt x="1213614" y="1030995"/>
                  <a:pt x="1213614" y="1066709"/>
                </a:cubicBezTo>
                <a:cubicBezTo>
                  <a:pt x="1213614" y="1102424"/>
                  <a:pt x="1184663" y="1131375"/>
                  <a:pt x="1148949" y="1131375"/>
                </a:cubicBezTo>
                <a:cubicBezTo>
                  <a:pt x="1113236" y="1131375"/>
                  <a:pt x="1084284" y="1102424"/>
                  <a:pt x="1084284" y="1066709"/>
                </a:cubicBezTo>
                <a:cubicBezTo>
                  <a:pt x="1084284" y="1030995"/>
                  <a:pt x="1113236" y="1002044"/>
                  <a:pt x="1148949" y="1002044"/>
                </a:cubicBezTo>
                <a:close/>
                <a:moveTo>
                  <a:pt x="992376" y="1002044"/>
                </a:moveTo>
                <a:cubicBezTo>
                  <a:pt x="1028090" y="1002044"/>
                  <a:pt x="1057041" y="1030995"/>
                  <a:pt x="1057041" y="1066709"/>
                </a:cubicBezTo>
                <a:cubicBezTo>
                  <a:pt x="1057041" y="1102424"/>
                  <a:pt x="1028090" y="1131375"/>
                  <a:pt x="992376" y="1131375"/>
                </a:cubicBezTo>
                <a:cubicBezTo>
                  <a:pt x="956663" y="1131375"/>
                  <a:pt x="927711" y="1102424"/>
                  <a:pt x="927711" y="1066709"/>
                </a:cubicBezTo>
                <a:cubicBezTo>
                  <a:pt x="927711" y="1030995"/>
                  <a:pt x="956663" y="1002044"/>
                  <a:pt x="992376" y="1002044"/>
                </a:cubicBezTo>
                <a:close/>
                <a:moveTo>
                  <a:pt x="839721" y="1002044"/>
                </a:moveTo>
                <a:cubicBezTo>
                  <a:pt x="875434" y="1002044"/>
                  <a:pt x="904386" y="1030995"/>
                  <a:pt x="904386" y="1066709"/>
                </a:cubicBezTo>
                <a:cubicBezTo>
                  <a:pt x="904386" y="1102424"/>
                  <a:pt x="875434" y="1131375"/>
                  <a:pt x="839721" y="1131375"/>
                </a:cubicBezTo>
                <a:cubicBezTo>
                  <a:pt x="804007" y="1131375"/>
                  <a:pt x="775056" y="1102424"/>
                  <a:pt x="775056" y="1066709"/>
                </a:cubicBezTo>
                <a:cubicBezTo>
                  <a:pt x="775056" y="1030995"/>
                  <a:pt x="804007" y="1002044"/>
                  <a:pt x="839721" y="1002044"/>
                </a:cubicBezTo>
                <a:close/>
                <a:moveTo>
                  <a:pt x="683148" y="1002044"/>
                </a:moveTo>
                <a:cubicBezTo>
                  <a:pt x="718862" y="1002044"/>
                  <a:pt x="747813" y="1030995"/>
                  <a:pt x="747813" y="1066709"/>
                </a:cubicBezTo>
                <a:cubicBezTo>
                  <a:pt x="747813" y="1102424"/>
                  <a:pt x="718862" y="1131375"/>
                  <a:pt x="683148" y="1131375"/>
                </a:cubicBezTo>
                <a:cubicBezTo>
                  <a:pt x="647435" y="1131375"/>
                  <a:pt x="618483" y="1102424"/>
                  <a:pt x="618483" y="1066709"/>
                </a:cubicBezTo>
                <a:cubicBezTo>
                  <a:pt x="618483" y="1030995"/>
                  <a:pt x="647435" y="1002044"/>
                  <a:pt x="683148" y="1002044"/>
                </a:cubicBezTo>
                <a:close/>
                <a:moveTo>
                  <a:pt x="11560917" y="1002040"/>
                </a:moveTo>
                <a:cubicBezTo>
                  <a:pt x="11596631" y="1002040"/>
                  <a:pt x="11625583" y="1030994"/>
                  <a:pt x="11625583" y="1066706"/>
                </a:cubicBezTo>
                <a:cubicBezTo>
                  <a:pt x="11625583" y="1102421"/>
                  <a:pt x="11596631" y="1131374"/>
                  <a:pt x="11560917" y="1131374"/>
                </a:cubicBezTo>
                <a:cubicBezTo>
                  <a:pt x="11525203" y="1131374"/>
                  <a:pt x="11496251" y="1102421"/>
                  <a:pt x="11496251" y="1066706"/>
                </a:cubicBezTo>
                <a:cubicBezTo>
                  <a:pt x="11496251" y="1030994"/>
                  <a:pt x="11525203" y="1002040"/>
                  <a:pt x="11560917" y="1002040"/>
                </a:cubicBezTo>
                <a:close/>
                <a:moveTo>
                  <a:pt x="11404343" y="1002040"/>
                </a:moveTo>
                <a:cubicBezTo>
                  <a:pt x="11440057" y="1002040"/>
                  <a:pt x="11469009" y="1030994"/>
                  <a:pt x="11469009" y="1066706"/>
                </a:cubicBezTo>
                <a:cubicBezTo>
                  <a:pt x="11469009" y="1102421"/>
                  <a:pt x="11440057" y="1131374"/>
                  <a:pt x="11404343" y="1131374"/>
                </a:cubicBezTo>
                <a:cubicBezTo>
                  <a:pt x="11368629" y="1131374"/>
                  <a:pt x="11339677" y="1102421"/>
                  <a:pt x="11339677" y="1066706"/>
                </a:cubicBezTo>
                <a:cubicBezTo>
                  <a:pt x="11339677" y="1030994"/>
                  <a:pt x="11368629" y="1002040"/>
                  <a:pt x="11404343" y="1002040"/>
                </a:cubicBezTo>
                <a:close/>
                <a:moveTo>
                  <a:pt x="11251683" y="1002040"/>
                </a:moveTo>
                <a:cubicBezTo>
                  <a:pt x="11287397" y="1002040"/>
                  <a:pt x="11316349" y="1030994"/>
                  <a:pt x="11316349" y="1066706"/>
                </a:cubicBezTo>
                <a:cubicBezTo>
                  <a:pt x="11316349" y="1102421"/>
                  <a:pt x="11287397" y="1131374"/>
                  <a:pt x="11251683" y="1131374"/>
                </a:cubicBezTo>
                <a:cubicBezTo>
                  <a:pt x="11215969" y="1131374"/>
                  <a:pt x="11187017" y="1102421"/>
                  <a:pt x="11187017" y="1066706"/>
                </a:cubicBezTo>
                <a:cubicBezTo>
                  <a:pt x="11187017" y="1030994"/>
                  <a:pt x="11215969" y="1002040"/>
                  <a:pt x="11251683" y="1002040"/>
                </a:cubicBezTo>
                <a:close/>
                <a:moveTo>
                  <a:pt x="526568" y="1002040"/>
                </a:moveTo>
                <a:cubicBezTo>
                  <a:pt x="562282" y="1002040"/>
                  <a:pt x="591233" y="1030994"/>
                  <a:pt x="591233" y="1066706"/>
                </a:cubicBezTo>
                <a:cubicBezTo>
                  <a:pt x="591233" y="1102421"/>
                  <a:pt x="562282" y="1131374"/>
                  <a:pt x="526568" y="1131374"/>
                </a:cubicBezTo>
                <a:cubicBezTo>
                  <a:pt x="490855" y="1131374"/>
                  <a:pt x="461903" y="1102421"/>
                  <a:pt x="461903" y="1066706"/>
                </a:cubicBezTo>
                <a:cubicBezTo>
                  <a:pt x="461903" y="1030994"/>
                  <a:pt x="490855" y="1002040"/>
                  <a:pt x="526568" y="1002040"/>
                </a:cubicBezTo>
                <a:close/>
                <a:moveTo>
                  <a:pt x="373912" y="1002040"/>
                </a:moveTo>
                <a:cubicBezTo>
                  <a:pt x="409626" y="1002040"/>
                  <a:pt x="438577" y="1030994"/>
                  <a:pt x="438577" y="1066706"/>
                </a:cubicBezTo>
                <a:cubicBezTo>
                  <a:pt x="438577" y="1102421"/>
                  <a:pt x="409626" y="1131374"/>
                  <a:pt x="373912" y="1131374"/>
                </a:cubicBezTo>
                <a:cubicBezTo>
                  <a:pt x="338199" y="1131374"/>
                  <a:pt x="309247" y="1102421"/>
                  <a:pt x="309247" y="1066706"/>
                </a:cubicBezTo>
                <a:cubicBezTo>
                  <a:pt x="309247" y="1030994"/>
                  <a:pt x="338199" y="1002040"/>
                  <a:pt x="373912" y="1002040"/>
                </a:cubicBezTo>
                <a:close/>
                <a:moveTo>
                  <a:pt x="217342" y="1002040"/>
                </a:moveTo>
                <a:cubicBezTo>
                  <a:pt x="253055" y="1002040"/>
                  <a:pt x="282007" y="1030994"/>
                  <a:pt x="282007" y="1066706"/>
                </a:cubicBezTo>
                <a:cubicBezTo>
                  <a:pt x="282007" y="1102421"/>
                  <a:pt x="253055" y="1131374"/>
                  <a:pt x="217342" y="1131374"/>
                </a:cubicBezTo>
                <a:cubicBezTo>
                  <a:pt x="181628" y="1131374"/>
                  <a:pt x="152676" y="1102421"/>
                  <a:pt x="152676" y="1066706"/>
                </a:cubicBezTo>
                <a:cubicBezTo>
                  <a:pt x="152676" y="1030994"/>
                  <a:pt x="181628" y="1002040"/>
                  <a:pt x="217342" y="1002040"/>
                </a:cubicBezTo>
                <a:close/>
                <a:moveTo>
                  <a:pt x="992384" y="849416"/>
                </a:moveTo>
                <a:cubicBezTo>
                  <a:pt x="1028098" y="849416"/>
                  <a:pt x="1057050" y="878368"/>
                  <a:pt x="1057050" y="914081"/>
                </a:cubicBezTo>
                <a:cubicBezTo>
                  <a:pt x="1057050" y="949766"/>
                  <a:pt x="1028098" y="978717"/>
                  <a:pt x="992384" y="978717"/>
                </a:cubicBezTo>
                <a:cubicBezTo>
                  <a:pt x="956671" y="978717"/>
                  <a:pt x="927719" y="949766"/>
                  <a:pt x="927719" y="914081"/>
                </a:cubicBezTo>
                <a:cubicBezTo>
                  <a:pt x="927719" y="878368"/>
                  <a:pt x="956671" y="849416"/>
                  <a:pt x="992384" y="849416"/>
                </a:cubicBezTo>
                <a:close/>
                <a:moveTo>
                  <a:pt x="839729" y="849416"/>
                </a:moveTo>
                <a:cubicBezTo>
                  <a:pt x="875442" y="849416"/>
                  <a:pt x="904394" y="878368"/>
                  <a:pt x="904394" y="914081"/>
                </a:cubicBezTo>
                <a:cubicBezTo>
                  <a:pt x="904394" y="949766"/>
                  <a:pt x="875442" y="978717"/>
                  <a:pt x="839729" y="978717"/>
                </a:cubicBezTo>
                <a:cubicBezTo>
                  <a:pt x="804016" y="978717"/>
                  <a:pt x="775064" y="949766"/>
                  <a:pt x="775064" y="914081"/>
                </a:cubicBezTo>
                <a:cubicBezTo>
                  <a:pt x="775064" y="878368"/>
                  <a:pt x="804016" y="849416"/>
                  <a:pt x="839729" y="849416"/>
                </a:cubicBezTo>
                <a:close/>
                <a:moveTo>
                  <a:pt x="683158" y="849416"/>
                </a:moveTo>
                <a:cubicBezTo>
                  <a:pt x="718872" y="849416"/>
                  <a:pt x="747824" y="878368"/>
                  <a:pt x="747824" y="914081"/>
                </a:cubicBezTo>
                <a:cubicBezTo>
                  <a:pt x="747824" y="949766"/>
                  <a:pt x="718872" y="978717"/>
                  <a:pt x="683158" y="978717"/>
                </a:cubicBezTo>
                <a:cubicBezTo>
                  <a:pt x="647445" y="978717"/>
                  <a:pt x="618493" y="949766"/>
                  <a:pt x="618493" y="914081"/>
                </a:cubicBezTo>
                <a:cubicBezTo>
                  <a:pt x="618493" y="878368"/>
                  <a:pt x="647445" y="849416"/>
                  <a:pt x="683158" y="849416"/>
                </a:cubicBezTo>
                <a:close/>
                <a:moveTo>
                  <a:pt x="7677904" y="849415"/>
                </a:moveTo>
                <a:cubicBezTo>
                  <a:pt x="7713618" y="849415"/>
                  <a:pt x="7742570" y="878366"/>
                  <a:pt x="7742570" y="914080"/>
                </a:cubicBezTo>
                <a:cubicBezTo>
                  <a:pt x="7742570" y="949766"/>
                  <a:pt x="7713618" y="978717"/>
                  <a:pt x="7677904" y="978717"/>
                </a:cubicBezTo>
                <a:cubicBezTo>
                  <a:pt x="7642190" y="978717"/>
                  <a:pt x="7613238" y="949766"/>
                  <a:pt x="7613238" y="914080"/>
                </a:cubicBezTo>
                <a:cubicBezTo>
                  <a:pt x="7613238" y="878366"/>
                  <a:pt x="7642190" y="849415"/>
                  <a:pt x="7677904" y="849415"/>
                </a:cubicBezTo>
                <a:close/>
                <a:moveTo>
                  <a:pt x="7521331" y="849415"/>
                </a:moveTo>
                <a:cubicBezTo>
                  <a:pt x="7557045" y="849415"/>
                  <a:pt x="7585997" y="878366"/>
                  <a:pt x="7585997" y="914080"/>
                </a:cubicBezTo>
                <a:cubicBezTo>
                  <a:pt x="7585997" y="949766"/>
                  <a:pt x="7557045" y="978717"/>
                  <a:pt x="7521331" y="978717"/>
                </a:cubicBezTo>
                <a:cubicBezTo>
                  <a:pt x="7485617" y="978717"/>
                  <a:pt x="7456665" y="949766"/>
                  <a:pt x="7456665" y="914080"/>
                </a:cubicBezTo>
                <a:cubicBezTo>
                  <a:pt x="7456665" y="878366"/>
                  <a:pt x="7485617" y="849415"/>
                  <a:pt x="7521331" y="849415"/>
                </a:cubicBezTo>
                <a:close/>
                <a:moveTo>
                  <a:pt x="7368669" y="849415"/>
                </a:moveTo>
                <a:cubicBezTo>
                  <a:pt x="7404383" y="849415"/>
                  <a:pt x="7433335" y="878366"/>
                  <a:pt x="7433335" y="914080"/>
                </a:cubicBezTo>
                <a:cubicBezTo>
                  <a:pt x="7433335" y="949766"/>
                  <a:pt x="7404383" y="978717"/>
                  <a:pt x="7368669" y="978717"/>
                </a:cubicBezTo>
                <a:cubicBezTo>
                  <a:pt x="7332955" y="978717"/>
                  <a:pt x="7304003" y="949766"/>
                  <a:pt x="7304003" y="914080"/>
                </a:cubicBezTo>
                <a:cubicBezTo>
                  <a:pt x="7304003" y="878366"/>
                  <a:pt x="7332955" y="849415"/>
                  <a:pt x="7368669" y="849415"/>
                </a:cubicBezTo>
                <a:close/>
                <a:moveTo>
                  <a:pt x="7212096" y="849415"/>
                </a:moveTo>
                <a:cubicBezTo>
                  <a:pt x="7247810" y="849415"/>
                  <a:pt x="7276762" y="878366"/>
                  <a:pt x="7276762" y="914080"/>
                </a:cubicBezTo>
                <a:cubicBezTo>
                  <a:pt x="7276762" y="949766"/>
                  <a:pt x="7247810" y="978717"/>
                  <a:pt x="7212096" y="978717"/>
                </a:cubicBezTo>
                <a:cubicBezTo>
                  <a:pt x="7176382" y="978717"/>
                  <a:pt x="7147430" y="949766"/>
                  <a:pt x="7147430" y="914080"/>
                </a:cubicBezTo>
                <a:cubicBezTo>
                  <a:pt x="7147430" y="878366"/>
                  <a:pt x="7176382" y="849415"/>
                  <a:pt x="7212096" y="849415"/>
                </a:cubicBezTo>
                <a:close/>
                <a:moveTo>
                  <a:pt x="6585804" y="849415"/>
                </a:moveTo>
                <a:cubicBezTo>
                  <a:pt x="6621518" y="849415"/>
                  <a:pt x="6650470" y="878366"/>
                  <a:pt x="6650470" y="914080"/>
                </a:cubicBezTo>
                <a:cubicBezTo>
                  <a:pt x="6650470" y="949766"/>
                  <a:pt x="6621518" y="978717"/>
                  <a:pt x="6585804" y="978717"/>
                </a:cubicBezTo>
                <a:cubicBezTo>
                  <a:pt x="6550090" y="978717"/>
                  <a:pt x="6521138" y="949766"/>
                  <a:pt x="6521138" y="914080"/>
                </a:cubicBezTo>
                <a:cubicBezTo>
                  <a:pt x="6521138" y="878366"/>
                  <a:pt x="6550090" y="849415"/>
                  <a:pt x="6585804" y="849415"/>
                </a:cubicBezTo>
                <a:close/>
                <a:moveTo>
                  <a:pt x="6429229" y="849415"/>
                </a:moveTo>
                <a:cubicBezTo>
                  <a:pt x="6464943" y="849415"/>
                  <a:pt x="6493895" y="878366"/>
                  <a:pt x="6493895" y="914080"/>
                </a:cubicBezTo>
                <a:cubicBezTo>
                  <a:pt x="6493895" y="949766"/>
                  <a:pt x="6464943" y="978717"/>
                  <a:pt x="6429229" y="978717"/>
                </a:cubicBezTo>
                <a:cubicBezTo>
                  <a:pt x="6393515" y="978717"/>
                  <a:pt x="6364563" y="949766"/>
                  <a:pt x="6364563" y="914080"/>
                </a:cubicBezTo>
                <a:cubicBezTo>
                  <a:pt x="6364563" y="878366"/>
                  <a:pt x="6393515" y="849415"/>
                  <a:pt x="6429229" y="849415"/>
                </a:cubicBezTo>
                <a:close/>
                <a:moveTo>
                  <a:pt x="6276571" y="849415"/>
                </a:moveTo>
                <a:cubicBezTo>
                  <a:pt x="6312285" y="849415"/>
                  <a:pt x="6341237" y="878366"/>
                  <a:pt x="6341237" y="914080"/>
                </a:cubicBezTo>
                <a:cubicBezTo>
                  <a:pt x="6341237" y="949766"/>
                  <a:pt x="6312285" y="978717"/>
                  <a:pt x="6276571" y="978717"/>
                </a:cubicBezTo>
                <a:cubicBezTo>
                  <a:pt x="6240857" y="978717"/>
                  <a:pt x="6211905" y="949766"/>
                  <a:pt x="6211905" y="914080"/>
                </a:cubicBezTo>
                <a:cubicBezTo>
                  <a:pt x="6211905" y="878366"/>
                  <a:pt x="6240857" y="849415"/>
                  <a:pt x="6276571" y="849415"/>
                </a:cubicBezTo>
                <a:close/>
                <a:moveTo>
                  <a:pt x="6119999" y="849415"/>
                </a:moveTo>
                <a:cubicBezTo>
                  <a:pt x="6155713" y="849415"/>
                  <a:pt x="6184665" y="878366"/>
                  <a:pt x="6184665" y="914080"/>
                </a:cubicBezTo>
                <a:cubicBezTo>
                  <a:pt x="6184665" y="949766"/>
                  <a:pt x="6155713" y="978717"/>
                  <a:pt x="6119999" y="978717"/>
                </a:cubicBezTo>
                <a:cubicBezTo>
                  <a:pt x="6084285" y="978717"/>
                  <a:pt x="6055333" y="949766"/>
                  <a:pt x="6055333" y="914080"/>
                </a:cubicBezTo>
                <a:cubicBezTo>
                  <a:pt x="6055333" y="878366"/>
                  <a:pt x="6084285" y="849415"/>
                  <a:pt x="6119999" y="849415"/>
                </a:cubicBezTo>
                <a:close/>
                <a:moveTo>
                  <a:pt x="5967339" y="849415"/>
                </a:moveTo>
                <a:cubicBezTo>
                  <a:pt x="6003053" y="849415"/>
                  <a:pt x="6032005" y="878366"/>
                  <a:pt x="6032005" y="914080"/>
                </a:cubicBezTo>
                <a:cubicBezTo>
                  <a:pt x="6032005" y="949766"/>
                  <a:pt x="6003053" y="978717"/>
                  <a:pt x="5967339" y="978717"/>
                </a:cubicBezTo>
                <a:cubicBezTo>
                  <a:pt x="5931625" y="978717"/>
                  <a:pt x="5902673" y="949766"/>
                  <a:pt x="5902673" y="914080"/>
                </a:cubicBezTo>
                <a:cubicBezTo>
                  <a:pt x="5902673" y="878366"/>
                  <a:pt x="5931625" y="849415"/>
                  <a:pt x="5967339" y="849415"/>
                </a:cubicBezTo>
                <a:close/>
                <a:moveTo>
                  <a:pt x="4566030" y="849415"/>
                </a:moveTo>
                <a:cubicBezTo>
                  <a:pt x="4601751" y="849415"/>
                  <a:pt x="4630712" y="878366"/>
                  <a:pt x="4630712" y="914081"/>
                </a:cubicBezTo>
                <a:cubicBezTo>
                  <a:pt x="4630712" y="949766"/>
                  <a:pt x="4601751" y="978717"/>
                  <a:pt x="4566030" y="978717"/>
                </a:cubicBezTo>
                <a:cubicBezTo>
                  <a:pt x="4530304" y="978717"/>
                  <a:pt x="4501345" y="949766"/>
                  <a:pt x="4501345" y="914081"/>
                </a:cubicBezTo>
                <a:cubicBezTo>
                  <a:pt x="4501345" y="878366"/>
                  <a:pt x="4530304" y="849415"/>
                  <a:pt x="4566030" y="849415"/>
                </a:cubicBezTo>
                <a:close/>
                <a:moveTo>
                  <a:pt x="4409471" y="849415"/>
                </a:moveTo>
                <a:cubicBezTo>
                  <a:pt x="4445169" y="849415"/>
                  <a:pt x="4474113" y="878366"/>
                  <a:pt x="4474113" y="914081"/>
                </a:cubicBezTo>
                <a:cubicBezTo>
                  <a:pt x="4474113" y="949766"/>
                  <a:pt x="4445169" y="978717"/>
                  <a:pt x="4409471" y="978717"/>
                </a:cubicBezTo>
                <a:cubicBezTo>
                  <a:pt x="4373772" y="978717"/>
                  <a:pt x="4344809" y="949766"/>
                  <a:pt x="4344809" y="914081"/>
                </a:cubicBezTo>
                <a:cubicBezTo>
                  <a:pt x="4344809" y="878366"/>
                  <a:pt x="4373772" y="849415"/>
                  <a:pt x="4409471" y="849415"/>
                </a:cubicBezTo>
                <a:close/>
                <a:moveTo>
                  <a:pt x="4256823" y="849415"/>
                </a:moveTo>
                <a:cubicBezTo>
                  <a:pt x="4292543" y="849415"/>
                  <a:pt x="4321471" y="878366"/>
                  <a:pt x="4321471" y="914081"/>
                </a:cubicBezTo>
                <a:cubicBezTo>
                  <a:pt x="4321471" y="949766"/>
                  <a:pt x="4292543" y="978717"/>
                  <a:pt x="4256823" y="978717"/>
                </a:cubicBezTo>
                <a:cubicBezTo>
                  <a:pt x="4221105" y="978717"/>
                  <a:pt x="4192125" y="949766"/>
                  <a:pt x="4192125" y="914081"/>
                </a:cubicBezTo>
                <a:cubicBezTo>
                  <a:pt x="4192125" y="878366"/>
                  <a:pt x="4221105" y="849415"/>
                  <a:pt x="4256823" y="849415"/>
                </a:cubicBezTo>
                <a:close/>
                <a:moveTo>
                  <a:pt x="4100249" y="849415"/>
                </a:moveTo>
                <a:cubicBezTo>
                  <a:pt x="4135950" y="849415"/>
                  <a:pt x="4164920" y="878366"/>
                  <a:pt x="4164920" y="914081"/>
                </a:cubicBezTo>
                <a:cubicBezTo>
                  <a:pt x="4164920" y="949766"/>
                  <a:pt x="4135950" y="978717"/>
                  <a:pt x="4100249" y="978717"/>
                </a:cubicBezTo>
                <a:cubicBezTo>
                  <a:pt x="4064526" y="978717"/>
                  <a:pt x="4035594" y="949766"/>
                  <a:pt x="4035594" y="914081"/>
                </a:cubicBezTo>
                <a:cubicBezTo>
                  <a:pt x="4035594" y="878366"/>
                  <a:pt x="4064526" y="849415"/>
                  <a:pt x="4100249" y="849415"/>
                </a:cubicBezTo>
                <a:close/>
                <a:moveTo>
                  <a:pt x="3947579" y="849415"/>
                </a:moveTo>
                <a:cubicBezTo>
                  <a:pt x="3983297" y="849415"/>
                  <a:pt x="4012257" y="878366"/>
                  <a:pt x="4012257" y="914081"/>
                </a:cubicBezTo>
                <a:cubicBezTo>
                  <a:pt x="4012257" y="949766"/>
                  <a:pt x="3983297" y="978717"/>
                  <a:pt x="3947579" y="978717"/>
                </a:cubicBezTo>
                <a:cubicBezTo>
                  <a:pt x="3911999" y="978717"/>
                  <a:pt x="3883050" y="949766"/>
                  <a:pt x="3883050" y="914081"/>
                </a:cubicBezTo>
                <a:cubicBezTo>
                  <a:pt x="3883050" y="878366"/>
                  <a:pt x="3911999" y="849415"/>
                  <a:pt x="3947579" y="849415"/>
                </a:cubicBezTo>
                <a:close/>
                <a:moveTo>
                  <a:pt x="3321438" y="849415"/>
                </a:moveTo>
                <a:cubicBezTo>
                  <a:pt x="3357150" y="849415"/>
                  <a:pt x="3386080" y="878366"/>
                  <a:pt x="3386080" y="914081"/>
                </a:cubicBezTo>
                <a:cubicBezTo>
                  <a:pt x="3386080" y="949766"/>
                  <a:pt x="3357150" y="978717"/>
                  <a:pt x="3321438" y="978717"/>
                </a:cubicBezTo>
                <a:cubicBezTo>
                  <a:pt x="3285716" y="978717"/>
                  <a:pt x="3256776" y="949766"/>
                  <a:pt x="3256776" y="914081"/>
                </a:cubicBezTo>
                <a:cubicBezTo>
                  <a:pt x="3256776" y="878366"/>
                  <a:pt x="3285716" y="849415"/>
                  <a:pt x="3321438" y="849415"/>
                </a:cubicBezTo>
                <a:close/>
                <a:moveTo>
                  <a:pt x="3172684" y="849415"/>
                </a:moveTo>
                <a:cubicBezTo>
                  <a:pt x="3208407" y="849415"/>
                  <a:pt x="3237355" y="878366"/>
                  <a:pt x="3237355" y="914081"/>
                </a:cubicBezTo>
                <a:cubicBezTo>
                  <a:pt x="3237355" y="949766"/>
                  <a:pt x="3208407" y="978717"/>
                  <a:pt x="3172684" y="978717"/>
                </a:cubicBezTo>
                <a:cubicBezTo>
                  <a:pt x="3136959" y="978717"/>
                  <a:pt x="3107997" y="949766"/>
                  <a:pt x="3107997" y="914081"/>
                </a:cubicBezTo>
                <a:cubicBezTo>
                  <a:pt x="3107997" y="878366"/>
                  <a:pt x="3136959" y="849415"/>
                  <a:pt x="3172684" y="849415"/>
                </a:cubicBezTo>
                <a:close/>
                <a:moveTo>
                  <a:pt x="3012161" y="849415"/>
                </a:moveTo>
                <a:cubicBezTo>
                  <a:pt x="3047872" y="849415"/>
                  <a:pt x="3076833" y="878366"/>
                  <a:pt x="3076833" y="914081"/>
                </a:cubicBezTo>
                <a:cubicBezTo>
                  <a:pt x="3076833" y="949766"/>
                  <a:pt x="3047872" y="978717"/>
                  <a:pt x="3012161" y="978717"/>
                </a:cubicBezTo>
                <a:cubicBezTo>
                  <a:pt x="2976453" y="978717"/>
                  <a:pt x="2947506" y="949766"/>
                  <a:pt x="2947506" y="914081"/>
                </a:cubicBezTo>
                <a:cubicBezTo>
                  <a:pt x="2947506" y="878366"/>
                  <a:pt x="2976453" y="849415"/>
                  <a:pt x="3012161" y="849415"/>
                </a:cubicBezTo>
                <a:close/>
                <a:moveTo>
                  <a:pt x="2855618" y="849415"/>
                </a:moveTo>
                <a:cubicBezTo>
                  <a:pt x="2891321" y="849415"/>
                  <a:pt x="2920269" y="878366"/>
                  <a:pt x="2920269" y="914081"/>
                </a:cubicBezTo>
                <a:cubicBezTo>
                  <a:pt x="2920269" y="949766"/>
                  <a:pt x="2891321" y="978717"/>
                  <a:pt x="2855618" y="978717"/>
                </a:cubicBezTo>
                <a:cubicBezTo>
                  <a:pt x="2819907" y="978717"/>
                  <a:pt x="2790958" y="949766"/>
                  <a:pt x="2790958" y="914081"/>
                </a:cubicBezTo>
                <a:cubicBezTo>
                  <a:pt x="2790958" y="878366"/>
                  <a:pt x="2819907" y="849415"/>
                  <a:pt x="2855618" y="849415"/>
                </a:cubicBezTo>
                <a:close/>
                <a:moveTo>
                  <a:pt x="2699069" y="849415"/>
                </a:moveTo>
                <a:cubicBezTo>
                  <a:pt x="2734777" y="849415"/>
                  <a:pt x="2763723" y="878366"/>
                  <a:pt x="2763723" y="914081"/>
                </a:cubicBezTo>
                <a:cubicBezTo>
                  <a:pt x="2763723" y="949766"/>
                  <a:pt x="2734777" y="978717"/>
                  <a:pt x="2699069" y="978717"/>
                </a:cubicBezTo>
                <a:cubicBezTo>
                  <a:pt x="2663361" y="978717"/>
                  <a:pt x="2634414" y="949766"/>
                  <a:pt x="2634414" y="914081"/>
                </a:cubicBezTo>
                <a:cubicBezTo>
                  <a:pt x="2634414" y="878366"/>
                  <a:pt x="2663361" y="849415"/>
                  <a:pt x="2699069" y="849415"/>
                </a:cubicBezTo>
                <a:close/>
                <a:moveTo>
                  <a:pt x="2546436" y="849415"/>
                </a:moveTo>
                <a:cubicBezTo>
                  <a:pt x="2582142" y="849415"/>
                  <a:pt x="2611091" y="878366"/>
                  <a:pt x="2611091" y="914081"/>
                </a:cubicBezTo>
                <a:cubicBezTo>
                  <a:pt x="2611091" y="949766"/>
                  <a:pt x="2582142" y="978717"/>
                  <a:pt x="2546436" y="978717"/>
                </a:cubicBezTo>
                <a:cubicBezTo>
                  <a:pt x="2510712" y="978717"/>
                  <a:pt x="2481777" y="949766"/>
                  <a:pt x="2481777" y="914081"/>
                </a:cubicBezTo>
                <a:cubicBezTo>
                  <a:pt x="2481777" y="878366"/>
                  <a:pt x="2510712" y="849415"/>
                  <a:pt x="2546436" y="849415"/>
                </a:cubicBezTo>
                <a:close/>
                <a:moveTo>
                  <a:pt x="2389845" y="849415"/>
                </a:moveTo>
                <a:cubicBezTo>
                  <a:pt x="2425594" y="849415"/>
                  <a:pt x="2454543" y="878366"/>
                  <a:pt x="2454543" y="914081"/>
                </a:cubicBezTo>
                <a:cubicBezTo>
                  <a:pt x="2454543" y="949766"/>
                  <a:pt x="2425594" y="978717"/>
                  <a:pt x="2389845" y="978717"/>
                </a:cubicBezTo>
                <a:cubicBezTo>
                  <a:pt x="2354165" y="978717"/>
                  <a:pt x="2325205" y="949766"/>
                  <a:pt x="2325205" y="914081"/>
                </a:cubicBezTo>
                <a:cubicBezTo>
                  <a:pt x="2325205" y="878366"/>
                  <a:pt x="2354165" y="849415"/>
                  <a:pt x="2389845" y="849415"/>
                </a:cubicBezTo>
                <a:close/>
                <a:moveTo>
                  <a:pt x="2237181" y="849415"/>
                </a:moveTo>
                <a:cubicBezTo>
                  <a:pt x="2272906" y="849415"/>
                  <a:pt x="2301870" y="878366"/>
                  <a:pt x="2301870" y="914081"/>
                </a:cubicBezTo>
                <a:cubicBezTo>
                  <a:pt x="2301870" y="949766"/>
                  <a:pt x="2272906" y="978717"/>
                  <a:pt x="2237181" y="978717"/>
                </a:cubicBezTo>
                <a:cubicBezTo>
                  <a:pt x="2201458" y="978717"/>
                  <a:pt x="2172494" y="949766"/>
                  <a:pt x="2172494" y="914081"/>
                </a:cubicBezTo>
                <a:cubicBezTo>
                  <a:pt x="2172494" y="878366"/>
                  <a:pt x="2201458" y="849415"/>
                  <a:pt x="2237181" y="849415"/>
                </a:cubicBezTo>
                <a:close/>
                <a:moveTo>
                  <a:pt x="2084492" y="849415"/>
                </a:moveTo>
                <a:cubicBezTo>
                  <a:pt x="2120215" y="849415"/>
                  <a:pt x="2149161" y="878366"/>
                  <a:pt x="2149161" y="914081"/>
                </a:cubicBezTo>
                <a:cubicBezTo>
                  <a:pt x="2149161" y="949766"/>
                  <a:pt x="2120215" y="978717"/>
                  <a:pt x="2084492" y="978717"/>
                </a:cubicBezTo>
                <a:cubicBezTo>
                  <a:pt x="2048764" y="978717"/>
                  <a:pt x="2019859" y="949766"/>
                  <a:pt x="2019859" y="914081"/>
                </a:cubicBezTo>
                <a:cubicBezTo>
                  <a:pt x="2019859" y="878366"/>
                  <a:pt x="2048764" y="849415"/>
                  <a:pt x="2084492" y="849415"/>
                </a:cubicBezTo>
                <a:close/>
                <a:moveTo>
                  <a:pt x="1927912" y="849415"/>
                </a:moveTo>
                <a:cubicBezTo>
                  <a:pt x="1963627" y="849415"/>
                  <a:pt x="1992599" y="878366"/>
                  <a:pt x="1992599" y="914081"/>
                </a:cubicBezTo>
                <a:cubicBezTo>
                  <a:pt x="1992599" y="949766"/>
                  <a:pt x="1963627" y="978717"/>
                  <a:pt x="1927912" y="978717"/>
                </a:cubicBezTo>
                <a:cubicBezTo>
                  <a:pt x="1892231" y="978717"/>
                  <a:pt x="1863278" y="949766"/>
                  <a:pt x="1863278" y="914081"/>
                </a:cubicBezTo>
                <a:cubicBezTo>
                  <a:pt x="1863278" y="878366"/>
                  <a:pt x="1892231" y="849415"/>
                  <a:pt x="1927912" y="849415"/>
                </a:cubicBezTo>
                <a:close/>
                <a:moveTo>
                  <a:pt x="1775257" y="849415"/>
                </a:moveTo>
                <a:cubicBezTo>
                  <a:pt x="1810960" y="849415"/>
                  <a:pt x="1839946" y="878366"/>
                  <a:pt x="1839946" y="914081"/>
                </a:cubicBezTo>
                <a:cubicBezTo>
                  <a:pt x="1839946" y="949766"/>
                  <a:pt x="1810960" y="978717"/>
                  <a:pt x="1775257" y="978717"/>
                </a:cubicBezTo>
                <a:cubicBezTo>
                  <a:pt x="1739536" y="978717"/>
                  <a:pt x="1710583" y="949766"/>
                  <a:pt x="1710583" y="914081"/>
                </a:cubicBezTo>
                <a:cubicBezTo>
                  <a:pt x="1710583" y="878366"/>
                  <a:pt x="1739536" y="849415"/>
                  <a:pt x="1775257" y="849415"/>
                </a:cubicBezTo>
                <a:close/>
                <a:moveTo>
                  <a:pt x="1618671" y="849415"/>
                </a:moveTo>
                <a:cubicBezTo>
                  <a:pt x="1654394" y="849415"/>
                  <a:pt x="1683342" y="878366"/>
                  <a:pt x="1683342" y="914081"/>
                </a:cubicBezTo>
                <a:cubicBezTo>
                  <a:pt x="1683342" y="949766"/>
                  <a:pt x="1654394" y="978717"/>
                  <a:pt x="1618671" y="978717"/>
                </a:cubicBezTo>
                <a:cubicBezTo>
                  <a:pt x="1582962" y="978717"/>
                  <a:pt x="1554009" y="949766"/>
                  <a:pt x="1554009" y="914081"/>
                </a:cubicBezTo>
                <a:cubicBezTo>
                  <a:pt x="1554009" y="878366"/>
                  <a:pt x="1582962" y="849415"/>
                  <a:pt x="1618671" y="849415"/>
                </a:cubicBezTo>
                <a:close/>
                <a:moveTo>
                  <a:pt x="1466016" y="849415"/>
                </a:moveTo>
                <a:cubicBezTo>
                  <a:pt x="1501729" y="849415"/>
                  <a:pt x="1530681" y="878366"/>
                  <a:pt x="1530681" y="914081"/>
                </a:cubicBezTo>
                <a:cubicBezTo>
                  <a:pt x="1530681" y="949766"/>
                  <a:pt x="1501729" y="978717"/>
                  <a:pt x="1466016" y="978717"/>
                </a:cubicBezTo>
                <a:cubicBezTo>
                  <a:pt x="1430302" y="978717"/>
                  <a:pt x="1401353" y="949766"/>
                  <a:pt x="1401353" y="914081"/>
                </a:cubicBezTo>
                <a:cubicBezTo>
                  <a:pt x="1401353" y="878366"/>
                  <a:pt x="1430302" y="849415"/>
                  <a:pt x="1466016" y="849415"/>
                </a:cubicBezTo>
                <a:close/>
                <a:moveTo>
                  <a:pt x="1309444" y="849415"/>
                </a:moveTo>
                <a:cubicBezTo>
                  <a:pt x="1345157" y="849415"/>
                  <a:pt x="1374109" y="878366"/>
                  <a:pt x="1374109" y="914081"/>
                </a:cubicBezTo>
                <a:cubicBezTo>
                  <a:pt x="1374109" y="949766"/>
                  <a:pt x="1345157" y="978717"/>
                  <a:pt x="1309444" y="978717"/>
                </a:cubicBezTo>
                <a:cubicBezTo>
                  <a:pt x="1273729" y="978717"/>
                  <a:pt x="1244778" y="949766"/>
                  <a:pt x="1244778" y="914081"/>
                </a:cubicBezTo>
                <a:cubicBezTo>
                  <a:pt x="1244778" y="878366"/>
                  <a:pt x="1273729" y="849415"/>
                  <a:pt x="1309444" y="849415"/>
                </a:cubicBezTo>
                <a:close/>
                <a:moveTo>
                  <a:pt x="1148959" y="849415"/>
                </a:moveTo>
                <a:cubicBezTo>
                  <a:pt x="1184673" y="849415"/>
                  <a:pt x="1213624" y="878366"/>
                  <a:pt x="1213624" y="914081"/>
                </a:cubicBezTo>
                <a:cubicBezTo>
                  <a:pt x="1213624" y="949766"/>
                  <a:pt x="1184673" y="978717"/>
                  <a:pt x="1148959" y="978717"/>
                </a:cubicBezTo>
                <a:cubicBezTo>
                  <a:pt x="1113245" y="978717"/>
                  <a:pt x="1084294" y="949766"/>
                  <a:pt x="1084294" y="914081"/>
                </a:cubicBezTo>
                <a:cubicBezTo>
                  <a:pt x="1084294" y="878366"/>
                  <a:pt x="1113245" y="849415"/>
                  <a:pt x="1148959" y="849415"/>
                </a:cubicBezTo>
                <a:close/>
                <a:moveTo>
                  <a:pt x="10625392" y="849414"/>
                </a:moveTo>
                <a:cubicBezTo>
                  <a:pt x="10661106" y="849414"/>
                  <a:pt x="10690058" y="878365"/>
                  <a:pt x="10690058" y="914079"/>
                </a:cubicBezTo>
                <a:cubicBezTo>
                  <a:pt x="10690058" y="949766"/>
                  <a:pt x="10661106" y="978717"/>
                  <a:pt x="10625392" y="978717"/>
                </a:cubicBezTo>
                <a:cubicBezTo>
                  <a:pt x="10589678" y="978717"/>
                  <a:pt x="10560726" y="949766"/>
                  <a:pt x="10560726" y="914079"/>
                </a:cubicBezTo>
                <a:cubicBezTo>
                  <a:pt x="10560726" y="878365"/>
                  <a:pt x="10589678" y="849414"/>
                  <a:pt x="10625392" y="849414"/>
                </a:cubicBezTo>
                <a:close/>
                <a:moveTo>
                  <a:pt x="10468818" y="849414"/>
                </a:moveTo>
                <a:cubicBezTo>
                  <a:pt x="10504532" y="849414"/>
                  <a:pt x="10533484" y="878365"/>
                  <a:pt x="10533484" y="914079"/>
                </a:cubicBezTo>
                <a:cubicBezTo>
                  <a:pt x="10533484" y="949766"/>
                  <a:pt x="10504532" y="978717"/>
                  <a:pt x="10468818" y="978717"/>
                </a:cubicBezTo>
                <a:cubicBezTo>
                  <a:pt x="10433104" y="978717"/>
                  <a:pt x="10404152" y="949766"/>
                  <a:pt x="10404152" y="914079"/>
                </a:cubicBezTo>
                <a:cubicBezTo>
                  <a:pt x="10404152" y="878365"/>
                  <a:pt x="10433104" y="849414"/>
                  <a:pt x="10468818" y="849414"/>
                </a:cubicBezTo>
                <a:close/>
                <a:moveTo>
                  <a:pt x="10312244" y="849414"/>
                </a:moveTo>
                <a:cubicBezTo>
                  <a:pt x="10347958" y="849414"/>
                  <a:pt x="10376910" y="878365"/>
                  <a:pt x="10376910" y="914079"/>
                </a:cubicBezTo>
                <a:cubicBezTo>
                  <a:pt x="10376910" y="949766"/>
                  <a:pt x="10347958" y="978717"/>
                  <a:pt x="10312244" y="978717"/>
                </a:cubicBezTo>
                <a:cubicBezTo>
                  <a:pt x="10276530" y="978717"/>
                  <a:pt x="10247578" y="949766"/>
                  <a:pt x="10247578" y="914079"/>
                </a:cubicBezTo>
                <a:cubicBezTo>
                  <a:pt x="10247578" y="878365"/>
                  <a:pt x="10276530" y="849414"/>
                  <a:pt x="10312244" y="849414"/>
                </a:cubicBezTo>
                <a:close/>
                <a:moveTo>
                  <a:pt x="10159586" y="849414"/>
                </a:moveTo>
                <a:cubicBezTo>
                  <a:pt x="10195300" y="849414"/>
                  <a:pt x="10224252" y="878365"/>
                  <a:pt x="10224252" y="914079"/>
                </a:cubicBezTo>
                <a:cubicBezTo>
                  <a:pt x="10224252" y="949766"/>
                  <a:pt x="10195300" y="978717"/>
                  <a:pt x="10159586" y="978717"/>
                </a:cubicBezTo>
                <a:cubicBezTo>
                  <a:pt x="10123872" y="978717"/>
                  <a:pt x="10094920" y="949766"/>
                  <a:pt x="10094920" y="914079"/>
                </a:cubicBezTo>
                <a:cubicBezTo>
                  <a:pt x="10094920" y="878365"/>
                  <a:pt x="10123872" y="849414"/>
                  <a:pt x="10159586" y="849414"/>
                </a:cubicBezTo>
                <a:close/>
                <a:moveTo>
                  <a:pt x="10003016" y="849414"/>
                </a:moveTo>
                <a:cubicBezTo>
                  <a:pt x="10038730" y="849414"/>
                  <a:pt x="10067682" y="878365"/>
                  <a:pt x="10067682" y="914079"/>
                </a:cubicBezTo>
                <a:cubicBezTo>
                  <a:pt x="10067682" y="949766"/>
                  <a:pt x="10038730" y="978717"/>
                  <a:pt x="10003016" y="978717"/>
                </a:cubicBezTo>
                <a:cubicBezTo>
                  <a:pt x="9967302" y="978717"/>
                  <a:pt x="9938350" y="949766"/>
                  <a:pt x="9938350" y="914079"/>
                </a:cubicBezTo>
                <a:cubicBezTo>
                  <a:pt x="9938350" y="878365"/>
                  <a:pt x="9967302" y="849414"/>
                  <a:pt x="10003016" y="849414"/>
                </a:cubicBezTo>
                <a:close/>
                <a:moveTo>
                  <a:pt x="9850358" y="849414"/>
                </a:moveTo>
                <a:cubicBezTo>
                  <a:pt x="9886072" y="849414"/>
                  <a:pt x="9915024" y="878365"/>
                  <a:pt x="9915024" y="914079"/>
                </a:cubicBezTo>
                <a:cubicBezTo>
                  <a:pt x="9915024" y="949766"/>
                  <a:pt x="9886072" y="978717"/>
                  <a:pt x="9850358" y="978717"/>
                </a:cubicBezTo>
                <a:cubicBezTo>
                  <a:pt x="9814644" y="978717"/>
                  <a:pt x="9785692" y="949766"/>
                  <a:pt x="9785692" y="914079"/>
                </a:cubicBezTo>
                <a:cubicBezTo>
                  <a:pt x="9785692" y="878365"/>
                  <a:pt x="9814644" y="849414"/>
                  <a:pt x="9850358" y="849414"/>
                </a:cubicBezTo>
                <a:close/>
                <a:moveTo>
                  <a:pt x="9693783" y="849414"/>
                </a:moveTo>
                <a:cubicBezTo>
                  <a:pt x="9729497" y="849414"/>
                  <a:pt x="9758449" y="878365"/>
                  <a:pt x="9758449" y="914079"/>
                </a:cubicBezTo>
                <a:cubicBezTo>
                  <a:pt x="9758449" y="949766"/>
                  <a:pt x="9729497" y="978717"/>
                  <a:pt x="9693783" y="978717"/>
                </a:cubicBezTo>
                <a:cubicBezTo>
                  <a:pt x="9658069" y="978717"/>
                  <a:pt x="9629117" y="949766"/>
                  <a:pt x="9629117" y="914079"/>
                </a:cubicBezTo>
                <a:cubicBezTo>
                  <a:pt x="9629117" y="878365"/>
                  <a:pt x="9658069" y="849414"/>
                  <a:pt x="9693783" y="849414"/>
                </a:cubicBezTo>
                <a:close/>
                <a:moveTo>
                  <a:pt x="9541123" y="849414"/>
                </a:moveTo>
                <a:cubicBezTo>
                  <a:pt x="9576837" y="849414"/>
                  <a:pt x="9605789" y="878365"/>
                  <a:pt x="9605789" y="914079"/>
                </a:cubicBezTo>
                <a:cubicBezTo>
                  <a:pt x="9605789" y="949766"/>
                  <a:pt x="9576837" y="978717"/>
                  <a:pt x="9541123" y="978717"/>
                </a:cubicBezTo>
                <a:cubicBezTo>
                  <a:pt x="9505409" y="978717"/>
                  <a:pt x="9476457" y="949766"/>
                  <a:pt x="9476457" y="914079"/>
                </a:cubicBezTo>
                <a:cubicBezTo>
                  <a:pt x="9476457" y="878365"/>
                  <a:pt x="9505409" y="849414"/>
                  <a:pt x="9541123" y="849414"/>
                </a:cubicBezTo>
                <a:close/>
                <a:moveTo>
                  <a:pt x="9384550" y="849414"/>
                </a:moveTo>
                <a:cubicBezTo>
                  <a:pt x="9420264" y="849414"/>
                  <a:pt x="9449216" y="878365"/>
                  <a:pt x="9449216" y="914079"/>
                </a:cubicBezTo>
                <a:cubicBezTo>
                  <a:pt x="9449216" y="949766"/>
                  <a:pt x="9420264" y="978717"/>
                  <a:pt x="9384550" y="978717"/>
                </a:cubicBezTo>
                <a:cubicBezTo>
                  <a:pt x="9348836" y="978717"/>
                  <a:pt x="9319884" y="949766"/>
                  <a:pt x="9319884" y="914079"/>
                </a:cubicBezTo>
                <a:cubicBezTo>
                  <a:pt x="9319884" y="878365"/>
                  <a:pt x="9348836" y="849414"/>
                  <a:pt x="9384550" y="849414"/>
                </a:cubicBezTo>
                <a:close/>
                <a:moveTo>
                  <a:pt x="9227977" y="849414"/>
                </a:moveTo>
                <a:cubicBezTo>
                  <a:pt x="9263691" y="849414"/>
                  <a:pt x="9292643" y="878365"/>
                  <a:pt x="9292643" y="914079"/>
                </a:cubicBezTo>
                <a:cubicBezTo>
                  <a:pt x="9292643" y="949766"/>
                  <a:pt x="9263691" y="978717"/>
                  <a:pt x="9227977" y="978717"/>
                </a:cubicBezTo>
                <a:cubicBezTo>
                  <a:pt x="9192263" y="978717"/>
                  <a:pt x="9163311" y="949766"/>
                  <a:pt x="9163311" y="914079"/>
                </a:cubicBezTo>
                <a:cubicBezTo>
                  <a:pt x="9163311" y="878365"/>
                  <a:pt x="9192263" y="849414"/>
                  <a:pt x="9227977" y="849414"/>
                </a:cubicBezTo>
                <a:close/>
                <a:moveTo>
                  <a:pt x="9075319" y="849414"/>
                </a:moveTo>
                <a:cubicBezTo>
                  <a:pt x="9111033" y="849414"/>
                  <a:pt x="9139985" y="878365"/>
                  <a:pt x="9139985" y="914079"/>
                </a:cubicBezTo>
                <a:cubicBezTo>
                  <a:pt x="9139985" y="949766"/>
                  <a:pt x="9111033" y="978717"/>
                  <a:pt x="9075319" y="978717"/>
                </a:cubicBezTo>
                <a:cubicBezTo>
                  <a:pt x="9039605" y="978717"/>
                  <a:pt x="9010653" y="949766"/>
                  <a:pt x="9010653" y="914079"/>
                </a:cubicBezTo>
                <a:cubicBezTo>
                  <a:pt x="9010653" y="878365"/>
                  <a:pt x="9039605" y="849414"/>
                  <a:pt x="9075319" y="849414"/>
                </a:cubicBezTo>
                <a:close/>
                <a:moveTo>
                  <a:pt x="8914831" y="849414"/>
                </a:moveTo>
                <a:cubicBezTo>
                  <a:pt x="8950545" y="849414"/>
                  <a:pt x="8979497" y="878365"/>
                  <a:pt x="8979497" y="914079"/>
                </a:cubicBezTo>
                <a:cubicBezTo>
                  <a:pt x="8979497" y="949766"/>
                  <a:pt x="8950545" y="978717"/>
                  <a:pt x="8914831" y="978717"/>
                </a:cubicBezTo>
                <a:cubicBezTo>
                  <a:pt x="8879117" y="978717"/>
                  <a:pt x="8850165" y="949766"/>
                  <a:pt x="8850165" y="914079"/>
                </a:cubicBezTo>
                <a:cubicBezTo>
                  <a:pt x="8850165" y="878365"/>
                  <a:pt x="8879117" y="849414"/>
                  <a:pt x="8914831" y="849414"/>
                </a:cubicBezTo>
                <a:close/>
                <a:moveTo>
                  <a:pt x="8766086" y="849414"/>
                </a:moveTo>
                <a:cubicBezTo>
                  <a:pt x="8801800" y="849414"/>
                  <a:pt x="8830752" y="878366"/>
                  <a:pt x="8830752" y="914079"/>
                </a:cubicBezTo>
                <a:cubicBezTo>
                  <a:pt x="8830752" y="949766"/>
                  <a:pt x="8801800" y="978717"/>
                  <a:pt x="8766086" y="978717"/>
                </a:cubicBezTo>
                <a:cubicBezTo>
                  <a:pt x="8730372" y="978717"/>
                  <a:pt x="8701420" y="949766"/>
                  <a:pt x="8701420" y="914079"/>
                </a:cubicBezTo>
                <a:cubicBezTo>
                  <a:pt x="8701420" y="878366"/>
                  <a:pt x="8730372" y="849414"/>
                  <a:pt x="8766086" y="849414"/>
                </a:cubicBezTo>
                <a:close/>
                <a:moveTo>
                  <a:pt x="8601683" y="849414"/>
                </a:moveTo>
                <a:cubicBezTo>
                  <a:pt x="8637397" y="849414"/>
                  <a:pt x="8666349" y="878366"/>
                  <a:pt x="8666349" y="914079"/>
                </a:cubicBezTo>
                <a:cubicBezTo>
                  <a:pt x="8666349" y="949766"/>
                  <a:pt x="8637397" y="978717"/>
                  <a:pt x="8601683" y="978717"/>
                </a:cubicBezTo>
                <a:cubicBezTo>
                  <a:pt x="8565969" y="978717"/>
                  <a:pt x="8537017" y="949766"/>
                  <a:pt x="8537017" y="914079"/>
                </a:cubicBezTo>
                <a:cubicBezTo>
                  <a:pt x="8537017" y="878366"/>
                  <a:pt x="8565969" y="849414"/>
                  <a:pt x="8601683" y="849414"/>
                </a:cubicBezTo>
                <a:close/>
                <a:moveTo>
                  <a:pt x="8449025" y="849414"/>
                </a:moveTo>
                <a:cubicBezTo>
                  <a:pt x="8484739" y="849414"/>
                  <a:pt x="8513691" y="878366"/>
                  <a:pt x="8513691" y="914079"/>
                </a:cubicBezTo>
                <a:cubicBezTo>
                  <a:pt x="8513691" y="949766"/>
                  <a:pt x="8484739" y="978717"/>
                  <a:pt x="8449025" y="978717"/>
                </a:cubicBezTo>
                <a:cubicBezTo>
                  <a:pt x="8413311" y="978717"/>
                  <a:pt x="8384359" y="949766"/>
                  <a:pt x="8384359" y="914079"/>
                </a:cubicBezTo>
                <a:cubicBezTo>
                  <a:pt x="8384359" y="878366"/>
                  <a:pt x="8413311" y="849414"/>
                  <a:pt x="8449025" y="849414"/>
                </a:cubicBezTo>
                <a:close/>
                <a:moveTo>
                  <a:pt x="8296368" y="849414"/>
                </a:moveTo>
                <a:cubicBezTo>
                  <a:pt x="8332082" y="849414"/>
                  <a:pt x="8361034" y="878366"/>
                  <a:pt x="8361034" y="914079"/>
                </a:cubicBezTo>
                <a:cubicBezTo>
                  <a:pt x="8361034" y="949766"/>
                  <a:pt x="8332082" y="978717"/>
                  <a:pt x="8296368" y="978717"/>
                </a:cubicBezTo>
                <a:cubicBezTo>
                  <a:pt x="8260654" y="978717"/>
                  <a:pt x="8231702" y="949766"/>
                  <a:pt x="8231702" y="914079"/>
                </a:cubicBezTo>
                <a:cubicBezTo>
                  <a:pt x="8231702" y="878366"/>
                  <a:pt x="8260654" y="849414"/>
                  <a:pt x="8296368" y="849414"/>
                </a:cubicBezTo>
                <a:close/>
                <a:moveTo>
                  <a:pt x="8139793" y="849414"/>
                </a:moveTo>
                <a:cubicBezTo>
                  <a:pt x="8175507" y="849414"/>
                  <a:pt x="8204459" y="878366"/>
                  <a:pt x="8204459" y="914079"/>
                </a:cubicBezTo>
                <a:cubicBezTo>
                  <a:pt x="8204459" y="949766"/>
                  <a:pt x="8175507" y="978717"/>
                  <a:pt x="8139793" y="978717"/>
                </a:cubicBezTo>
                <a:cubicBezTo>
                  <a:pt x="8104079" y="978717"/>
                  <a:pt x="8075127" y="949766"/>
                  <a:pt x="8075127" y="914079"/>
                </a:cubicBezTo>
                <a:cubicBezTo>
                  <a:pt x="8075127" y="878366"/>
                  <a:pt x="8104079" y="849414"/>
                  <a:pt x="8139793" y="849414"/>
                </a:cubicBezTo>
                <a:close/>
                <a:moveTo>
                  <a:pt x="7987133" y="849414"/>
                </a:moveTo>
                <a:cubicBezTo>
                  <a:pt x="8022847" y="849414"/>
                  <a:pt x="8051799" y="878366"/>
                  <a:pt x="8051799" y="914079"/>
                </a:cubicBezTo>
                <a:cubicBezTo>
                  <a:pt x="8051799" y="949766"/>
                  <a:pt x="8022847" y="978717"/>
                  <a:pt x="7987133" y="978717"/>
                </a:cubicBezTo>
                <a:cubicBezTo>
                  <a:pt x="7951419" y="978717"/>
                  <a:pt x="7922467" y="949766"/>
                  <a:pt x="7922467" y="914079"/>
                </a:cubicBezTo>
                <a:cubicBezTo>
                  <a:pt x="7922467" y="878366"/>
                  <a:pt x="7951419" y="849414"/>
                  <a:pt x="7987133" y="849414"/>
                </a:cubicBezTo>
                <a:close/>
                <a:moveTo>
                  <a:pt x="7830562" y="849414"/>
                </a:moveTo>
                <a:cubicBezTo>
                  <a:pt x="7866276" y="849414"/>
                  <a:pt x="7895228" y="878366"/>
                  <a:pt x="7895228" y="914079"/>
                </a:cubicBezTo>
                <a:cubicBezTo>
                  <a:pt x="7895228" y="949766"/>
                  <a:pt x="7866276" y="978717"/>
                  <a:pt x="7830562" y="978717"/>
                </a:cubicBezTo>
                <a:cubicBezTo>
                  <a:pt x="7794848" y="978717"/>
                  <a:pt x="7765896" y="949766"/>
                  <a:pt x="7765896" y="914079"/>
                </a:cubicBezTo>
                <a:cubicBezTo>
                  <a:pt x="7765896" y="878366"/>
                  <a:pt x="7794848" y="849414"/>
                  <a:pt x="7830562" y="849414"/>
                </a:cubicBezTo>
                <a:close/>
                <a:moveTo>
                  <a:pt x="11404343" y="849412"/>
                </a:moveTo>
                <a:cubicBezTo>
                  <a:pt x="11440057" y="849412"/>
                  <a:pt x="11469009" y="878364"/>
                  <a:pt x="11469009" y="914079"/>
                </a:cubicBezTo>
                <a:cubicBezTo>
                  <a:pt x="11469009" y="949766"/>
                  <a:pt x="11440057" y="978717"/>
                  <a:pt x="11404343" y="978717"/>
                </a:cubicBezTo>
                <a:cubicBezTo>
                  <a:pt x="11368629" y="978717"/>
                  <a:pt x="11339677" y="949766"/>
                  <a:pt x="11339677" y="914079"/>
                </a:cubicBezTo>
                <a:cubicBezTo>
                  <a:pt x="11339677" y="878364"/>
                  <a:pt x="11368629" y="849412"/>
                  <a:pt x="11404343" y="849412"/>
                </a:cubicBezTo>
                <a:close/>
                <a:moveTo>
                  <a:pt x="11251684" y="849412"/>
                </a:moveTo>
                <a:cubicBezTo>
                  <a:pt x="11287398" y="849412"/>
                  <a:pt x="11316350" y="878365"/>
                  <a:pt x="11316350" y="914079"/>
                </a:cubicBezTo>
                <a:cubicBezTo>
                  <a:pt x="11316350" y="949766"/>
                  <a:pt x="11287398" y="978717"/>
                  <a:pt x="11251684" y="978717"/>
                </a:cubicBezTo>
                <a:cubicBezTo>
                  <a:pt x="11215970" y="978717"/>
                  <a:pt x="11187018" y="949766"/>
                  <a:pt x="11187018" y="914079"/>
                </a:cubicBezTo>
                <a:cubicBezTo>
                  <a:pt x="11187018" y="878365"/>
                  <a:pt x="11215970" y="849412"/>
                  <a:pt x="11251684" y="849412"/>
                </a:cubicBezTo>
                <a:close/>
                <a:moveTo>
                  <a:pt x="11095111" y="849412"/>
                </a:moveTo>
                <a:cubicBezTo>
                  <a:pt x="11130825" y="849412"/>
                  <a:pt x="11159777" y="878365"/>
                  <a:pt x="11159777" y="914079"/>
                </a:cubicBezTo>
                <a:cubicBezTo>
                  <a:pt x="11159777" y="949766"/>
                  <a:pt x="11130825" y="978717"/>
                  <a:pt x="11095111" y="978717"/>
                </a:cubicBezTo>
                <a:cubicBezTo>
                  <a:pt x="11059397" y="978717"/>
                  <a:pt x="11030445" y="949766"/>
                  <a:pt x="11030445" y="914079"/>
                </a:cubicBezTo>
                <a:cubicBezTo>
                  <a:pt x="11030445" y="878365"/>
                  <a:pt x="11059397" y="849412"/>
                  <a:pt x="11095111" y="849412"/>
                </a:cubicBezTo>
                <a:close/>
                <a:moveTo>
                  <a:pt x="10938538" y="849412"/>
                </a:moveTo>
                <a:cubicBezTo>
                  <a:pt x="10974252" y="849412"/>
                  <a:pt x="11003204" y="878365"/>
                  <a:pt x="11003204" y="914079"/>
                </a:cubicBezTo>
                <a:cubicBezTo>
                  <a:pt x="11003204" y="949766"/>
                  <a:pt x="10974252" y="978717"/>
                  <a:pt x="10938538" y="978717"/>
                </a:cubicBezTo>
                <a:cubicBezTo>
                  <a:pt x="10902824" y="978717"/>
                  <a:pt x="10873872" y="949766"/>
                  <a:pt x="10873872" y="914079"/>
                </a:cubicBezTo>
                <a:cubicBezTo>
                  <a:pt x="10873872" y="878365"/>
                  <a:pt x="10902824" y="849412"/>
                  <a:pt x="10938538" y="849412"/>
                </a:cubicBezTo>
                <a:close/>
                <a:moveTo>
                  <a:pt x="10778051" y="849412"/>
                </a:moveTo>
                <a:cubicBezTo>
                  <a:pt x="10813765" y="849412"/>
                  <a:pt x="10842717" y="878365"/>
                  <a:pt x="10842717" y="914079"/>
                </a:cubicBezTo>
                <a:cubicBezTo>
                  <a:pt x="10842717" y="949766"/>
                  <a:pt x="10813765" y="978717"/>
                  <a:pt x="10778051" y="978717"/>
                </a:cubicBezTo>
                <a:cubicBezTo>
                  <a:pt x="10742337" y="978717"/>
                  <a:pt x="10713385" y="949766"/>
                  <a:pt x="10713385" y="914079"/>
                </a:cubicBezTo>
                <a:cubicBezTo>
                  <a:pt x="10713385" y="878365"/>
                  <a:pt x="10742337" y="849412"/>
                  <a:pt x="10778051" y="849412"/>
                </a:cubicBezTo>
                <a:close/>
                <a:moveTo>
                  <a:pt x="526578" y="849412"/>
                </a:moveTo>
                <a:cubicBezTo>
                  <a:pt x="562291" y="849412"/>
                  <a:pt x="591243" y="878364"/>
                  <a:pt x="591243" y="914079"/>
                </a:cubicBezTo>
                <a:cubicBezTo>
                  <a:pt x="591243" y="949766"/>
                  <a:pt x="562291" y="978717"/>
                  <a:pt x="526578" y="978717"/>
                </a:cubicBezTo>
                <a:cubicBezTo>
                  <a:pt x="490864" y="978717"/>
                  <a:pt x="461913" y="949766"/>
                  <a:pt x="461913" y="914079"/>
                </a:cubicBezTo>
                <a:cubicBezTo>
                  <a:pt x="461913" y="878364"/>
                  <a:pt x="490864" y="849412"/>
                  <a:pt x="526578" y="849412"/>
                </a:cubicBezTo>
                <a:close/>
                <a:moveTo>
                  <a:pt x="373922" y="849412"/>
                </a:moveTo>
                <a:cubicBezTo>
                  <a:pt x="409635" y="849412"/>
                  <a:pt x="438587" y="878364"/>
                  <a:pt x="438587" y="914079"/>
                </a:cubicBezTo>
                <a:cubicBezTo>
                  <a:pt x="438587" y="949766"/>
                  <a:pt x="409635" y="978717"/>
                  <a:pt x="373922" y="978717"/>
                </a:cubicBezTo>
                <a:cubicBezTo>
                  <a:pt x="338208" y="978717"/>
                  <a:pt x="309257" y="949766"/>
                  <a:pt x="309257" y="914079"/>
                </a:cubicBezTo>
                <a:cubicBezTo>
                  <a:pt x="309257" y="878364"/>
                  <a:pt x="338208" y="849412"/>
                  <a:pt x="373922" y="849412"/>
                </a:cubicBezTo>
                <a:close/>
                <a:moveTo>
                  <a:pt x="217353" y="849412"/>
                </a:moveTo>
                <a:cubicBezTo>
                  <a:pt x="253067" y="849412"/>
                  <a:pt x="282019" y="878364"/>
                  <a:pt x="282019" y="914079"/>
                </a:cubicBezTo>
                <a:cubicBezTo>
                  <a:pt x="282019" y="949766"/>
                  <a:pt x="253067" y="978717"/>
                  <a:pt x="217353" y="978717"/>
                </a:cubicBezTo>
                <a:cubicBezTo>
                  <a:pt x="181640" y="978717"/>
                  <a:pt x="152688" y="949766"/>
                  <a:pt x="152688" y="914079"/>
                </a:cubicBezTo>
                <a:cubicBezTo>
                  <a:pt x="152688" y="878364"/>
                  <a:pt x="181640" y="849412"/>
                  <a:pt x="217353" y="849412"/>
                </a:cubicBezTo>
                <a:close/>
                <a:moveTo>
                  <a:pt x="9384550" y="712411"/>
                </a:moveTo>
                <a:cubicBezTo>
                  <a:pt x="9420264" y="712411"/>
                  <a:pt x="9449216" y="741365"/>
                  <a:pt x="9449216" y="777076"/>
                </a:cubicBezTo>
                <a:cubicBezTo>
                  <a:pt x="9449216" y="812789"/>
                  <a:pt x="9420264" y="841744"/>
                  <a:pt x="9384550" y="841744"/>
                </a:cubicBezTo>
                <a:cubicBezTo>
                  <a:pt x="9348836" y="841744"/>
                  <a:pt x="9319884" y="812789"/>
                  <a:pt x="9319884" y="777076"/>
                </a:cubicBezTo>
                <a:cubicBezTo>
                  <a:pt x="9319884" y="741365"/>
                  <a:pt x="9348836" y="712411"/>
                  <a:pt x="9384550" y="712411"/>
                </a:cubicBezTo>
                <a:close/>
                <a:moveTo>
                  <a:pt x="9227977" y="712411"/>
                </a:moveTo>
                <a:cubicBezTo>
                  <a:pt x="9263691" y="712411"/>
                  <a:pt x="9292643" y="741365"/>
                  <a:pt x="9292643" y="777076"/>
                </a:cubicBezTo>
                <a:cubicBezTo>
                  <a:pt x="9292643" y="812789"/>
                  <a:pt x="9263691" y="841744"/>
                  <a:pt x="9227977" y="841744"/>
                </a:cubicBezTo>
                <a:cubicBezTo>
                  <a:pt x="9192263" y="841744"/>
                  <a:pt x="9163311" y="812789"/>
                  <a:pt x="9163311" y="777076"/>
                </a:cubicBezTo>
                <a:cubicBezTo>
                  <a:pt x="9163311" y="741365"/>
                  <a:pt x="9192263" y="712411"/>
                  <a:pt x="9227977" y="712411"/>
                </a:cubicBezTo>
                <a:close/>
                <a:moveTo>
                  <a:pt x="9075319" y="712411"/>
                </a:moveTo>
                <a:cubicBezTo>
                  <a:pt x="9111033" y="712411"/>
                  <a:pt x="9139985" y="741365"/>
                  <a:pt x="9139985" y="777076"/>
                </a:cubicBezTo>
                <a:cubicBezTo>
                  <a:pt x="9139985" y="812789"/>
                  <a:pt x="9111033" y="841744"/>
                  <a:pt x="9075319" y="841744"/>
                </a:cubicBezTo>
                <a:cubicBezTo>
                  <a:pt x="9039605" y="841744"/>
                  <a:pt x="9010653" y="812789"/>
                  <a:pt x="9010653" y="777076"/>
                </a:cubicBezTo>
                <a:cubicBezTo>
                  <a:pt x="9010653" y="741365"/>
                  <a:pt x="9039605" y="712411"/>
                  <a:pt x="9075319" y="712411"/>
                </a:cubicBezTo>
                <a:close/>
                <a:moveTo>
                  <a:pt x="8914831" y="712411"/>
                </a:moveTo>
                <a:cubicBezTo>
                  <a:pt x="8950545" y="712411"/>
                  <a:pt x="8979497" y="741365"/>
                  <a:pt x="8979497" y="777076"/>
                </a:cubicBezTo>
                <a:cubicBezTo>
                  <a:pt x="8979497" y="812789"/>
                  <a:pt x="8950545" y="841744"/>
                  <a:pt x="8914831" y="841744"/>
                </a:cubicBezTo>
                <a:cubicBezTo>
                  <a:pt x="8879117" y="841744"/>
                  <a:pt x="8850165" y="812789"/>
                  <a:pt x="8850165" y="777076"/>
                </a:cubicBezTo>
                <a:cubicBezTo>
                  <a:pt x="8850165" y="741365"/>
                  <a:pt x="8879117" y="712411"/>
                  <a:pt x="8914831" y="712411"/>
                </a:cubicBezTo>
                <a:close/>
                <a:moveTo>
                  <a:pt x="8766086" y="712411"/>
                </a:moveTo>
                <a:cubicBezTo>
                  <a:pt x="8801800" y="712411"/>
                  <a:pt x="8830752" y="741365"/>
                  <a:pt x="8830752" y="777076"/>
                </a:cubicBezTo>
                <a:cubicBezTo>
                  <a:pt x="8830752" y="812789"/>
                  <a:pt x="8801800" y="841744"/>
                  <a:pt x="8766086" y="841744"/>
                </a:cubicBezTo>
                <a:cubicBezTo>
                  <a:pt x="8730372" y="841744"/>
                  <a:pt x="8701420" y="812789"/>
                  <a:pt x="8701420" y="777076"/>
                </a:cubicBezTo>
                <a:cubicBezTo>
                  <a:pt x="8701420" y="741365"/>
                  <a:pt x="8730372" y="712411"/>
                  <a:pt x="8766086" y="712411"/>
                </a:cubicBezTo>
                <a:close/>
                <a:moveTo>
                  <a:pt x="8601683" y="712411"/>
                </a:moveTo>
                <a:cubicBezTo>
                  <a:pt x="8637397" y="712411"/>
                  <a:pt x="8666349" y="741365"/>
                  <a:pt x="8666349" y="777076"/>
                </a:cubicBezTo>
                <a:cubicBezTo>
                  <a:pt x="8666349" y="812789"/>
                  <a:pt x="8637397" y="841744"/>
                  <a:pt x="8601683" y="841744"/>
                </a:cubicBezTo>
                <a:cubicBezTo>
                  <a:pt x="8565969" y="841744"/>
                  <a:pt x="8537017" y="812789"/>
                  <a:pt x="8537017" y="777076"/>
                </a:cubicBezTo>
                <a:cubicBezTo>
                  <a:pt x="8537017" y="741365"/>
                  <a:pt x="8565969" y="712411"/>
                  <a:pt x="8601683" y="712411"/>
                </a:cubicBezTo>
                <a:close/>
                <a:moveTo>
                  <a:pt x="8449025" y="712411"/>
                </a:moveTo>
                <a:cubicBezTo>
                  <a:pt x="8484739" y="712411"/>
                  <a:pt x="8513691" y="741365"/>
                  <a:pt x="8513691" y="777076"/>
                </a:cubicBezTo>
                <a:cubicBezTo>
                  <a:pt x="8513691" y="812789"/>
                  <a:pt x="8484739" y="841744"/>
                  <a:pt x="8449025" y="841744"/>
                </a:cubicBezTo>
                <a:cubicBezTo>
                  <a:pt x="8413311" y="841744"/>
                  <a:pt x="8384359" y="812789"/>
                  <a:pt x="8384359" y="777076"/>
                </a:cubicBezTo>
                <a:cubicBezTo>
                  <a:pt x="8384359" y="741365"/>
                  <a:pt x="8413311" y="712411"/>
                  <a:pt x="8449025" y="712411"/>
                </a:cubicBezTo>
                <a:close/>
                <a:moveTo>
                  <a:pt x="8296368" y="712411"/>
                </a:moveTo>
                <a:cubicBezTo>
                  <a:pt x="8332082" y="712411"/>
                  <a:pt x="8361034" y="741365"/>
                  <a:pt x="8361034" y="777076"/>
                </a:cubicBezTo>
                <a:cubicBezTo>
                  <a:pt x="8361034" y="812789"/>
                  <a:pt x="8332082" y="841744"/>
                  <a:pt x="8296368" y="841744"/>
                </a:cubicBezTo>
                <a:cubicBezTo>
                  <a:pt x="8260654" y="841744"/>
                  <a:pt x="8231702" y="812789"/>
                  <a:pt x="8231702" y="777076"/>
                </a:cubicBezTo>
                <a:cubicBezTo>
                  <a:pt x="8231702" y="741365"/>
                  <a:pt x="8260654" y="712411"/>
                  <a:pt x="8296368" y="712411"/>
                </a:cubicBezTo>
                <a:close/>
                <a:moveTo>
                  <a:pt x="8139793" y="712411"/>
                </a:moveTo>
                <a:cubicBezTo>
                  <a:pt x="8175507" y="712411"/>
                  <a:pt x="8204459" y="741365"/>
                  <a:pt x="8204459" y="777076"/>
                </a:cubicBezTo>
                <a:cubicBezTo>
                  <a:pt x="8204459" y="812789"/>
                  <a:pt x="8175507" y="841744"/>
                  <a:pt x="8139793" y="841744"/>
                </a:cubicBezTo>
                <a:cubicBezTo>
                  <a:pt x="8104079" y="841744"/>
                  <a:pt x="8075127" y="812789"/>
                  <a:pt x="8075127" y="777076"/>
                </a:cubicBezTo>
                <a:cubicBezTo>
                  <a:pt x="8075127" y="741365"/>
                  <a:pt x="8104079" y="712411"/>
                  <a:pt x="8139793" y="712411"/>
                </a:cubicBezTo>
                <a:close/>
                <a:moveTo>
                  <a:pt x="7987133" y="712411"/>
                </a:moveTo>
                <a:cubicBezTo>
                  <a:pt x="8022847" y="712411"/>
                  <a:pt x="8051799" y="741365"/>
                  <a:pt x="8051799" y="777076"/>
                </a:cubicBezTo>
                <a:cubicBezTo>
                  <a:pt x="8051799" y="812789"/>
                  <a:pt x="8022847" y="841744"/>
                  <a:pt x="7987133" y="841744"/>
                </a:cubicBezTo>
                <a:cubicBezTo>
                  <a:pt x="7951419" y="841744"/>
                  <a:pt x="7922467" y="812789"/>
                  <a:pt x="7922467" y="777076"/>
                </a:cubicBezTo>
                <a:cubicBezTo>
                  <a:pt x="7922467" y="741365"/>
                  <a:pt x="7951419" y="712411"/>
                  <a:pt x="7987133" y="712411"/>
                </a:cubicBezTo>
                <a:close/>
                <a:moveTo>
                  <a:pt x="7830562" y="712411"/>
                </a:moveTo>
                <a:cubicBezTo>
                  <a:pt x="7866276" y="712411"/>
                  <a:pt x="7895228" y="741365"/>
                  <a:pt x="7895228" y="777076"/>
                </a:cubicBezTo>
                <a:cubicBezTo>
                  <a:pt x="7895228" y="812789"/>
                  <a:pt x="7866276" y="841744"/>
                  <a:pt x="7830562" y="841744"/>
                </a:cubicBezTo>
                <a:cubicBezTo>
                  <a:pt x="7794848" y="841744"/>
                  <a:pt x="7765896" y="812789"/>
                  <a:pt x="7765896" y="777076"/>
                </a:cubicBezTo>
                <a:cubicBezTo>
                  <a:pt x="7765896" y="741365"/>
                  <a:pt x="7794848" y="712411"/>
                  <a:pt x="7830562" y="712411"/>
                </a:cubicBezTo>
                <a:close/>
                <a:moveTo>
                  <a:pt x="7212096" y="712411"/>
                </a:moveTo>
                <a:cubicBezTo>
                  <a:pt x="7247810" y="712411"/>
                  <a:pt x="7276762" y="741365"/>
                  <a:pt x="7276762" y="777076"/>
                </a:cubicBezTo>
                <a:cubicBezTo>
                  <a:pt x="7276762" y="812789"/>
                  <a:pt x="7247810" y="841744"/>
                  <a:pt x="7212096" y="841744"/>
                </a:cubicBezTo>
                <a:cubicBezTo>
                  <a:pt x="7176382" y="841744"/>
                  <a:pt x="7147430" y="812789"/>
                  <a:pt x="7147430" y="777076"/>
                </a:cubicBezTo>
                <a:cubicBezTo>
                  <a:pt x="7147430" y="741365"/>
                  <a:pt x="7176382" y="712411"/>
                  <a:pt x="7212096" y="712411"/>
                </a:cubicBezTo>
                <a:close/>
                <a:moveTo>
                  <a:pt x="6429229" y="712411"/>
                </a:moveTo>
                <a:cubicBezTo>
                  <a:pt x="6464943" y="712411"/>
                  <a:pt x="6493895" y="741365"/>
                  <a:pt x="6493895" y="777076"/>
                </a:cubicBezTo>
                <a:cubicBezTo>
                  <a:pt x="6493895" y="812789"/>
                  <a:pt x="6464943" y="841745"/>
                  <a:pt x="6429229" y="841745"/>
                </a:cubicBezTo>
                <a:cubicBezTo>
                  <a:pt x="6393515" y="841745"/>
                  <a:pt x="6364563" y="812789"/>
                  <a:pt x="6364563" y="777076"/>
                </a:cubicBezTo>
                <a:cubicBezTo>
                  <a:pt x="6364563" y="741365"/>
                  <a:pt x="6393515" y="712411"/>
                  <a:pt x="6429229" y="712411"/>
                </a:cubicBezTo>
                <a:close/>
                <a:moveTo>
                  <a:pt x="6276571" y="712411"/>
                </a:moveTo>
                <a:cubicBezTo>
                  <a:pt x="6312285" y="712411"/>
                  <a:pt x="6341237" y="741365"/>
                  <a:pt x="6341237" y="777076"/>
                </a:cubicBezTo>
                <a:cubicBezTo>
                  <a:pt x="6341237" y="812789"/>
                  <a:pt x="6312285" y="841745"/>
                  <a:pt x="6276571" y="841745"/>
                </a:cubicBezTo>
                <a:cubicBezTo>
                  <a:pt x="6240857" y="841745"/>
                  <a:pt x="6211905" y="812789"/>
                  <a:pt x="6211905" y="777076"/>
                </a:cubicBezTo>
                <a:cubicBezTo>
                  <a:pt x="6211905" y="741365"/>
                  <a:pt x="6240857" y="712411"/>
                  <a:pt x="6276571" y="712411"/>
                </a:cubicBezTo>
                <a:close/>
                <a:moveTo>
                  <a:pt x="10312248" y="712410"/>
                </a:moveTo>
                <a:cubicBezTo>
                  <a:pt x="10347962" y="712410"/>
                  <a:pt x="10376914" y="741365"/>
                  <a:pt x="10376914" y="777076"/>
                </a:cubicBezTo>
                <a:cubicBezTo>
                  <a:pt x="10376914" y="812788"/>
                  <a:pt x="10347962" y="841743"/>
                  <a:pt x="10312248" y="841743"/>
                </a:cubicBezTo>
                <a:cubicBezTo>
                  <a:pt x="10276534" y="841743"/>
                  <a:pt x="10247582" y="812788"/>
                  <a:pt x="10247582" y="777076"/>
                </a:cubicBezTo>
                <a:cubicBezTo>
                  <a:pt x="10247582" y="741365"/>
                  <a:pt x="10276534" y="712410"/>
                  <a:pt x="10312248" y="712410"/>
                </a:cubicBezTo>
                <a:close/>
                <a:moveTo>
                  <a:pt x="10159588" y="712410"/>
                </a:moveTo>
                <a:cubicBezTo>
                  <a:pt x="10195302" y="712410"/>
                  <a:pt x="10224254" y="741365"/>
                  <a:pt x="10224254" y="777076"/>
                </a:cubicBezTo>
                <a:cubicBezTo>
                  <a:pt x="10224254" y="812788"/>
                  <a:pt x="10195302" y="841744"/>
                  <a:pt x="10159588" y="841744"/>
                </a:cubicBezTo>
                <a:cubicBezTo>
                  <a:pt x="10123874" y="841744"/>
                  <a:pt x="10094922" y="812788"/>
                  <a:pt x="10094922" y="777076"/>
                </a:cubicBezTo>
                <a:cubicBezTo>
                  <a:pt x="10094922" y="741365"/>
                  <a:pt x="10123874" y="712410"/>
                  <a:pt x="10159588" y="712410"/>
                </a:cubicBezTo>
                <a:close/>
                <a:moveTo>
                  <a:pt x="10003016" y="712410"/>
                </a:moveTo>
                <a:cubicBezTo>
                  <a:pt x="10038730" y="712410"/>
                  <a:pt x="10067682" y="741365"/>
                  <a:pt x="10067682" y="777076"/>
                </a:cubicBezTo>
                <a:cubicBezTo>
                  <a:pt x="10067682" y="812789"/>
                  <a:pt x="10038730" y="841744"/>
                  <a:pt x="10003016" y="841744"/>
                </a:cubicBezTo>
                <a:cubicBezTo>
                  <a:pt x="9967302" y="841744"/>
                  <a:pt x="9938350" y="812789"/>
                  <a:pt x="9938350" y="777076"/>
                </a:cubicBezTo>
                <a:cubicBezTo>
                  <a:pt x="9938350" y="741365"/>
                  <a:pt x="9967302" y="712410"/>
                  <a:pt x="10003016" y="712410"/>
                </a:cubicBezTo>
                <a:close/>
                <a:moveTo>
                  <a:pt x="9850358" y="712410"/>
                </a:moveTo>
                <a:cubicBezTo>
                  <a:pt x="9886072" y="712410"/>
                  <a:pt x="9915024" y="741365"/>
                  <a:pt x="9915024" y="777076"/>
                </a:cubicBezTo>
                <a:cubicBezTo>
                  <a:pt x="9915024" y="812789"/>
                  <a:pt x="9886072" y="841744"/>
                  <a:pt x="9850358" y="841744"/>
                </a:cubicBezTo>
                <a:cubicBezTo>
                  <a:pt x="9814644" y="841744"/>
                  <a:pt x="9785692" y="812789"/>
                  <a:pt x="9785692" y="777076"/>
                </a:cubicBezTo>
                <a:cubicBezTo>
                  <a:pt x="9785692" y="741365"/>
                  <a:pt x="9814644" y="712410"/>
                  <a:pt x="9850358" y="712410"/>
                </a:cubicBezTo>
                <a:close/>
                <a:moveTo>
                  <a:pt x="9693783" y="712410"/>
                </a:moveTo>
                <a:cubicBezTo>
                  <a:pt x="9729497" y="712410"/>
                  <a:pt x="9758449" y="741365"/>
                  <a:pt x="9758449" y="777076"/>
                </a:cubicBezTo>
                <a:cubicBezTo>
                  <a:pt x="9758449" y="812789"/>
                  <a:pt x="9729497" y="841744"/>
                  <a:pt x="9693783" y="841744"/>
                </a:cubicBezTo>
                <a:cubicBezTo>
                  <a:pt x="9658069" y="841744"/>
                  <a:pt x="9629117" y="812789"/>
                  <a:pt x="9629117" y="777076"/>
                </a:cubicBezTo>
                <a:cubicBezTo>
                  <a:pt x="9629117" y="741365"/>
                  <a:pt x="9658069" y="712410"/>
                  <a:pt x="9693783" y="712410"/>
                </a:cubicBezTo>
                <a:close/>
                <a:moveTo>
                  <a:pt x="9541123" y="712410"/>
                </a:moveTo>
                <a:cubicBezTo>
                  <a:pt x="9576837" y="712410"/>
                  <a:pt x="9605789" y="741365"/>
                  <a:pt x="9605789" y="777076"/>
                </a:cubicBezTo>
                <a:cubicBezTo>
                  <a:pt x="9605789" y="812789"/>
                  <a:pt x="9576837" y="841744"/>
                  <a:pt x="9541123" y="841744"/>
                </a:cubicBezTo>
                <a:cubicBezTo>
                  <a:pt x="9505409" y="841744"/>
                  <a:pt x="9476457" y="812789"/>
                  <a:pt x="9476457" y="777076"/>
                </a:cubicBezTo>
                <a:cubicBezTo>
                  <a:pt x="9476457" y="741365"/>
                  <a:pt x="9505409" y="712410"/>
                  <a:pt x="9541123" y="712410"/>
                </a:cubicBezTo>
                <a:close/>
                <a:moveTo>
                  <a:pt x="4409471" y="712409"/>
                </a:moveTo>
                <a:cubicBezTo>
                  <a:pt x="4445169" y="712409"/>
                  <a:pt x="4474113" y="741363"/>
                  <a:pt x="4474113" y="777074"/>
                </a:cubicBezTo>
                <a:cubicBezTo>
                  <a:pt x="4474113" y="812788"/>
                  <a:pt x="4445169" y="841743"/>
                  <a:pt x="4409471" y="841743"/>
                </a:cubicBezTo>
                <a:cubicBezTo>
                  <a:pt x="4373772" y="841743"/>
                  <a:pt x="4344809" y="812788"/>
                  <a:pt x="4344809" y="777074"/>
                </a:cubicBezTo>
                <a:cubicBezTo>
                  <a:pt x="4344809" y="741363"/>
                  <a:pt x="4373772" y="712409"/>
                  <a:pt x="4409471" y="712409"/>
                </a:cubicBezTo>
                <a:close/>
                <a:moveTo>
                  <a:pt x="4256823" y="712409"/>
                </a:moveTo>
                <a:cubicBezTo>
                  <a:pt x="4292543" y="712409"/>
                  <a:pt x="4321471" y="741363"/>
                  <a:pt x="4321471" y="777074"/>
                </a:cubicBezTo>
                <a:cubicBezTo>
                  <a:pt x="4321471" y="812788"/>
                  <a:pt x="4292543" y="841743"/>
                  <a:pt x="4256823" y="841743"/>
                </a:cubicBezTo>
                <a:cubicBezTo>
                  <a:pt x="4221105" y="841743"/>
                  <a:pt x="4192125" y="812788"/>
                  <a:pt x="4192125" y="777074"/>
                </a:cubicBezTo>
                <a:cubicBezTo>
                  <a:pt x="4192125" y="741363"/>
                  <a:pt x="4221105" y="712409"/>
                  <a:pt x="4256823" y="712409"/>
                </a:cubicBezTo>
                <a:close/>
                <a:moveTo>
                  <a:pt x="4100255" y="712409"/>
                </a:moveTo>
                <a:cubicBezTo>
                  <a:pt x="4135957" y="712409"/>
                  <a:pt x="4164923" y="741363"/>
                  <a:pt x="4164923" y="777074"/>
                </a:cubicBezTo>
                <a:cubicBezTo>
                  <a:pt x="4164923" y="812788"/>
                  <a:pt x="4135957" y="841743"/>
                  <a:pt x="4100255" y="841743"/>
                </a:cubicBezTo>
                <a:cubicBezTo>
                  <a:pt x="4064528" y="841743"/>
                  <a:pt x="4035594" y="812788"/>
                  <a:pt x="4035594" y="777074"/>
                </a:cubicBezTo>
                <a:cubicBezTo>
                  <a:pt x="4035594" y="741363"/>
                  <a:pt x="4064528" y="712409"/>
                  <a:pt x="4100255" y="712409"/>
                </a:cubicBezTo>
                <a:close/>
                <a:moveTo>
                  <a:pt x="3947579" y="712409"/>
                </a:moveTo>
                <a:cubicBezTo>
                  <a:pt x="3983297" y="712409"/>
                  <a:pt x="4012257" y="741363"/>
                  <a:pt x="4012257" y="777074"/>
                </a:cubicBezTo>
                <a:cubicBezTo>
                  <a:pt x="4012257" y="812788"/>
                  <a:pt x="3983297" y="841743"/>
                  <a:pt x="3947579" y="841743"/>
                </a:cubicBezTo>
                <a:cubicBezTo>
                  <a:pt x="3912007" y="841743"/>
                  <a:pt x="3883058" y="812788"/>
                  <a:pt x="3883058" y="777074"/>
                </a:cubicBezTo>
                <a:cubicBezTo>
                  <a:pt x="3883058" y="741363"/>
                  <a:pt x="3912007" y="712409"/>
                  <a:pt x="3947579" y="712409"/>
                </a:cubicBezTo>
                <a:close/>
                <a:moveTo>
                  <a:pt x="3791150" y="712409"/>
                </a:moveTo>
                <a:cubicBezTo>
                  <a:pt x="3826861" y="712409"/>
                  <a:pt x="3855819" y="741363"/>
                  <a:pt x="3855819" y="777074"/>
                </a:cubicBezTo>
                <a:cubicBezTo>
                  <a:pt x="3855819" y="812788"/>
                  <a:pt x="3826861" y="841743"/>
                  <a:pt x="3791150" y="841743"/>
                </a:cubicBezTo>
                <a:cubicBezTo>
                  <a:pt x="3755431" y="841743"/>
                  <a:pt x="3726477" y="812788"/>
                  <a:pt x="3726477" y="777074"/>
                </a:cubicBezTo>
                <a:cubicBezTo>
                  <a:pt x="3726477" y="741363"/>
                  <a:pt x="3755431" y="712409"/>
                  <a:pt x="3791150" y="712409"/>
                </a:cubicBezTo>
                <a:close/>
                <a:moveTo>
                  <a:pt x="3012174" y="712409"/>
                </a:moveTo>
                <a:cubicBezTo>
                  <a:pt x="3047883" y="712409"/>
                  <a:pt x="3076841" y="741363"/>
                  <a:pt x="3076841" y="777074"/>
                </a:cubicBezTo>
                <a:cubicBezTo>
                  <a:pt x="3076841" y="812788"/>
                  <a:pt x="3047883" y="841743"/>
                  <a:pt x="3012174" y="841743"/>
                </a:cubicBezTo>
                <a:cubicBezTo>
                  <a:pt x="2976463" y="841743"/>
                  <a:pt x="2947515" y="812788"/>
                  <a:pt x="2947515" y="777074"/>
                </a:cubicBezTo>
                <a:cubicBezTo>
                  <a:pt x="2947515" y="741363"/>
                  <a:pt x="2976463" y="712409"/>
                  <a:pt x="3012174" y="712409"/>
                </a:cubicBezTo>
                <a:close/>
                <a:moveTo>
                  <a:pt x="2855626" y="712409"/>
                </a:moveTo>
                <a:cubicBezTo>
                  <a:pt x="2891329" y="712409"/>
                  <a:pt x="2920277" y="741363"/>
                  <a:pt x="2920277" y="777074"/>
                </a:cubicBezTo>
                <a:cubicBezTo>
                  <a:pt x="2920277" y="812788"/>
                  <a:pt x="2891329" y="841743"/>
                  <a:pt x="2855626" y="841743"/>
                </a:cubicBezTo>
                <a:cubicBezTo>
                  <a:pt x="2819918" y="841743"/>
                  <a:pt x="2790967" y="812788"/>
                  <a:pt x="2790967" y="777074"/>
                </a:cubicBezTo>
                <a:cubicBezTo>
                  <a:pt x="2790967" y="741363"/>
                  <a:pt x="2819918" y="712409"/>
                  <a:pt x="2855626" y="712409"/>
                </a:cubicBezTo>
                <a:close/>
                <a:moveTo>
                  <a:pt x="2699077" y="712409"/>
                </a:moveTo>
                <a:cubicBezTo>
                  <a:pt x="2734785" y="712409"/>
                  <a:pt x="2763730" y="741365"/>
                  <a:pt x="2763730" y="777074"/>
                </a:cubicBezTo>
                <a:cubicBezTo>
                  <a:pt x="2763730" y="812788"/>
                  <a:pt x="2734785" y="841743"/>
                  <a:pt x="2699077" y="841743"/>
                </a:cubicBezTo>
                <a:cubicBezTo>
                  <a:pt x="2663369" y="841743"/>
                  <a:pt x="2634422" y="812788"/>
                  <a:pt x="2634422" y="777074"/>
                </a:cubicBezTo>
                <a:cubicBezTo>
                  <a:pt x="2634422" y="741365"/>
                  <a:pt x="2663369" y="712409"/>
                  <a:pt x="2699077" y="712409"/>
                </a:cubicBezTo>
                <a:close/>
                <a:moveTo>
                  <a:pt x="2546443" y="712409"/>
                </a:moveTo>
                <a:cubicBezTo>
                  <a:pt x="2582152" y="712409"/>
                  <a:pt x="2611099" y="741365"/>
                  <a:pt x="2611099" y="777074"/>
                </a:cubicBezTo>
                <a:cubicBezTo>
                  <a:pt x="2611099" y="812788"/>
                  <a:pt x="2582152" y="841743"/>
                  <a:pt x="2546443" y="841743"/>
                </a:cubicBezTo>
                <a:cubicBezTo>
                  <a:pt x="2510718" y="841743"/>
                  <a:pt x="2481784" y="812788"/>
                  <a:pt x="2481784" y="777074"/>
                </a:cubicBezTo>
                <a:cubicBezTo>
                  <a:pt x="2481784" y="741365"/>
                  <a:pt x="2510718" y="712409"/>
                  <a:pt x="2546443" y="712409"/>
                </a:cubicBezTo>
                <a:close/>
                <a:moveTo>
                  <a:pt x="2389866" y="712409"/>
                </a:moveTo>
                <a:cubicBezTo>
                  <a:pt x="2425605" y="712409"/>
                  <a:pt x="2454550" y="741365"/>
                  <a:pt x="2454550" y="777074"/>
                </a:cubicBezTo>
                <a:cubicBezTo>
                  <a:pt x="2454550" y="812788"/>
                  <a:pt x="2425605" y="841743"/>
                  <a:pt x="2389866" y="841743"/>
                </a:cubicBezTo>
                <a:cubicBezTo>
                  <a:pt x="2354173" y="841743"/>
                  <a:pt x="2325211" y="812788"/>
                  <a:pt x="2325211" y="777074"/>
                </a:cubicBezTo>
                <a:cubicBezTo>
                  <a:pt x="2325211" y="741365"/>
                  <a:pt x="2354173" y="712409"/>
                  <a:pt x="2389866" y="712409"/>
                </a:cubicBezTo>
                <a:close/>
                <a:moveTo>
                  <a:pt x="2237188" y="712409"/>
                </a:moveTo>
                <a:cubicBezTo>
                  <a:pt x="2272914" y="712409"/>
                  <a:pt x="2301876" y="741365"/>
                  <a:pt x="2301876" y="777075"/>
                </a:cubicBezTo>
                <a:cubicBezTo>
                  <a:pt x="2301876" y="812788"/>
                  <a:pt x="2272914" y="841743"/>
                  <a:pt x="2237188" y="841743"/>
                </a:cubicBezTo>
                <a:cubicBezTo>
                  <a:pt x="2201464" y="841743"/>
                  <a:pt x="2172504" y="812788"/>
                  <a:pt x="2172504" y="777075"/>
                </a:cubicBezTo>
                <a:cubicBezTo>
                  <a:pt x="2172504" y="741365"/>
                  <a:pt x="2201464" y="712409"/>
                  <a:pt x="2237188" y="712409"/>
                </a:cubicBezTo>
                <a:close/>
                <a:moveTo>
                  <a:pt x="2084508" y="712409"/>
                </a:moveTo>
                <a:cubicBezTo>
                  <a:pt x="2120222" y="712409"/>
                  <a:pt x="2149169" y="741365"/>
                  <a:pt x="2149169" y="777075"/>
                </a:cubicBezTo>
                <a:cubicBezTo>
                  <a:pt x="2149169" y="812788"/>
                  <a:pt x="2120222" y="841743"/>
                  <a:pt x="2084508" y="841743"/>
                </a:cubicBezTo>
                <a:cubicBezTo>
                  <a:pt x="2048776" y="841743"/>
                  <a:pt x="2019865" y="812788"/>
                  <a:pt x="2019865" y="777075"/>
                </a:cubicBezTo>
                <a:cubicBezTo>
                  <a:pt x="2019865" y="741365"/>
                  <a:pt x="2048776" y="712409"/>
                  <a:pt x="2084508" y="712409"/>
                </a:cubicBezTo>
                <a:close/>
                <a:moveTo>
                  <a:pt x="1927912" y="712409"/>
                </a:moveTo>
                <a:cubicBezTo>
                  <a:pt x="1963627" y="712409"/>
                  <a:pt x="1992606" y="741365"/>
                  <a:pt x="1992606" y="777075"/>
                </a:cubicBezTo>
                <a:cubicBezTo>
                  <a:pt x="1992606" y="812788"/>
                  <a:pt x="1963627" y="841743"/>
                  <a:pt x="1927912" y="841743"/>
                </a:cubicBezTo>
                <a:cubicBezTo>
                  <a:pt x="1892243" y="841743"/>
                  <a:pt x="1863284" y="812788"/>
                  <a:pt x="1863284" y="777075"/>
                </a:cubicBezTo>
                <a:cubicBezTo>
                  <a:pt x="1863284" y="741365"/>
                  <a:pt x="1892243" y="712409"/>
                  <a:pt x="1927912" y="712409"/>
                </a:cubicBezTo>
                <a:close/>
                <a:moveTo>
                  <a:pt x="1775266" y="712409"/>
                </a:moveTo>
                <a:cubicBezTo>
                  <a:pt x="1810968" y="712409"/>
                  <a:pt x="1839957" y="741365"/>
                  <a:pt x="1839957" y="777075"/>
                </a:cubicBezTo>
                <a:cubicBezTo>
                  <a:pt x="1839957" y="812788"/>
                  <a:pt x="1810968" y="841743"/>
                  <a:pt x="1775266" y="841743"/>
                </a:cubicBezTo>
                <a:cubicBezTo>
                  <a:pt x="1739546" y="841743"/>
                  <a:pt x="1710593" y="812788"/>
                  <a:pt x="1710593" y="777075"/>
                </a:cubicBezTo>
                <a:cubicBezTo>
                  <a:pt x="1710593" y="741365"/>
                  <a:pt x="1739546" y="712409"/>
                  <a:pt x="1775266" y="712409"/>
                </a:cubicBezTo>
                <a:close/>
                <a:moveTo>
                  <a:pt x="1618680" y="712409"/>
                </a:moveTo>
                <a:cubicBezTo>
                  <a:pt x="1654401" y="712409"/>
                  <a:pt x="1683351" y="741365"/>
                  <a:pt x="1683351" y="777075"/>
                </a:cubicBezTo>
                <a:cubicBezTo>
                  <a:pt x="1683351" y="812788"/>
                  <a:pt x="1654401" y="841743"/>
                  <a:pt x="1618680" y="841743"/>
                </a:cubicBezTo>
                <a:cubicBezTo>
                  <a:pt x="1582969" y="841743"/>
                  <a:pt x="1554018" y="812788"/>
                  <a:pt x="1554018" y="777075"/>
                </a:cubicBezTo>
                <a:cubicBezTo>
                  <a:pt x="1554018" y="741365"/>
                  <a:pt x="1582969" y="712409"/>
                  <a:pt x="1618680" y="712409"/>
                </a:cubicBezTo>
                <a:close/>
                <a:moveTo>
                  <a:pt x="1466022" y="712409"/>
                </a:moveTo>
                <a:cubicBezTo>
                  <a:pt x="1501736" y="712409"/>
                  <a:pt x="1530689" y="741365"/>
                  <a:pt x="1530689" y="777075"/>
                </a:cubicBezTo>
                <a:cubicBezTo>
                  <a:pt x="1530689" y="812788"/>
                  <a:pt x="1501736" y="841743"/>
                  <a:pt x="1466022" y="841743"/>
                </a:cubicBezTo>
                <a:cubicBezTo>
                  <a:pt x="1430309" y="841743"/>
                  <a:pt x="1401359" y="812788"/>
                  <a:pt x="1401359" y="777075"/>
                </a:cubicBezTo>
                <a:cubicBezTo>
                  <a:pt x="1401359" y="741365"/>
                  <a:pt x="1430309" y="712409"/>
                  <a:pt x="1466022" y="712409"/>
                </a:cubicBezTo>
                <a:close/>
                <a:moveTo>
                  <a:pt x="6119999" y="712409"/>
                </a:moveTo>
                <a:cubicBezTo>
                  <a:pt x="6155713" y="712409"/>
                  <a:pt x="6184665" y="741363"/>
                  <a:pt x="6184665" y="777074"/>
                </a:cubicBezTo>
                <a:cubicBezTo>
                  <a:pt x="6184665" y="812788"/>
                  <a:pt x="6155713" y="841743"/>
                  <a:pt x="6119999" y="841743"/>
                </a:cubicBezTo>
                <a:cubicBezTo>
                  <a:pt x="6084285" y="841743"/>
                  <a:pt x="6055333" y="812788"/>
                  <a:pt x="6055333" y="777074"/>
                </a:cubicBezTo>
                <a:cubicBezTo>
                  <a:pt x="6055333" y="741363"/>
                  <a:pt x="6084285" y="712409"/>
                  <a:pt x="6119999" y="712409"/>
                </a:cubicBezTo>
                <a:close/>
                <a:moveTo>
                  <a:pt x="4722614" y="712409"/>
                </a:moveTo>
                <a:cubicBezTo>
                  <a:pt x="4758338" y="712409"/>
                  <a:pt x="4787277" y="741363"/>
                  <a:pt x="4787277" y="777074"/>
                </a:cubicBezTo>
                <a:cubicBezTo>
                  <a:pt x="4787277" y="812788"/>
                  <a:pt x="4758338" y="841743"/>
                  <a:pt x="4722614" y="841743"/>
                </a:cubicBezTo>
                <a:cubicBezTo>
                  <a:pt x="4686908" y="841743"/>
                  <a:pt x="4657957" y="812788"/>
                  <a:pt x="4657957" y="777074"/>
                </a:cubicBezTo>
                <a:cubicBezTo>
                  <a:pt x="4657957" y="741363"/>
                  <a:pt x="4686908" y="712409"/>
                  <a:pt x="4722614" y="712409"/>
                </a:cubicBezTo>
                <a:close/>
                <a:moveTo>
                  <a:pt x="4566030" y="712409"/>
                </a:moveTo>
                <a:cubicBezTo>
                  <a:pt x="4601751" y="712409"/>
                  <a:pt x="4630712" y="741363"/>
                  <a:pt x="4630712" y="777074"/>
                </a:cubicBezTo>
                <a:cubicBezTo>
                  <a:pt x="4630712" y="812788"/>
                  <a:pt x="4601751" y="841743"/>
                  <a:pt x="4566030" y="841743"/>
                </a:cubicBezTo>
                <a:cubicBezTo>
                  <a:pt x="4530304" y="841743"/>
                  <a:pt x="4501345" y="812788"/>
                  <a:pt x="4501345" y="777074"/>
                </a:cubicBezTo>
                <a:cubicBezTo>
                  <a:pt x="4501345" y="741363"/>
                  <a:pt x="4530304" y="712409"/>
                  <a:pt x="4566030" y="712409"/>
                </a:cubicBezTo>
                <a:close/>
                <a:moveTo>
                  <a:pt x="9541123" y="579326"/>
                </a:moveTo>
                <a:cubicBezTo>
                  <a:pt x="9576837" y="579326"/>
                  <a:pt x="9605789" y="608276"/>
                  <a:pt x="9605789" y="643991"/>
                </a:cubicBezTo>
                <a:cubicBezTo>
                  <a:pt x="9605789" y="679704"/>
                  <a:pt x="9576837" y="708656"/>
                  <a:pt x="9541123" y="708656"/>
                </a:cubicBezTo>
                <a:cubicBezTo>
                  <a:pt x="9505409" y="708656"/>
                  <a:pt x="9476457" y="679704"/>
                  <a:pt x="9476457" y="643991"/>
                </a:cubicBezTo>
                <a:cubicBezTo>
                  <a:pt x="9476457" y="608276"/>
                  <a:pt x="9505409" y="579326"/>
                  <a:pt x="9541123" y="579326"/>
                </a:cubicBezTo>
                <a:close/>
                <a:moveTo>
                  <a:pt x="9384550" y="579326"/>
                </a:moveTo>
                <a:cubicBezTo>
                  <a:pt x="9420264" y="579326"/>
                  <a:pt x="9449216" y="608276"/>
                  <a:pt x="9449216" y="643991"/>
                </a:cubicBezTo>
                <a:cubicBezTo>
                  <a:pt x="9449216" y="679704"/>
                  <a:pt x="9420264" y="708656"/>
                  <a:pt x="9384550" y="708656"/>
                </a:cubicBezTo>
                <a:cubicBezTo>
                  <a:pt x="9348836" y="708656"/>
                  <a:pt x="9319884" y="679704"/>
                  <a:pt x="9319884" y="643991"/>
                </a:cubicBezTo>
                <a:cubicBezTo>
                  <a:pt x="9319884" y="608276"/>
                  <a:pt x="9348836" y="579326"/>
                  <a:pt x="9384550" y="579326"/>
                </a:cubicBezTo>
                <a:close/>
                <a:moveTo>
                  <a:pt x="9227977" y="579326"/>
                </a:moveTo>
                <a:cubicBezTo>
                  <a:pt x="9263691" y="579326"/>
                  <a:pt x="9292643" y="608276"/>
                  <a:pt x="9292643" y="643991"/>
                </a:cubicBezTo>
                <a:cubicBezTo>
                  <a:pt x="9292643" y="679704"/>
                  <a:pt x="9263691" y="708656"/>
                  <a:pt x="9227977" y="708656"/>
                </a:cubicBezTo>
                <a:cubicBezTo>
                  <a:pt x="9192263" y="708656"/>
                  <a:pt x="9163311" y="679704"/>
                  <a:pt x="9163311" y="643991"/>
                </a:cubicBezTo>
                <a:cubicBezTo>
                  <a:pt x="9163311" y="608276"/>
                  <a:pt x="9192263" y="579326"/>
                  <a:pt x="9227977" y="579326"/>
                </a:cubicBezTo>
                <a:close/>
                <a:moveTo>
                  <a:pt x="9075319" y="579326"/>
                </a:moveTo>
                <a:cubicBezTo>
                  <a:pt x="9111033" y="579326"/>
                  <a:pt x="9139985" y="608276"/>
                  <a:pt x="9139985" y="643992"/>
                </a:cubicBezTo>
                <a:cubicBezTo>
                  <a:pt x="9139985" y="679704"/>
                  <a:pt x="9111033" y="708656"/>
                  <a:pt x="9075319" y="708656"/>
                </a:cubicBezTo>
                <a:cubicBezTo>
                  <a:pt x="9039605" y="708656"/>
                  <a:pt x="9010653" y="679704"/>
                  <a:pt x="9010653" y="643992"/>
                </a:cubicBezTo>
                <a:cubicBezTo>
                  <a:pt x="9010653" y="608276"/>
                  <a:pt x="9039605" y="579326"/>
                  <a:pt x="9075319" y="579326"/>
                </a:cubicBezTo>
                <a:close/>
                <a:moveTo>
                  <a:pt x="8914831" y="579326"/>
                </a:moveTo>
                <a:cubicBezTo>
                  <a:pt x="8950545" y="579326"/>
                  <a:pt x="8979497" y="608276"/>
                  <a:pt x="8979497" y="643992"/>
                </a:cubicBezTo>
                <a:cubicBezTo>
                  <a:pt x="8979497" y="679704"/>
                  <a:pt x="8950545" y="708656"/>
                  <a:pt x="8914831" y="708656"/>
                </a:cubicBezTo>
                <a:cubicBezTo>
                  <a:pt x="8879117" y="708656"/>
                  <a:pt x="8850165" y="679704"/>
                  <a:pt x="8850165" y="643992"/>
                </a:cubicBezTo>
                <a:cubicBezTo>
                  <a:pt x="8850165" y="608276"/>
                  <a:pt x="8879117" y="579326"/>
                  <a:pt x="8914831" y="579326"/>
                </a:cubicBezTo>
                <a:close/>
                <a:moveTo>
                  <a:pt x="8766086" y="579326"/>
                </a:moveTo>
                <a:cubicBezTo>
                  <a:pt x="8801800" y="579326"/>
                  <a:pt x="8830752" y="608276"/>
                  <a:pt x="8830752" y="643992"/>
                </a:cubicBezTo>
                <a:cubicBezTo>
                  <a:pt x="8830752" y="679704"/>
                  <a:pt x="8801800" y="708656"/>
                  <a:pt x="8766086" y="708656"/>
                </a:cubicBezTo>
                <a:cubicBezTo>
                  <a:pt x="8730372" y="708656"/>
                  <a:pt x="8701420" y="679704"/>
                  <a:pt x="8701420" y="643992"/>
                </a:cubicBezTo>
                <a:cubicBezTo>
                  <a:pt x="8701420" y="608276"/>
                  <a:pt x="8730372" y="579326"/>
                  <a:pt x="8766086" y="579326"/>
                </a:cubicBezTo>
                <a:close/>
                <a:moveTo>
                  <a:pt x="8601685" y="579326"/>
                </a:moveTo>
                <a:cubicBezTo>
                  <a:pt x="8637399" y="579326"/>
                  <a:pt x="8666351" y="608276"/>
                  <a:pt x="8666351" y="643992"/>
                </a:cubicBezTo>
                <a:cubicBezTo>
                  <a:pt x="8666351" y="679704"/>
                  <a:pt x="8637399" y="708656"/>
                  <a:pt x="8601685" y="708656"/>
                </a:cubicBezTo>
                <a:cubicBezTo>
                  <a:pt x="8565971" y="708656"/>
                  <a:pt x="8537019" y="679704"/>
                  <a:pt x="8537019" y="643992"/>
                </a:cubicBezTo>
                <a:cubicBezTo>
                  <a:pt x="8537019" y="608276"/>
                  <a:pt x="8565971" y="579326"/>
                  <a:pt x="8601685" y="579326"/>
                </a:cubicBezTo>
                <a:close/>
                <a:moveTo>
                  <a:pt x="8449025" y="579326"/>
                </a:moveTo>
                <a:cubicBezTo>
                  <a:pt x="8484739" y="579326"/>
                  <a:pt x="8513691" y="608276"/>
                  <a:pt x="8513691" y="643992"/>
                </a:cubicBezTo>
                <a:cubicBezTo>
                  <a:pt x="8513691" y="679704"/>
                  <a:pt x="8484739" y="708656"/>
                  <a:pt x="8449025" y="708656"/>
                </a:cubicBezTo>
                <a:cubicBezTo>
                  <a:pt x="8413311" y="708656"/>
                  <a:pt x="8384359" y="679704"/>
                  <a:pt x="8384359" y="643992"/>
                </a:cubicBezTo>
                <a:cubicBezTo>
                  <a:pt x="8384359" y="608276"/>
                  <a:pt x="8413311" y="579326"/>
                  <a:pt x="8449025" y="579326"/>
                </a:cubicBezTo>
                <a:close/>
                <a:moveTo>
                  <a:pt x="8296368" y="579326"/>
                </a:moveTo>
                <a:cubicBezTo>
                  <a:pt x="8332082" y="579326"/>
                  <a:pt x="8361034" y="608276"/>
                  <a:pt x="8361034" y="643992"/>
                </a:cubicBezTo>
                <a:cubicBezTo>
                  <a:pt x="8361034" y="679704"/>
                  <a:pt x="8332082" y="708656"/>
                  <a:pt x="8296368" y="708656"/>
                </a:cubicBezTo>
                <a:cubicBezTo>
                  <a:pt x="8260654" y="708656"/>
                  <a:pt x="8231702" y="679704"/>
                  <a:pt x="8231702" y="643992"/>
                </a:cubicBezTo>
                <a:cubicBezTo>
                  <a:pt x="8231702" y="608276"/>
                  <a:pt x="8260654" y="579326"/>
                  <a:pt x="8296368" y="579326"/>
                </a:cubicBezTo>
                <a:close/>
                <a:moveTo>
                  <a:pt x="8139793" y="579326"/>
                </a:moveTo>
                <a:cubicBezTo>
                  <a:pt x="8175507" y="579326"/>
                  <a:pt x="8204459" y="608276"/>
                  <a:pt x="8204459" y="643992"/>
                </a:cubicBezTo>
                <a:cubicBezTo>
                  <a:pt x="8204459" y="679704"/>
                  <a:pt x="8175507" y="708656"/>
                  <a:pt x="8139793" y="708656"/>
                </a:cubicBezTo>
                <a:cubicBezTo>
                  <a:pt x="8104079" y="708656"/>
                  <a:pt x="8075127" y="679704"/>
                  <a:pt x="8075127" y="643992"/>
                </a:cubicBezTo>
                <a:cubicBezTo>
                  <a:pt x="8075127" y="608276"/>
                  <a:pt x="8104079" y="579326"/>
                  <a:pt x="8139793" y="579326"/>
                </a:cubicBezTo>
                <a:close/>
                <a:moveTo>
                  <a:pt x="7368669" y="579326"/>
                </a:moveTo>
                <a:cubicBezTo>
                  <a:pt x="7404383" y="579326"/>
                  <a:pt x="7433335" y="608276"/>
                  <a:pt x="7433335" y="643992"/>
                </a:cubicBezTo>
                <a:cubicBezTo>
                  <a:pt x="7433335" y="679704"/>
                  <a:pt x="7404383" y="708658"/>
                  <a:pt x="7368669" y="708658"/>
                </a:cubicBezTo>
                <a:cubicBezTo>
                  <a:pt x="7332955" y="708658"/>
                  <a:pt x="7304003" y="679704"/>
                  <a:pt x="7304003" y="643992"/>
                </a:cubicBezTo>
                <a:cubicBezTo>
                  <a:pt x="7304003" y="608276"/>
                  <a:pt x="7332955" y="579326"/>
                  <a:pt x="7368669" y="579326"/>
                </a:cubicBezTo>
                <a:close/>
                <a:moveTo>
                  <a:pt x="4722614" y="579326"/>
                </a:moveTo>
                <a:cubicBezTo>
                  <a:pt x="4758338" y="579326"/>
                  <a:pt x="4787277" y="608276"/>
                  <a:pt x="4787277" y="643992"/>
                </a:cubicBezTo>
                <a:cubicBezTo>
                  <a:pt x="4787277" y="679704"/>
                  <a:pt x="4758338" y="708658"/>
                  <a:pt x="4722614" y="708658"/>
                </a:cubicBezTo>
                <a:cubicBezTo>
                  <a:pt x="4686908" y="708658"/>
                  <a:pt x="4657957" y="679704"/>
                  <a:pt x="4657957" y="643992"/>
                </a:cubicBezTo>
                <a:cubicBezTo>
                  <a:pt x="4657957" y="608276"/>
                  <a:pt x="4686908" y="579326"/>
                  <a:pt x="4722614" y="579326"/>
                </a:cubicBezTo>
                <a:close/>
                <a:moveTo>
                  <a:pt x="4566030" y="579326"/>
                </a:moveTo>
                <a:cubicBezTo>
                  <a:pt x="4601751" y="579326"/>
                  <a:pt x="4630712" y="608276"/>
                  <a:pt x="4630712" y="643992"/>
                </a:cubicBezTo>
                <a:cubicBezTo>
                  <a:pt x="4630712" y="679704"/>
                  <a:pt x="4601751" y="708658"/>
                  <a:pt x="4566030" y="708658"/>
                </a:cubicBezTo>
                <a:cubicBezTo>
                  <a:pt x="4530304" y="708658"/>
                  <a:pt x="4501345" y="679704"/>
                  <a:pt x="4501345" y="643992"/>
                </a:cubicBezTo>
                <a:cubicBezTo>
                  <a:pt x="4501345" y="608276"/>
                  <a:pt x="4530304" y="579326"/>
                  <a:pt x="4566030" y="579326"/>
                </a:cubicBezTo>
                <a:close/>
                <a:moveTo>
                  <a:pt x="4409471" y="579326"/>
                </a:moveTo>
                <a:cubicBezTo>
                  <a:pt x="4445169" y="579326"/>
                  <a:pt x="4474113" y="608276"/>
                  <a:pt x="4474113" y="643992"/>
                </a:cubicBezTo>
                <a:cubicBezTo>
                  <a:pt x="4474113" y="679704"/>
                  <a:pt x="4445169" y="708658"/>
                  <a:pt x="4409471" y="708658"/>
                </a:cubicBezTo>
                <a:cubicBezTo>
                  <a:pt x="4373772" y="708658"/>
                  <a:pt x="4344809" y="679704"/>
                  <a:pt x="4344809" y="643992"/>
                </a:cubicBezTo>
                <a:cubicBezTo>
                  <a:pt x="4344809" y="608276"/>
                  <a:pt x="4373772" y="579326"/>
                  <a:pt x="4409471" y="579326"/>
                </a:cubicBezTo>
                <a:close/>
                <a:moveTo>
                  <a:pt x="4256823" y="579326"/>
                </a:moveTo>
                <a:cubicBezTo>
                  <a:pt x="4292543" y="579326"/>
                  <a:pt x="4321471" y="608276"/>
                  <a:pt x="4321471" y="643992"/>
                </a:cubicBezTo>
                <a:cubicBezTo>
                  <a:pt x="4321471" y="679704"/>
                  <a:pt x="4292543" y="708658"/>
                  <a:pt x="4256823" y="708658"/>
                </a:cubicBezTo>
                <a:cubicBezTo>
                  <a:pt x="4221105" y="708658"/>
                  <a:pt x="4192125" y="679704"/>
                  <a:pt x="4192125" y="643992"/>
                </a:cubicBezTo>
                <a:cubicBezTo>
                  <a:pt x="4192125" y="608276"/>
                  <a:pt x="4221105" y="579326"/>
                  <a:pt x="4256823" y="579326"/>
                </a:cubicBezTo>
                <a:close/>
                <a:moveTo>
                  <a:pt x="4100255" y="579326"/>
                </a:moveTo>
                <a:cubicBezTo>
                  <a:pt x="4135957" y="579326"/>
                  <a:pt x="4164923" y="608276"/>
                  <a:pt x="4164923" y="643992"/>
                </a:cubicBezTo>
                <a:cubicBezTo>
                  <a:pt x="4164923" y="679704"/>
                  <a:pt x="4135957" y="708658"/>
                  <a:pt x="4100255" y="708658"/>
                </a:cubicBezTo>
                <a:cubicBezTo>
                  <a:pt x="4064528" y="708658"/>
                  <a:pt x="4035594" y="679704"/>
                  <a:pt x="4035594" y="643992"/>
                </a:cubicBezTo>
                <a:cubicBezTo>
                  <a:pt x="4035594" y="608276"/>
                  <a:pt x="4064528" y="579326"/>
                  <a:pt x="4100255" y="579326"/>
                </a:cubicBezTo>
                <a:close/>
                <a:moveTo>
                  <a:pt x="3947579" y="579326"/>
                </a:moveTo>
                <a:cubicBezTo>
                  <a:pt x="3983297" y="579326"/>
                  <a:pt x="4012257" y="608276"/>
                  <a:pt x="4012257" y="643992"/>
                </a:cubicBezTo>
                <a:cubicBezTo>
                  <a:pt x="4012257" y="679704"/>
                  <a:pt x="3983297" y="708658"/>
                  <a:pt x="3947579" y="708658"/>
                </a:cubicBezTo>
                <a:cubicBezTo>
                  <a:pt x="3912011" y="708658"/>
                  <a:pt x="3883063" y="679704"/>
                  <a:pt x="3883063" y="643992"/>
                </a:cubicBezTo>
                <a:cubicBezTo>
                  <a:pt x="3883063" y="608276"/>
                  <a:pt x="3912011" y="579326"/>
                  <a:pt x="3947579" y="579326"/>
                </a:cubicBezTo>
                <a:close/>
                <a:moveTo>
                  <a:pt x="3791157" y="579326"/>
                </a:moveTo>
                <a:cubicBezTo>
                  <a:pt x="3826864" y="579326"/>
                  <a:pt x="3855823" y="608276"/>
                  <a:pt x="3855823" y="643992"/>
                </a:cubicBezTo>
                <a:cubicBezTo>
                  <a:pt x="3855823" y="679704"/>
                  <a:pt x="3826864" y="708658"/>
                  <a:pt x="3791157" y="708658"/>
                </a:cubicBezTo>
                <a:cubicBezTo>
                  <a:pt x="3755435" y="708658"/>
                  <a:pt x="3726482" y="679704"/>
                  <a:pt x="3726482" y="643992"/>
                </a:cubicBezTo>
                <a:cubicBezTo>
                  <a:pt x="3726482" y="608276"/>
                  <a:pt x="3755435" y="579326"/>
                  <a:pt x="3791157" y="579326"/>
                </a:cubicBezTo>
                <a:close/>
                <a:moveTo>
                  <a:pt x="2855626" y="579326"/>
                </a:moveTo>
                <a:cubicBezTo>
                  <a:pt x="2891335" y="579326"/>
                  <a:pt x="2920280" y="608276"/>
                  <a:pt x="2920280" y="643992"/>
                </a:cubicBezTo>
                <a:cubicBezTo>
                  <a:pt x="2920280" y="679704"/>
                  <a:pt x="2891335" y="708658"/>
                  <a:pt x="2855626" y="708658"/>
                </a:cubicBezTo>
                <a:cubicBezTo>
                  <a:pt x="2819922" y="708658"/>
                  <a:pt x="2790969" y="679704"/>
                  <a:pt x="2790969" y="643992"/>
                </a:cubicBezTo>
                <a:cubicBezTo>
                  <a:pt x="2790969" y="608276"/>
                  <a:pt x="2819922" y="579326"/>
                  <a:pt x="2855626" y="579326"/>
                </a:cubicBezTo>
                <a:close/>
                <a:moveTo>
                  <a:pt x="2699081" y="579326"/>
                </a:moveTo>
                <a:cubicBezTo>
                  <a:pt x="2734789" y="579326"/>
                  <a:pt x="2763735" y="608276"/>
                  <a:pt x="2763735" y="643992"/>
                </a:cubicBezTo>
                <a:cubicBezTo>
                  <a:pt x="2763735" y="679704"/>
                  <a:pt x="2734789" y="708658"/>
                  <a:pt x="2699081" y="708658"/>
                </a:cubicBezTo>
                <a:cubicBezTo>
                  <a:pt x="2663374" y="708658"/>
                  <a:pt x="2634426" y="679704"/>
                  <a:pt x="2634426" y="643992"/>
                </a:cubicBezTo>
                <a:cubicBezTo>
                  <a:pt x="2634426" y="608276"/>
                  <a:pt x="2663374" y="579326"/>
                  <a:pt x="2699081" y="579326"/>
                </a:cubicBezTo>
                <a:close/>
                <a:moveTo>
                  <a:pt x="2546449" y="579326"/>
                </a:moveTo>
                <a:cubicBezTo>
                  <a:pt x="2582156" y="579326"/>
                  <a:pt x="2611104" y="608277"/>
                  <a:pt x="2611104" y="643992"/>
                </a:cubicBezTo>
                <a:cubicBezTo>
                  <a:pt x="2611104" y="679704"/>
                  <a:pt x="2582156" y="708658"/>
                  <a:pt x="2546449" y="708658"/>
                </a:cubicBezTo>
                <a:cubicBezTo>
                  <a:pt x="2510726" y="708658"/>
                  <a:pt x="2481790" y="679704"/>
                  <a:pt x="2481790" y="643992"/>
                </a:cubicBezTo>
                <a:cubicBezTo>
                  <a:pt x="2481790" y="608277"/>
                  <a:pt x="2510726" y="579326"/>
                  <a:pt x="2546449" y="579326"/>
                </a:cubicBezTo>
                <a:close/>
                <a:moveTo>
                  <a:pt x="2389866" y="579326"/>
                </a:moveTo>
                <a:cubicBezTo>
                  <a:pt x="2425606" y="579326"/>
                  <a:pt x="2454554" y="608277"/>
                  <a:pt x="2454554" y="643992"/>
                </a:cubicBezTo>
                <a:cubicBezTo>
                  <a:pt x="2454554" y="679704"/>
                  <a:pt x="2425606" y="708658"/>
                  <a:pt x="2389866" y="708658"/>
                </a:cubicBezTo>
                <a:cubicBezTo>
                  <a:pt x="2354175" y="708658"/>
                  <a:pt x="2325215" y="679704"/>
                  <a:pt x="2325215" y="643992"/>
                </a:cubicBezTo>
                <a:cubicBezTo>
                  <a:pt x="2325215" y="608277"/>
                  <a:pt x="2354175" y="579326"/>
                  <a:pt x="2389866" y="579326"/>
                </a:cubicBezTo>
                <a:close/>
                <a:moveTo>
                  <a:pt x="2237196" y="579326"/>
                </a:moveTo>
                <a:cubicBezTo>
                  <a:pt x="2272920" y="579326"/>
                  <a:pt x="2301879" y="608277"/>
                  <a:pt x="2301879" y="643992"/>
                </a:cubicBezTo>
                <a:cubicBezTo>
                  <a:pt x="2301879" y="679704"/>
                  <a:pt x="2272920" y="708658"/>
                  <a:pt x="2237196" y="708658"/>
                </a:cubicBezTo>
                <a:cubicBezTo>
                  <a:pt x="2201469" y="708658"/>
                  <a:pt x="2172508" y="679704"/>
                  <a:pt x="2172508" y="643992"/>
                </a:cubicBezTo>
                <a:cubicBezTo>
                  <a:pt x="2172508" y="608277"/>
                  <a:pt x="2201469" y="579326"/>
                  <a:pt x="2237196" y="579326"/>
                </a:cubicBezTo>
                <a:close/>
                <a:moveTo>
                  <a:pt x="2084510" y="579326"/>
                </a:moveTo>
                <a:cubicBezTo>
                  <a:pt x="2120226" y="579326"/>
                  <a:pt x="2149173" y="608277"/>
                  <a:pt x="2149173" y="643992"/>
                </a:cubicBezTo>
                <a:cubicBezTo>
                  <a:pt x="2149173" y="679704"/>
                  <a:pt x="2120226" y="708658"/>
                  <a:pt x="2084510" y="708658"/>
                </a:cubicBezTo>
                <a:cubicBezTo>
                  <a:pt x="2048780" y="708658"/>
                  <a:pt x="2019873" y="679704"/>
                  <a:pt x="2019873" y="643992"/>
                </a:cubicBezTo>
                <a:cubicBezTo>
                  <a:pt x="2019873" y="608277"/>
                  <a:pt x="2048780" y="579326"/>
                  <a:pt x="2084510" y="579326"/>
                </a:cubicBezTo>
                <a:close/>
                <a:moveTo>
                  <a:pt x="1927912" y="579326"/>
                </a:moveTo>
                <a:cubicBezTo>
                  <a:pt x="1963649" y="579326"/>
                  <a:pt x="1992614" y="608277"/>
                  <a:pt x="1992614" y="643992"/>
                </a:cubicBezTo>
                <a:cubicBezTo>
                  <a:pt x="1992614" y="679704"/>
                  <a:pt x="1963649" y="708658"/>
                  <a:pt x="1927912" y="708658"/>
                </a:cubicBezTo>
                <a:cubicBezTo>
                  <a:pt x="1892243" y="708658"/>
                  <a:pt x="1863289" y="679704"/>
                  <a:pt x="1863289" y="643992"/>
                </a:cubicBezTo>
                <a:cubicBezTo>
                  <a:pt x="1863289" y="608277"/>
                  <a:pt x="1892243" y="579326"/>
                  <a:pt x="1927912" y="579326"/>
                </a:cubicBezTo>
                <a:close/>
                <a:moveTo>
                  <a:pt x="1775269" y="579326"/>
                </a:moveTo>
                <a:cubicBezTo>
                  <a:pt x="1810972" y="579326"/>
                  <a:pt x="1839963" y="608277"/>
                  <a:pt x="1839963" y="643992"/>
                </a:cubicBezTo>
                <a:cubicBezTo>
                  <a:pt x="1839963" y="679704"/>
                  <a:pt x="1810972" y="708658"/>
                  <a:pt x="1775269" y="708658"/>
                </a:cubicBezTo>
                <a:cubicBezTo>
                  <a:pt x="1739546" y="708658"/>
                  <a:pt x="1710597" y="679704"/>
                  <a:pt x="1710597" y="643992"/>
                </a:cubicBezTo>
                <a:cubicBezTo>
                  <a:pt x="1710597" y="608277"/>
                  <a:pt x="1739546" y="579326"/>
                  <a:pt x="1775269" y="579326"/>
                </a:cubicBezTo>
                <a:close/>
                <a:moveTo>
                  <a:pt x="1618682" y="579326"/>
                </a:moveTo>
                <a:cubicBezTo>
                  <a:pt x="1654406" y="579326"/>
                  <a:pt x="1683355" y="608277"/>
                  <a:pt x="1683355" y="643992"/>
                </a:cubicBezTo>
                <a:cubicBezTo>
                  <a:pt x="1683355" y="679704"/>
                  <a:pt x="1654406" y="708658"/>
                  <a:pt x="1618682" y="708658"/>
                </a:cubicBezTo>
                <a:cubicBezTo>
                  <a:pt x="1582974" y="708658"/>
                  <a:pt x="1554022" y="679704"/>
                  <a:pt x="1554022" y="643992"/>
                </a:cubicBezTo>
                <a:cubicBezTo>
                  <a:pt x="1554022" y="608277"/>
                  <a:pt x="1582974" y="579326"/>
                  <a:pt x="1618682" y="579326"/>
                </a:cubicBezTo>
                <a:close/>
                <a:moveTo>
                  <a:pt x="1466025" y="579326"/>
                </a:moveTo>
                <a:cubicBezTo>
                  <a:pt x="1501741" y="579326"/>
                  <a:pt x="1530692" y="608277"/>
                  <a:pt x="1530692" y="643992"/>
                </a:cubicBezTo>
                <a:cubicBezTo>
                  <a:pt x="1530692" y="679704"/>
                  <a:pt x="1501741" y="708658"/>
                  <a:pt x="1466025" y="708658"/>
                </a:cubicBezTo>
                <a:cubicBezTo>
                  <a:pt x="1430312" y="708658"/>
                  <a:pt x="1401363" y="679704"/>
                  <a:pt x="1401363" y="643992"/>
                </a:cubicBezTo>
                <a:cubicBezTo>
                  <a:pt x="1401363" y="608277"/>
                  <a:pt x="1430312" y="579326"/>
                  <a:pt x="1466025" y="579326"/>
                </a:cubicBezTo>
                <a:close/>
                <a:moveTo>
                  <a:pt x="1466029" y="426670"/>
                </a:moveTo>
                <a:cubicBezTo>
                  <a:pt x="1501741" y="426670"/>
                  <a:pt x="1530694" y="455621"/>
                  <a:pt x="1530694" y="491334"/>
                </a:cubicBezTo>
                <a:cubicBezTo>
                  <a:pt x="1530694" y="527046"/>
                  <a:pt x="1501741" y="555998"/>
                  <a:pt x="1466029" y="555998"/>
                </a:cubicBezTo>
                <a:cubicBezTo>
                  <a:pt x="1430316" y="555998"/>
                  <a:pt x="1401363" y="527046"/>
                  <a:pt x="1401363" y="491334"/>
                </a:cubicBezTo>
                <a:cubicBezTo>
                  <a:pt x="1401363" y="455621"/>
                  <a:pt x="1430316" y="426670"/>
                  <a:pt x="1466029" y="426670"/>
                </a:cubicBezTo>
                <a:close/>
                <a:moveTo>
                  <a:pt x="2855634" y="426670"/>
                </a:moveTo>
                <a:cubicBezTo>
                  <a:pt x="2891335" y="426670"/>
                  <a:pt x="2920282" y="455621"/>
                  <a:pt x="2920282" y="491334"/>
                </a:cubicBezTo>
                <a:cubicBezTo>
                  <a:pt x="2920282" y="527046"/>
                  <a:pt x="2891335" y="555997"/>
                  <a:pt x="2855634" y="555997"/>
                </a:cubicBezTo>
                <a:cubicBezTo>
                  <a:pt x="2819922" y="555997"/>
                  <a:pt x="2790973" y="527046"/>
                  <a:pt x="2790973" y="491334"/>
                </a:cubicBezTo>
                <a:cubicBezTo>
                  <a:pt x="2790973" y="455621"/>
                  <a:pt x="2819922" y="426670"/>
                  <a:pt x="2855634" y="426670"/>
                </a:cubicBezTo>
                <a:close/>
                <a:moveTo>
                  <a:pt x="2699084" y="426670"/>
                </a:moveTo>
                <a:cubicBezTo>
                  <a:pt x="2734792" y="426670"/>
                  <a:pt x="2763736" y="455621"/>
                  <a:pt x="2763736" y="491334"/>
                </a:cubicBezTo>
                <a:cubicBezTo>
                  <a:pt x="2763736" y="527046"/>
                  <a:pt x="2734792" y="555997"/>
                  <a:pt x="2699084" y="555997"/>
                </a:cubicBezTo>
                <a:cubicBezTo>
                  <a:pt x="2663376" y="555997"/>
                  <a:pt x="2634429" y="527046"/>
                  <a:pt x="2634429" y="491334"/>
                </a:cubicBezTo>
                <a:cubicBezTo>
                  <a:pt x="2634429" y="455621"/>
                  <a:pt x="2663376" y="426670"/>
                  <a:pt x="2699084" y="426670"/>
                </a:cubicBezTo>
                <a:close/>
                <a:moveTo>
                  <a:pt x="2546449" y="426670"/>
                </a:moveTo>
                <a:cubicBezTo>
                  <a:pt x="2582156" y="426670"/>
                  <a:pt x="2611108" y="455621"/>
                  <a:pt x="2611108" y="491334"/>
                </a:cubicBezTo>
                <a:cubicBezTo>
                  <a:pt x="2611108" y="527046"/>
                  <a:pt x="2582156" y="555997"/>
                  <a:pt x="2546449" y="555997"/>
                </a:cubicBezTo>
                <a:cubicBezTo>
                  <a:pt x="2510726" y="555997"/>
                  <a:pt x="2481792" y="527046"/>
                  <a:pt x="2481792" y="491334"/>
                </a:cubicBezTo>
                <a:cubicBezTo>
                  <a:pt x="2481792" y="455621"/>
                  <a:pt x="2510726" y="426670"/>
                  <a:pt x="2546449" y="426670"/>
                </a:cubicBezTo>
                <a:close/>
                <a:moveTo>
                  <a:pt x="2389866" y="426670"/>
                </a:moveTo>
                <a:cubicBezTo>
                  <a:pt x="2425606" y="426670"/>
                  <a:pt x="2454554" y="455621"/>
                  <a:pt x="2454554" y="491334"/>
                </a:cubicBezTo>
                <a:cubicBezTo>
                  <a:pt x="2454554" y="527046"/>
                  <a:pt x="2425606" y="555997"/>
                  <a:pt x="2389866" y="555997"/>
                </a:cubicBezTo>
                <a:cubicBezTo>
                  <a:pt x="2354175" y="555997"/>
                  <a:pt x="2325217" y="527046"/>
                  <a:pt x="2325217" y="491334"/>
                </a:cubicBezTo>
                <a:cubicBezTo>
                  <a:pt x="2325217" y="455621"/>
                  <a:pt x="2354175" y="426670"/>
                  <a:pt x="2389866" y="426670"/>
                </a:cubicBezTo>
                <a:close/>
                <a:moveTo>
                  <a:pt x="2237196" y="426670"/>
                </a:moveTo>
                <a:cubicBezTo>
                  <a:pt x="2272921" y="426670"/>
                  <a:pt x="2301882" y="455621"/>
                  <a:pt x="2301882" y="491334"/>
                </a:cubicBezTo>
                <a:cubicBezTo>
                  <a:pt x="2301882" y="527046"/>
                  <a:pt x="2272921" y="555998"/>
                  <a:pt x="2237196" y="555998"/>
                </a:cubicBezTo>
                <a:cubicBezTo>
                  <a:pt x="2201472" y="555998"/>
                  <a:pt x="2172511" y="527046"/>
                  <a:pt x="2172511" y="491334"/>
                </a:cubicBezTo>
                <a:cubicBezTo>
                  <a:pt x="2172511" y="455621"/>
                  <a:pt x="2201472" y="426670"/>
                  <a:pt x="2237196" y="426670"/>
                </a:cubicBezTo>
                <a:close/>
                <a:moveTo>
                  <a:pt x="2084510" y="426670"/>
                </a:moveTo>
                <a:cubicBezTo>
                  <a:pt x="2120226" y="426670"/>
                  <a:pt x="2149176" y="455621"/>
                  <a:pt x="2149176" y="491334"/>
                </a:cubicBezTo>
                <a:cubicBezTo>
                  <a:pt x="2149176" y="527046"/>
                  <a:pt x="2120226" y="555998"/>
                  <a:pt x="2084510" y="555998"/>
                </a:cubicBezTo>
                <a:cubicBezTo>
                  <a:pt x="2048780" y="555998"/>
                  <a:pt x="2019873" y="527046"/>
                  <a:pt x="2019873" y="491334"/>
                </a:cubicBezTo>
                <a:cubicBezTo>
                  <a:pt x="2019873" y="455621"/>
                  <a:pt x="2048780" y="426670"/>
                  <a:pt x="2084510" y="426670"/>
                </a:cubicBezTo>
                <a:close/>
                <a:moveTo>
                  <a:pt x="1927912" y="426670"/>
                </a:moveTo>
                <a:cubicBezTo>
                  <a:pt x="1963649" y="426670"/>
                  <a:pt x="1992614" y="455621"/>
                  <a:pt x="1992614" y="491334"/>
                </a:cubicBezTo>
                <a:cubicBezTo>
                  <a:pt x="1992614" y="527046"/>
                  <a:pt x="1963649" y="555998"/>
                  <a:pt x="1927912" y="555998"/>
                </a:cubicBezTo>
                <a:cubicBezTo>
                  <a:pt x="1892243" y="555998"/>
                  <a:pt x="1863289" y="527046"/>
                  <a:pt x="1863289" y="491334"/>
                </a:cubicBezTo>
                <a:cubicBezTo>
                  <a:pt x="1863289" y="455621"/>
                  <a:pt x="1892243" y="426670"/>
                  <a:pt x="1927912" y="426670"/>
                </a:cubicBezTo>
                <a:close/>
                <a:moveTo>
                  <a:pt x="1775269" y="426670"/>
                </a:moveTo>
                <a:cubicBezTo>
                  <a:pt x="1810975" y="426670"/>
                  <a:pt x="1839963" y="455621"/>
                  <a:pt x="1839963" y="491334"/>
                </a:cubicBezTo>
                <a:cubicBezTo>
                  <a:pt x="1839963" y="527046"/>
                  <a:pt x="1810975" y="555998"/>
                  <a:pt x="1775269" y="555998"/>
                </a:cubicBezTo>
                <a:cubicBezTo>
                  <a:pt x="1739546" y="555998"/>
                  <a:pt x="1710597" y="527046"/>
                  <a:pt x="1710597" y="491334"/>
                </a:cubicBezTo>
                <a:cubicBezTo>
                  <a:pt x="1710597" y="455621"/>
                  <a:pt x="1739546" y="426670"/>
                  <a:pt x="1775269" y="426670"/>
                </a:cubicBezTo>
                <a:close/>
                <a:moveTo>
                  <a:pt x="1618685" y="426670"/>
                </a:moveTo>
                <a:cubicBezTo>
                  <a:pt x="1654407" y="426670"/>
                  <a:pt x="1683355" y="455621"/>
                  <a:pt x="1683355" y="491334"/>
                </a:cubicBezTo>
                <a:cubicBezTo>
                  <a:pt x="1683355" y="527046"/>
                  <a:pt x="1654407" y="555998"/>
                  <a:pt x="1618685" y="555998"/>
                </a:cubicBezTo>
                <a:cubicBezTo>
                  <a:pt x="1582975" y="555998"/>
                  <a:pt x="1554023" y="527046"/>
                  <a:pt x="1554023" y="491334"/>
                </a:cubicBezTo>
                <a:cubicBezTo>
                  <a:pt x="1554023" y="455621"/>
                  <a:pt x="1582975" y="426670"/>
                  <a:pt x="1618685" y="426670"/>
                </a:cubicBezTo>
                <a:close/>
                <a:moveTo>
                  <a:pt x="10312248" y="426669"/>
                </a:moveTo>
                <a:cubicBezTo>
                  <a:pt x="10347962" y="426669"/>
                  <a:pt x="10376914" y="455620"/>
                  <a:pt x="10376914" y="491332"/>
                </a:cubicBezTo>
                <a:cubicBezTo>
                  <a:pt x="10376914" y="527046"/>
                  <a:pt x="10347962" y="555997"/>
                  <a:pt x="10312248" y="555997"/>
                </a:cubicBezTo>
                <a:cubicBezTo>
                  <a:pt x="10276534" y="555997"/>
                  <a:pt x="10247582" y="527046"/>
                  <a:pt x="10247582" y="491332"/>
                </a:cubicBezTo>
                <a:cubicBezTo>
                  <a:pt x="10247582" y="455620"/>
                  <a:pt x="10276534" y="426669"/>
                  <a:pt x="10312248" y="426669"/>
                </a:cubicBezTo>
                <a:close/>
                <a:moveTo>
                  <a:pt x="10159588" y="426669"/>
                </a:moveTo>
                <a:cubicBezTo>
                  <a:pt x="10195302" y="426669"/>
                  <a:pt x="10224254" y="455620"/>
                  <a:pt x="10224254" y="491332"/>
                </a:cubicBezTo>
                <a:cubicBezTo>
                  <a:pt x="10224254" y="527046"/>
                  <a:pt x="10195302" y="555997"/>
                  <a:pt x="10159588" y="555997"/>
                </a:cubicBezTo>
                <a:cubicBezTo>
                  <a:pt x="10123874" y="555997"/>
                  <a:pt x="10094922" y="527046"/>
                  <a:pt x="10094922" y="491332"/>
                </a:cubicBezTo>
                <a:cubicBezTo>
                  <a:pt x="10094922" y="455620"/>
                  <a:pt x="10123874" y="426669"/>
                  <a:pt x="10159588" y="426669"/>
                </a:cubicBezTo>
                <a:close/>
                <a:moveTo>
                  <a:pt x="10003016" y="426669"/>
                </a:moveTo>
                <a:cubicBezTo>
                  <a:pt x="10038730" y="426669"/>
                  <a:pt x="10067682" y="455620"/>
                  <a:pt x="10067682" y="491332"/>
                </a:cubicBezTo>
                <a:cubicBezTo>
                  <a:pt x="10067682" y="527046"/>
                  <a:pt x="10038730" y="555997"/>
                  <a:pt x="10003016" y="555997"/>
                </a:cubicBezTo>
                <a:cubicBezTo>
                  <a:pt x="9967302" y="555997"/>
                  <a:pt x="9938350" y="527046"/>
                  <a:pt x="9938350" y="491332"/>
                </a:cubicBezTo>
                <a:cubicBezTo>
                  <a:pt x="9938350" y="455620"/>
                  <a:pt x="9967302" y="426669"/>
                  <a:pt x="10003016" y="426669"/>
                </a:cubicBezTo>
                <a:close/>
                <a:moveTo>
                  <a:pt x="9075319" y="426669"/>
                </a:moveTo>
                <a:cubicBezTo>
                  <a:pt x="9111033" y="426669"/>
                  <a:pt x="9139985" y="455620"/>
                  <a:pt x="9139985" y="491332"/>
                </a:cubicBezTo>
                <a:cubicBezTo>
                  <a:pt x="9139985" y="527046"/>
                  <a:pt x="9111033" y="555997"/>
                  <a:pt x="9075319" y="555997"/>
                </a:cubicBezTo>
                <a:cubicBezTo>
                  <a:pt x="9039605" y="555997"/>
                  <a:pt x="9010653" y="527046"/>
                  <a:pt x="9010653" y="491332"/>
                </a:cubicBezTo>
                <a:cubicBezTo>
                  <a:pt x="9010653" y="455620"/>
                  <a:pt x="9039605" y="426669"/>
                  <a:pt x="9075319" y="426669"/>
                </a:cubicBezTo>
                <a:close/>
                <a:moveTo>
                  <a:pt x="8914831" y="426669"/>
                </a:moveTo>
                <a:cubicBezTo>
                  <a:pt x="8950545" y="426669"/>
                  <a:pt x="8979497" y="455620"/>
                  <a:pt x="8979497" y="491332"/>
                </a:cubicBezTo>
                <a:cubicBezTo>
                  <a:pt x="8979497" y="527046"/>
                  <a:pt x="8950545" y="555997"/>
                  <a:pt x="8914831" y="555997"/>
                </a:cubicBezTo>
                <a:cubicBezTo>
                  <a:pt x="8879117" y="555997"/>
                  <a:pt x="8850165" y="527046"/>
                  <a:pt x="8850165" y="491332"/>
                </a:cubicBezTo>
                <a:cubicBezTo>
                  <a:pt x="8850165" y="455620"/>
                  <a:pt x="8879117" y="426669"/>
                  <a:pt x="8914831" y="426669"/>
                </a:cubicBezTo>
                <a:close/>
                <a:moveTo>
                  <a:pt x="8766086" y="426669"/>
                </a:moveTo>
                <a:cubicBezTo>
                  <a:pt x="8801800" y="426669"/>
                  <a:pt x="8830752" y="455620"/>
                  <a:pt x="8830752" y="491332"/>
                </a:cubicBezTo>
                <a:cubicBezTo>
                  <a:pt x="8830752" y="527046"/>
                  <a:pt x="8801800" y="555997"/>
                  <a:pt x="8766086" y="555997"/>
                </a:cubicBezTo>
                <a:cubicBezTo>
                  <a:pt x="8730372" y="555997"/>
                  <a:pt x="8701420" y="527046"/>
                  <a:pt x="8701420" y="491332"/>
                </a:cubicBezTo>
                <a:cubicBezTo>
                  <a:pt x="8701420" y="455620"/>
                  <a:pt x="8730372" y="426669"/>
                  <a:pt x="8766086" y="426669"/>
                </a:cubicBezTo>
                <a:close/>
                <a:moveTo>
                  <a:pt x="8601685" y="426669"/>
                </a:moveTo>
                <a:cubicBezTo>
                  <a:pt x="8637399" y="426669"/>
                  <a:pt x="8666351" y="455620"/>
                  <a:pt x="8666351" y="491332"/>
                </a:cubicBezTo>
                <a:cubicBezTo>
                  <a:pt x="8666351" y="527046"/>
                  <a:pt x="8637399" y="555997"/>
                  <a:pt x="8601685" y="555997"/>
                </a:cubicBezTo>
                <a:cubicBezTo>
                  <a:pt x="8565971" y="555997"/>
                  <a:pt x="8537019" y="527046"/>
                  <a:pt x="8537019" y="491332"/>
                </a:cubicBezTo>
                <a:cubicBezTo>
                  <a:pt x="8537019" y="455620"/>
                  <a:pt x="8565971" y="426669"/>
                  <a:pt x="8601685" y="426669"/>
                </a:cubicBezTo>
                <a:close/>
                <a:moveTo>
                  <a:pt x="7677904" y="426669"/>
                </a:moveTo>
                <a:cubicBezTo>
                  <a:pt x="7713618" y="426669"/>
                  <a:pt x="7742570" y="455620"/>
                  <a:pt x="7742570" y="491332"/>
                </a:cubicBezTo>
                <a:cubicBezTo>
                  <a:pt x="7742570" y="527046"/>
                  <a:pt x="7713618" y="555997"/>
                  <a:pt x="7677904" y="555997"/>
                </a:cubicBezTo>
                <a:cubicBezTo>
                  <a:pt x="7642190" y="555997"/>
                  <a:pt x="7613238" y="527046"/>
                  <a:pt x="7613238" y="491332"/>
                </a:cubicBezTo>
                <a:cubicBezTo>
                  <a:pt x="7613238" y="455620"/>
                  <a:pt x="7642190" y="426669"/>
                  <a:pt x="7677904" y="426669"/>
                </a:cubicBezTo>
                <a:close/>
                <a:moveTo>
                  <a:pt x="7521331" y="426669"/>
                </a:moveTo>
                <a:cubicBezTo>
                  <a:pt x="7557045" y="426669"/>
                  <a:pt x="7585997" y="455620"/>
                  <a:pt x="7585997" y="491332"/>
                </a:cubicBezTo>
                <a:cubicBezTo>
                  <a:pt x="7585997" y="527046"/>
                  <a:pt x="7557045" y="555997"/>
                  <a:pt x="7521331" y="555997"/>
                </a:cubicBezTo>
                <a:cubicBezTo>
                  <a:pt x="7485617" y="555997"/>
                  <a:pt x="7456665" y="527046"/>
                  <a:pt x="7456665" y="491332"/>
                </a:cubicBezTo>
                <a:cubicBezTo>
                  <a:pt x="7456665" y="455620"/>
                  <a:pt x="7485617" y="426669"/>
                  <a:pt x="7521331" y="426669"/>
                </a:cubicBezTo>
                <a:close/>
                <a:moveTo>
                  <a:pt x="4722614" y="426669"/>
                </a:moveTo>
                <a:cubicBezTo>
                  <a:pt x="4758338" y="426669"/>
                  <a:pt x="4787277" y="455621"/>
                  <a:pt x="4787277" y="491332"/>
                </a:cubicBezTo>
                <a:cubicBezTo>
                  <a:pt x="4787277" y="527046"/>
                  <a:pt x="4758338" y="555997"/>
                  <a:pt x="4722614" y="555997"/>
                </a:cubicBezTo>
                <a:cubicBezTo>
                  <a:pt x="4686908" y="555997"/>
                  <a:pt x="4657957" y="527046"/>
                  <a:pt x="4657957" y="491332"/>
                </a:cubicBezTo>
                <a:cubicBezTo>
                  <a:pt x="4657957" y="455621"/>
                  <a:pt x="4686908" y="426669"/>
                  <a:pt x="4722614" y="426669"/>
                </a:cubicBezTo>
                <a:close/>
                <a:moveTo>
                  <a:pt x="4566030" y="426669"/>
                </a:moveTo>
                <a:cubicBezTo>
                  <a:pt x="4601751" y="426669"/>
                  <a:pt x="4630712" y="455621"/>
                  <a:pt x="4630712" y="491332"/>
                </a:cubicBezTo>
                <a:cubicBezTo>
                  <a:pt x="4630712" y="527046"/>
                  <a:pt x="4601751" y="555997"/>
                  <a:pt x="4566030" y="555997"/>
                </a:cubicBezTo>
                <a:cubicBezTo>
                  <a:pt x="4530304" y="555997"/>
                  <a:pt x="4501345" y="527046"/>
                  <a:pt x="4501345" y="491332"/>
                </a:cubicBezTo>
                <a:cubicBezTo>
                  <a:pt x="4501345" y="455621"/>
                  <a:pt x="4530304" y="426669"/>
                  <a:pt x="4566030" y="426669"/>
                </a:cubicBezTo>
                <a:close/>
                <a:moveTo>
                  <a:pt x="4409471" y="426669"/>
                </a:moveTo>
                <a:cubicBezTo>
                  <a:pt x="4445169" y="426669"/>
                  <a:pt x="4474113" y="455621"/>
                  <a:pt x="4474113" y="491332"/>
                </a:cubicBezTo>
                <a:cubicBezTo>
                  <a:pt x="4474113" y="527046"/>
                  <a:pt x="4445169" y="555997"/>
                  <a:pt x="4409471" y="555997"/>
                </a:cubicBezTo>
                <a:cubicBezTo>
                  <a:pt x="4373772" y="555997"/>
                  <a:pt x="4344809" y="527046"/>
                  <a:pt x="4344809" y="491332"/>
                </a:cubicBezTo>
                <a:cubicBezTo>
                  <a:pt x="4344809" y="455621"/>
                  <a:pt x="4373772" y="426669"/>
                  <a:pt x="4409471" y="426669"/>
                </a:cubicBezTo>
                <a:close/>
                <a:moveTo>
                  <a:pt x="4256823" y="426669"/>
                </a:moveTo>
                <a:cubicBezTo>
                  <a:pt x="4292543" y="426669"/>
                  <a:pt x="4321471" y="455621"/>
                  <a:pt x="4321471" y="491332"/>
                </a:cubicBezTo>
                <a:cubicBezTo>
                  <a:pt x="4321471" y="527046"/>
                  <a:pt x="4292543" y="555997"/>
                  <a:pt x="4256823" y="555997"/>
                </a:cubicBezTo>
                <a:cubicBezTo>
                  <a:pt x="4221105" y="555997"/>
                  <a:pt x="4192125" y="527046"/>
                  <a:pt x="4192125" y="491332"/>
                </a:cubicBezTo>
                <a:cubicBezTo>
                  <a:pt x="4192125" y="455621"/>
                  <a:pt x="4221105" y="426669"/>
                  <a:pt x="4256823" y="426669"/>
                </a:cubicBezTo>
                <a:close/>
                <a:moveTo>
                  <a:pt x="4100255" y="426669"/>
                </a:moveTo>
                <a:cubicBezTo>
                  <a:pt x="4135957" y="426669"/>
                  <a:pt x="4164923" y="455621"/>
                  <a:pt x="4164923" y="491332"/>
                </a:cubicBezTo>
                <a:cubicBezTo>
                  <a:pt x="4164923" y="527046"/>
                  <a:pt x="4135957" y="555997"/>
                  <a:pt x="4100255" y="555997"/>
                </a:cubicBezTo>
                <a:cubicBezTo>
                  <a:pt x="4064528" y="555997"/>
                  <a:pt x="4035594" y="527046"/>
                  <a:pt x="4035594" y="491332"/>
                </a:cubicBezTo>
                <a:cubicBezTo>
                  <a:pt x="4035594" y="455621"/>
                  <a:pt x="4064528" y="426669"/>
                  <a:pt x="4100255" y="426669"/>
                </a:cubicBezTo>
                <a:close/>
                <a:moveTo>
                  <a:pt x="3947579" y="426669"/>
                </a:moveTo>
                <a:cubicBezTo>
                  <a:pt x="3983297" y="426669"/>
                  <a:pt x="4012257" y="455621"/>
                  <a:pt x="4012257" y="491332"/>
                </a:cubicBezTo>
                <a:cubicBezTo>
                  <a:pt x="4012257" y="527046"/>
                  <a:pt x="3983297" y="555997"/>
                  <a:pt x="3947579" y="555997"/>
                </a:cubicBezTo>
                <a:cubicBezTo>
                  <a:pt x="3912015" y="555997"/>
                  <a:pt x="3883064" y="527046"/>
                  <a:pt x="3883064" y="491332"/>
                </a:cubicBezTo>
                <a:cubicBezTo>
                  <a:pt x="3883064" y="455621"/>
                  <a:pt x="3912015" y="426669"/>
                  <a:pt x="3947579" y="426669"/>
                </a:cubicBezTo>
                <a:close/>
                <a:moveTo>
                  <a:pt x="3791161" y="426669"/>
                </a:moveTo>
                <a:cubicBezTo>
                  <a:pt x="3826868" y="426669"/>
                  <a:pt x="3855823" y="455621"/>
                  <a:pt x="3855823" y="491332"/>
                </a:cubicBezTo>
                <a:cubicBezTo>
                  <a:pt x="3855823" y="527046"/>
                  <a:pt x="3826868" y="555997"/>
                  <a:pt x="3791161" y="555997"/>
                </a:cubicBezTo>
                <a:cubicBezTo>
                  <a:pt x="3755440" y="555997"/>
                  <a:pt x="3726486" y="527046"/>
                  <a:pt x="3726486" y="491332"/>
                </a:cubicBezTo>
                <a:cubicBezTo>
                  <a:pt x="3726486" y="455621"/>
                  <a:pt x="3755440" y="426669"/>
                  <a:pt x="3791161" y="426669"/>
                </a:cubicBezTo>
                <a:close/>
                <a:moveTo>
                  <a:pt x="3630671" y="426669"/>
                </a:moveTo>
                <a:cubicBezTo>
                  <a:pt x="3666383" y="426669"/>
                  <a:pt x="3695344" y="455621"/>
                  <a:pt x="3695344" y="491332"/>
                </a:cubicBezTo>
                <a:cubicBezTo>
                  <a:pt x="3695344" y="527046"/>
                  <a:pt x="3666383" y="555997"/>
                  <a:pt x="3630671" y="555997"/>
                </a:cubicBezTo>
                <a:cubicBezTo>
                  <a:pt x="3594946" y="555997"/>
                  <a:pt x="3565990" y="527046"/>
                  <a:pt x="3565990" y="491332"/>
                </a:cubicBezTo>
                <a:cubicBezTo>
                  <a:pt x="3565990" y="455621"/>
                  <a:pt x="3594946" y="426669"/>
                  <a:pt x="3630671" y="426669"/>
                </a:cubicBezTo>
                <a:close/>
                <a:moveTo>
                  <a:pt x="3481916" y="426669"/>
                </a:moveTo>
                <a:cubicBezTo>
                  <a:pt x="3517633" y="426669"/>
                  <a:pt x="3546591" y="455621"/>
                  <a:pt x="3546591" y="491332"/>
                </a:cubicBezTo>
                <a:cubicBezTo>
                  <a:pt x="3546591" y="527046"/>
                  <a:pt x="3517633" y="555997"/>
                  <a:pt x="3481916" y="555997"/>
                </a:cubicBezTo>
                <a:cubicBezTo>
                  <a:pt x="3446210" y="555997"/>
                  <a:pt x="3417259" y="527046"/>
                  <a:pt x="3417259" y="491332"/>
                </a:cubicBezTo>
                <a:cubicBezTo>
                  <a:pt x="3417259" y="455621"/>
                  <a:pt x="3446210" y="426669"/>
                  <a:pt x="3481916" y="426669"/>
                </a:cubicBezTo>
                <a:close/>
                <a:moveTo>
                  <a:pt x="3321451" y="426669"/>
                </a:moveTo>
                <a:cubicBezTo>
                  <a:pt x="3357165" y="426669"/>
                  <a:pt x="3386094" y="455621"/>
                  <a:pt x="3386094" y="491334"/>
                </a:cubicBezTo>
                <a:cubicBezTo>
                  <a:pt x="3386094" y="527046"/>
                  <a:pt x="3357165" y="555997"/>
                  <a:pt x="3321451" y="555997"/>
                </a:cubicBezTo>
                <a:cubicBezTo>
                  <a:pt x="3285730" y="555997"/>
                  <a:pt x="3256791" y="527046"/>
                  <a:pt x="3256791" y="491334"/>
                </a:cubicBezTo>
                <a:cubicBezTo>
                  <a:pt x="3256791" y="455621"/>
                  <a:pt x="3285730" y="426669"/>
                  <a:pt x="3321451" y="426669"/>
                </a:cubicBezTo>
                <a:close/>
                <a:moveTo>
                  <a:pt x="2855634" y="289662"/>
                </a:moveTo>
                <a:cubicBezTo>
                  <a:pt x="2891335" y="289662"/>
                  <a:pt x="2920282" y="318614"/>
                  <a:pt x="2920282" y="354327"/>
                </a:cubicBezTo>
                <a:cubicBezTo>
                  <a:pt x="2920282" y="390040"/>
                  <a:pt x="2891335" y="419004"/>
                  <a:pt x="2855634" y="419004"/>
                </a:cubicBezTo>
                <a:cubicBezTo>
                  <a:pt x="2819922" y="419004"/>
                  <a:pt x="2790973" y="390040"/>
                  <a:pt x="2790973" y="354327"/>
                </a:cubicBezTo>
                <a:cubicBezTo>
                  <a:pt x="2790973" y="318614"/>
                  <a:pt x="2819922" y="289662"/>
                  <a:pt x="2855634" y="289662"/>
                </a:cubicBezTo>
                <a:close/>
                <a:moveTo>
                  <a:pt x="2699084" y="289662"/>
                </a:moveTo>
                <a:cubicBezTo>
                  <a:pt x="2734792" y="289662"/>
                  <a:pt x="2763736" y="318614"/>
                  <a:pt x="2763736" y="354327"/>
                </a:cubicBezTo>
                <a:cubicBezTo>
                  <a:pt x="2763736" y="390040"/>
                  <a:pt x="2734792" y="419004"/>
                  <a:pt x="2699084" y="419004"/>
                </a:cubicBezTo>
                <a:cubicBezTo>
                  <a:pt x="2663376" y="419004"/>
                  <a:pt x="2634429" y="390040"/>
                  <a:pt x="2634429" y="354327"/>
                </a:cubicBezTo>
                <a:cubicBezTo>
                  <a:pt x="2634429" y="318614"/>
                  <a:pt x="2663376" y="289662"/>
                  <a:pt x="2699084" y="289662"/>
                </a:cubicBezTo>
                <a:close/>
                <a:moveTo>
                  <a:pt x="2546449" y="289662"/>
                </a:moveTo>
                <a:cubicBezTo>
                  <a:pt x="2582162" y="289662"/>
                  <a:pt x="2611108" y="318614"/>
                  <a:pt x="2611108" y="354327"/>
                </a:cubicBezTo>
                <a:cubicBezTo>
                  <a:pt x="2611108" y="390040"/>
                  <a:pt x="2582162" y="419004"/>
                  <a:pt x="2546449" y="419004"/>
                </a:cubicBezTo>
                <a:cubicBezTo>
                  <a:pt x="2510726" y="419004"/>
                  <a:pt x="2481792" y="390040"/>
                  <a:pt x="2481792" y="354327"/>
                </a:cubicBezTo>
                <a:cubicBezTo>
                  <a:pt x="2481792" y="318614"/>
                  <a:pt x="2510726" y="289662"/>
                  <a:pt x="2546449" y="289662"/>
                </a:cubicBezTo>
                <a:close/>
                <a:moveTo>
                  <a:pt x="2237196" y="289662"/>
                </a:moveTo>
                <a:cubicBezTo>
                  <a:pt x="2272921" y="289662"/>
                  <a:pt x="2301882" y="318614"/>
                  <a:pt x="2301882" y="354327"/>
                </a:cubicBezTo>
                <a:cubicBezTo>
                  <a:pt x="2301882" y="390040"/>
                  <a:pt x="2272921" y="419004"/>
                  <a:pt x="2237196" y="419004"/>
                </a:cubicBezTo>
                <a:cubicBezTo>
                  <a:pt x="2201472" y="419004"/>
                  <a:pt x="2172511" y="390040"/>
                  <a:pt x="2172511" y="354327"/>
                </a:cubicBezTo>
                <a:cubicBezTo>
                  <a:pt x="2172511" y="318614"/>
                  <a:pt x="2201472" y="289662"/>
                  <a:pt x="2237196" y="289662"/>
                </a:cubicBezTo>
                <a:close/>
                <a:moveTo>
                  <a:pt x="2084510" y="289662"/>
                </a:moveTo>
                <a:cubicBezTo>
                  <a:pt x="2120230" y="289662"/>
                  <a:pt x="2149176" y="318614"/>
                  <a:pt x="2149176" y="354327"/>
                </a:cubicBezTo>
                <a:cubicBezTo>
                  <a:pt x="2149176" y="390041"/>
                  <a:pt x="2120230" y="419004"/>
                  <a:pt x="2084510" y="419004"/>
                </a:cubicBezTo>
                <a:cubicBezTo>
                  <a:pt x="2048783" y="419004"/>
                  <a:pt x="2019873" y="390041"/>
                  <a:pt x="2019873" y="354327"/>
                </a:cubicBezTo>
                <a:cubicBezTo>
                  <a:pt x="2019873" y="318614"/>
                  <a:pt x="2048783" y="289662"/>
                  <a:pt x="2084510" y="289662"/>
                </a:cubicBezTo>
                <a:close/>
                <a:moveTo>
                  <a:pt x="1927926" y="289662"/>
                </a:moveTo>
                <a:cubicBezTo>
                  <a:pt x="1963649" y="289662"/>
                  <a:pt x="1992616" y="318614"/>
                  <a:pt x="1992616" y="354327"/>
                </a:cubicBezTo>
                <a:cubicBezTo>
                  <a:pt x="1992616" y="390041"/>
                  <a:pt x="1963649" y="419004"/>
                  <a:pt x="1927926" y="419004"/>
                </a:cubicBezTo>
                <a:cubicBezTo>
                  <a:pt x="1892248" y="419004"/>
                  <a:pt x="1863292" y="390041"/>
                  <a:pt x="1863292" y="354327"/>
                </a:cubicBezTo>
                <a:cubicBezTo>
                  <a:pt x="1863292" y="318614"/>
                  <a:pt x="1892248" y="289662"/>
                  <a:pt x="1927926" y="289662"/>
                </a:cubicBezTo>
                <a:close/>
                <a:moveTo>
                  <a:pt x="1775272" y="289662"/>
                </a:moveTo>
                <a:cubicBezTo>
                  <a:pt x="1810975" y="289662"/>
                  <a:pt x="1839963" y="318614"/>
                  <a:pt x="1839963" y="354327"/>
                </a:cubicBezTo>
                <a:cubicBezTo>
                  <a:pt x="1839963" y="390041"/>
                  <a:pt x="1810975" y="419004"/>
                  <a:pt x="1775272" y="419004"/>
                </a:cubicBezTo>
                <a:cubicBezTo>
                  <a:pt x="1739556" y="419004"/>
                  <a:pt x="1710600" y="390041"/>
                  <a:pt x="1710600" y="354327"/>
                </a:cubicBezTo>
                <a:cubicBezTo>
                  <a:pt x="1710600" y="318614"/>
                  <a:pt x="1739556" y="289662"/>
                  <a:pt x="1775272" y="289662"/>
                </a:cubicBezTo>
                <a:close/>
                <a:moveTo>
                  <a:pt x="1618690" y="289662"/>
                </a:moveTo>
                <a:cubicBezTo>
                  <a:pt x="1654409" y="289662"/>
                  <a:pt x="1683360" y="318614"/>
                  <a:pt x="1683360" y="354327"/>
                </a:cubicBezTo>
                <a:cubicBezTo>
                  <a:pt x="1683360" y="390041"/>
                  <a:pt x="1654409" y="419004"/>
                  <a:pt x="1618690" y="419004"/>
                </a:cubicBezTo>
                <a:cubicBezTo>
                  <a:pt x="1582976" y="419004"/>
                  <a:pt x="1554023" y="390041"/>
                  <a:pt x="1554023" y="354327"/>
                </a:cubicBezTo>
                <a:cubicBezTo>
                  <a:pt x="1554023" y="318614"/>
                  <a:pt x="1582976" y="289662"/>
                  <a:pt x="1618690" y="289662"/>
                </a:cubicBezTo>
                <a:close/>
                <a:moveTo>
                  <a:pt x="3791161" y="289662"/>
                </a:moveTo>
                <a:cubicBezTo>
                  <a:pt x="3826868" y="289662"/>
                  <a:pt x="3855823" y="318614"/>
                  <a:pt x="3855823" y="354325"/>
                </a:cubicBezTo>
                <a:cubicBezTo>
                  <a:pt x="3855823" y="390040"/>
                  <a:pt x="3826868" y="419003"/>
                  <a:pt x="3791161" y="419003"/>
                </a:cubicBezTo>
                <a:cubicBezTo>
                  <a:pt x="3755440" y="419003"/>
                  <a:pt x="3726486" y="390040"/>
                  <a:pt x="3726486" y="354325"/>
                </a:cubicBezTo>
                <a:cubicBezTo>
                  <a:pt x="3726486" y="318614"/>
                  <a:pt x="3755440" y="289662"/>
                  <a:pt x="3791161" y="289662"/>
                </a:cubicBezTo>
                <a:close/>
                <a:moveTo>
                  <a:pt x="3630675" y="289662"/>
                </a:moveTo>
                <a:cubicBezTo>
                  <a:pt x="3666383" y="289662"/>
                  <a:pt x="3695344" y="318614"/>
                  <a:pt x="3695344" y="354325"/>
                </a:cubicBezTo>
                <a:cubicBezTo>
                  <a:pt x="3695344" y="390040"/>
                  <a:pt x="3666383" y="419003"/>
                  <a:pt x="3630675" y="419003"/>
                </a:cubicBezTo>
                <a:cubicBezTo>
                  <a:pt x="3594946" y="419003"/>
                  <a:pt x="3565992" y="390040"/>
                  <a:pt x="3565992" y="354325"/>
                </a:cubicBezTo>
                <a:cubicBezTo>
                  <a:pt x="3565992" y="318614"/>
                  <a:pt x="3594946" y="289662"/>
                  <a:pt x="3630675" y="289662"/>
                </a:cubicBezTo>
                <a:close/>
                <a:moveTo>
                  <a:pt x="3481916" y="289662"/>
                </a:moveTo>
                <a:cubicBezTo>
                  <a:pt x="3517633" y="289662"/>
                  <a:pt x="3546591" y="318614"/>
                  <a:pt x="3546591" y="354325"/>
                </a:cubicBezTo>
                <a:cubicBezTo>
                  <a:pt x="3546591" y="390040"/>
                  <a:pt x="3517633" y="419003"/>
                  <a:pt x="3481916" y="419003"/>
                </a:cubicBezTo>
                <a:cubicBezTo>
                  <a:pt x="3446210" y="419003"/>
                  <a:pt x="3417259" y="390040"/>
                  <a:pt x="3417259" y="354325"/>
                </a:cubicBezTo>
                <a:cubicBezTo>
                  <a:pt x="3417259" y="318614"/>
                  <a:pt x="3446210" y="289662"/>
                  <a:pt x="3481916" y="289662"/>
                </a:cubicBezTo>
                <a:close/>
                <a:moveTo>
                  <a:pt x="3321451" y="289662"/>
                </a:moveTo>
                <a:cubicBezTo>
                  <a:pt x="3357165" y="289662"/>
                  <a:pt x="3386094" y="318614"/>
                  <a:pt x="3386094" y="354325"/>
                </a:cubicBezTo>
                <a:cubicBezTo>
                  <a:pt x="3386094" y="390040"/>
                  <a:pt x="3357165" y="419003"/>
                  <a:pt x="3321451" y="419003"/>
                </a:cubicBezTo>
                <a:cubicBezTo>
                  <a:pt x="3285730" y="419003"/>
                  <a:pt x="3256791" y="390040"/>
                  <a:pt x="3256791" y="354325"/>
                </a:cubicBezTo>
                <a:cubicBezTo>
                  <a:pt x="3256791" y="318614"/>
                  <a:pt x="3285730" y="289662"/>
                  <a:pt x="3321451" y="289662"/>
                </a:cubicBezTo>
                <a:close/>
                <a:moveTo>
                  <a:pt x="3012178" y="289662"/>
                </a:moveTo>
                <a:cubicBezTo>
                  <a:pt x="3047889" y="289662"/>
                  <a:pt x="3076850" y="318614"/>
                  <a:pt x="3076850" y="354327"/>
                </a:cubicBezTo>
                <a:cubicBezTo>
                  <a:pt x="3076850" y="390040"/>
                  <a:pt x="3047889" y="419004"/>
                  <a:pt x="3012178" y="419004"/>
                </a:cubicBezTo>
                <a:cubicBezTo>
                  <a:pt x="2976470" y="419004"/>
                  <a:pt x="2947522" y="390040"/>
                  <a:pt x="2947522" y="354327"/>
                </a:cubicBezTo>
                <a:cubicBezTo>
                  <a:pt x="2947522" y="318614"/>
                  <a:pt x="2976470" y="289662"/>
                  <a:pt x="3012178" y="289662"/>
                </a:cubicBezTo>
                <a:close/>
                <a:moveTo>
                  <a:pt x="4722614" y="289661"/>
                </a:moveTo>
                <a:cubicBezTo>
                  <a:pt x="4758338" y="289661"/>
                  <a:pt x="4787277" y="318614"/>
                  <a:pt x="4787277" y="354325"/>
                </a:cubicBezTo>
                <a:cubicBezTo>
                  <a:pt x="4787277" y="390040"/>
                  <a:pt x="4758338" y="419003"/>
                  <a:pt x="4722614" y="419003"/>
                </a:cubicBezTo>
                <a:cubicBezTo>
                  <a:pt x="4686908" y="419003"/>
                  <a:pt x="4657957" y="390040"/>
                  <a:pt x="4657957" y="354325"/>
                </a:cubicBezTo>
                <a:cubicBezTo>
                  <a:pt x="4657957" y="318614"/>
                  <a:pt x="4686908" y="289661"/>
                  <a:pt x="4722614" y="289661"/>
                </a:cubicBezTo>
                <a:close/>
                <a:moveTo>
                  <a:pt x="4566033" y="289661"/>
                </a:moveTo>
                <a:cubicBezTo>
                  <a:pt x="4601754" y="289661"/>
                  <a:pt x="4630719" y="318614"/>
                  <a:pt x="4630719" y="354325"/>
                </a:cubicBezTo>
                <a:cubicBezTo>
                  <a:pt x="4630719" y="390040"/>
                  <a:pt x="4601754" y="419003"/>
                  <a:pt x="4566033" y="419003"/>
                </a:cubicBezTo>
                <a:cubicBezTo>
                  <a:pt x="4530305" y="419003"/>
                  <a:pt x="4501349" y="390040"/>
                  <a:pt x="4501349" y="354325"/>
                </a:cubicBezTo>
                <a:cubicBezTo>
                  <a:pt x="4501349" y="318614"/>
                  <a:pt x="4530305" y="289661"/>
                  <a:pt x="4566033" y="289661"/>
                </a:cubicBezTo>
                <a:close/>
                <a:moveTo>
                  <a:pt x="4409471" y="289661"/>
                </a:moveTo>
                <a:cubicBezTo>
                  <a:pt x="4445169" y="289661"/>
                  <a:pt x="4474113" y="318614"/>
                  <a:pt x="4474113" y="354325"/>
                </a:cubicBezTo>
                <a:cubicBezTo>
                  <a:pt x="4474113" y="390040"/>
                  <a:pt x="4445169" y="419003"/>
                  <a:pt x="4409471" y="419003"/>
                </a:cubicBezTo>
                <a:cubicBezTo>
                  <a:pt x="4373772" y="419003"/>
                  <a:pt x="4344809" y="390040"/>
                  <a:pt x="4344809" y="354325"/>
                </a:cubicBezTo>
                <a:cubicBezTo>
                  <a:pt x="4344809" y="318614"/>
                  <a:pt x="4373772" y="289661"/>
                  <a:pt x="4409471" y="289661"/>
                </a:cubicBezTo>
                <a:close/>
                <a:moveTo>
                  <a:pt x="4256823" y="289661"/>
                </a:moveTo>
                <a:cubicBezTo>
                  <a:pt x="4292543" y="289661"/>
                  <a:pt x="4321471" y="318614"/>
                  <a:pt x="4321471" y="354325"/>
                </a:cubicBezTo>
                <a:cubicBezTo>
                  <a:pt x="4321471" y="390040"/>
                  <a:pt x="4292543" y="419003"/>
                  <a:pt x="4256823" y="419003"/>
                </a:cubicBezTo>
                <a:cubicBezTo>
                  <a:pt x="4221105" y="419003"/>
                  <a:pt x="4192125" y="390040"/>
                  <a:pt x="4192125" y="354325"/>
                </a:cubicBezTo>
                <a:cubicBezTo>
                  <a:pt x="4192125" y="318614"/>
                  <a:pt x="4221105" y="289661"/>
                  <a:pt x="4256823" y="289661"/>
                </a:cubicBezTo>
                <a:close/>
                <a:moveTo>
                  <a:pt x="4100255" y="289661"/>
                </a:moveTo>
                <a:cubicBezTo>
                  <a:pt x="4135957" y="289661"/>
                  <a:pt x="4164923" y="318614"/>
                  <a:pt x="4164923" y="354325"/>
                </a:cubicBezTo>
                <a:cubicBezTo>
                  <a:pt x="4164923" y="390040"/>
                  <a:pt x="4135957" y="419003"/>
                  <a:pt x="4100255" y="419003"/>
                </a:cubicBezTo>
                <a:cubicBezTo>
                  <a:pt x="4064528" y="419003"/>
                  <a:pt x="4035594" y="390040"/>
                  <a:pt x="4035594" y="354325"/>
                </a:cubicBezTo>
                <a:cubicBezTo>
                  <a:pt x="4035594" y="318614"/>
                  <a:pt x="4064528" y="289661"/>
                  <a:pt x="4100255" y="289661"/>
                </a:cubicBezTo>
                <a:close/>
                <a:moveTo>
                  <a:pt x="3947579" y="289661"/>
                </a:moveTo>
                <a:cubicBezTo>
                  <a:pt x="3983297" y="289661"/>
                  <a:pt x="4012257" y="318614"/>
                  <a:pt x="4012257" y="354325"/>
                </a:cubicBezTo>
                <a:cubicBezTo>
                  <a:pt x="4012257" y="390040"/>
                  <a:pt x="3983297" y="419003"/>
                  <a:pt x="3947579" y="419003"/>
                </a:cubicBezTo>
                <a:cubicBezTo>
                  <a:pt x="3912017" y="419003"/>
                  <a:pt x="3883069" y="390040"/>
                  <a:pt x="3883069" y="354325"/>
                </a:cubicBezTo>
                <a:cubicBezTo>
                  <a:pt x="3883069" y="318614"/>
                  <a:pt x="3912017" y="289661"/>
                  <a:pt x="3947579" y="289661"/>
                </a:cubicBezTo>
                <a:close/>
                <a:moveTo>
                  <a:pt x="8914831" y="289661"/>
                </a:moveTo>
                <a:cubicBezTo>
                  <a:pt x="8950545" y="289661"/>
                  <a:pt x="8979497" y="318614"/>
                  <a:pt x="8979497" y="354325"/>
                </a:cubicBezTo>
                <a:cubicBezTo>
                  <a:pt x="8979497" y="390040"/>
                  <a:pt x="8950545" y="419003"/>
                  <a:pt x="8914831" y="419003"/>
                </a:cubicBezTo>
                <a:cubicBezTo>
                  <a:pt x="8879117" y="419003"/>
                  <a:pt x="8850165" y="390040"/>
                  <a:pt x="8850165" y="354325"/>
                </a:cubicBezTo>
                <a:cubicBezTo>
                  <a:pt x="8850165" y="318614"/>
                  <a:pt x="8879117" y="289661"/>
                  <a:pt x="8914831" y="289661"/>
                </a:cubicBezTo>
                <a:close/>
                <a:moveTo>
                  <a:pt x="8766087" y="289661"/>
                </a:moveTo>
                <a:cubicBezTo>
                  <a:pt x="8801801" y="289661"/>
                  <a:pt x="8830753" y="318614"/>
                  <a:pt x="8830753" y="354325"/>
                </a:cubicBezTo>
                <a:cubicBezTo>
                  <a:pt x="8830753" y="390040"/>
                  <a:pt x="8801801" y="419003"/>
                  <a:pt x="8766087" y="419003"/>
                </a:cubicBezTo>
                <a:cubicBezTo>
                  <a:pt x="8730373" y="419003"/>
                  <a:pt x="8701421" y="390040"/>
                  <a:pt x="8701421" y="354325"/>
                </a:cubicBezTo>
                <a:cubicBezTo>
                  <a:pt x="8701421" y="318614"/>
                  <a:pt x="8730373" y="289661"/>
                  <a:pt x="8766087" y="289661"/>
                </a:cubicBezTo>
                <a:close/>
                <a:moveTo>
                  <a:pt x="5967339" y="289661"/>
                </a:moveTo>
                <a:cubicBezTo>
                  <a:pt x="6003053" y="289661"/>
                  <a:pt x="6032005" y="318614"/>
                  <a:pt x="6032005" y="354325"/>
                </a:cubicBezTo>
                <a:cubicBezTo>
                  <a:pt x="6032005" y="390040"/>
                  <a:pt x="6003053" y="419003"/>
                  <a:pt x="5967339" y="419003"/>
                </a:cubicBezTo>
                <a:cubicBezTo>
                  <a:pt x="5931625" y="419003"/>
                  <a:pt x="5902673" y="390040"/>
                  <a:pt x="5902673" y="354325"/>
                </a:cubicBezTo>
                <a:cubicBezTo>
                  <a:pt x="5902673" y="318614"/>
                  <a:pt x="5931625" y="289661"/>
                  <a:pt x="5967339" y="289661"/>
                </a:cubicBezTo>
                <a:close/>
                <a:moveTo>
                  <a:pt x="2546449" y="140925"/>
                </a:moveTo>
                <a:cubicBezTo>
                  <a:pt x="2582162" y="140925"/>
                  <a:pt x="2611108" y="169880"/>
                  <a:pt x="2611108" y="205590"/>
                </a:cubicBezTo>
                <a:cubicBezTo>
                  <a:pt x="2611108" y="241304"/>
                  <a:pt x="2582162" y="270252"/>
                  <a:pt x="2546449" y="270252"/>
                </a:cubicBezTo>
                <a:cubicBezTo>
                  <a:pt x="2510726" y="270252"/>
                  <a:pt x="2481792" y="241304"/>
                  <a:pt x="2481792" y="205590"/>
                </a:cubicBezTo>
                <a:cubicBezTo>
                  <a:pt x="2481792" y="169880"/>
                  <a:pt x="2510726" y="140925"/>
                  <a:pt x="2546449" y="140925"/>
                </a:cubicBezTo>
                <a:close/>
                <a:moveTo>
                  <a:pt x="4100255" y="140924"/>
                </a:moveTo>
                <a:cubicBezTo>
                  <a:pt x="4135957" y="140924"/>
                  <a:pt x="4164923" y="169878"/>
                  <a:pt x="4164923" y="205590"/>
                </a:cubicBezTo>
                <a:cubicBezTo>
                  <a:pt x="4164923" y="241304"/>
                  <a:pt x="4135957" y="270252"/>
                  <a:pt x="4100255" y="270252"/>
                </a:cubicBezTo>
                <a:cubicBezTo>
                  <a:pt x="4064528" y="270252"/>
                  <a:pt x="4035594" y="241304"/>
                  <a:pt x="4035594" y="205590"/>
                </a:cubicBezTo>
                <a:cubicBezTo>
                  <a:pt x="4035594" y="169878"/>
                  <a:pt x="4064528" y="140924"/>
                  <a:pt x="4100255" y="140924"/>
                </a:cubicBezTo>
                <a:close/>
                <a:moveTo>
                  <a:pt x="3947579" y="140924"/>
                </a:moveTo>
                <a:cubicBezTo>
                  <a:pt x="3983297" y="140924"/>
                  <a:pt x="4012257" y="169879"/>
                  <a:pt x="4012257" y="205590"/>
                </a:cubicBezTo>
                <a:cubicBezTo>
                  <a:pt x="4012257" y="241304"/>
                  <a:pt x="3983297" y="270252"/>
                  <a:pt x="3947579" y="270252"/>
                </a:cubicBezTo>
                <a:cubicBezTo>
                  <a:pt x="3912018" y="270252"/>
                  <a:pt x="3883072" y="241304"/>
                  <a:pt x="3883072" y="205590"/>
                </a:cubicBezTo>
                <a:cubicBezTo>
                  <a:pt x="3883072" y="169879"/>
                  <a:pt x="3912018" y="140924"/>
                  <a:pt x="3947579" y="140924"/>
                </a:cubicBezTo>
                <a:close/>
                <a:moveTo>
                  <a:pt x="3791164" y="140924"/>
                </a:moveTo>
                <a:cubicBezTo>
                  <a:pt x="3826868" y="140924"/>
                  <a:pt x="3855828" y="169879"/>
                  <a:pt x="3855828" y="205590"/>
                </a:cubicBezTo>
                <a:cubicBezTo>
                  <a:pt x="3855828" y="241304"/>
                  <a:pt x="3826868" y="270252"/>
                  <a:pt x="3791164" y="270252"/>
                </a:cubicBezTo>
                <a:cubicBezTo>
                  <a:pt x="3755441" y="270252"/>
                  <a:pt x="3726486" y="241304"/>
                  <a:pt x="3726486" y="205590"/>
                </a:cubicBezTo>
                <a:cubicBezTo>
                  <a:pt x="3726486" y="169879"/>
                  <a:pt x="3755441" y="140924"/>
                  <a:pt x="3791164" y="140924"/>
                </a:cubicBezTo>
                <a:close/>
                <a:moveTo>
                  <a:pt x="3630675" y="140924"/>
                </a:moveTo>
                <a:cubicBezTo>
                  <a:pt x="3666383" y="140924"/>
                  <a:pt x="3695344" y="169879"/>
                  <a:pt x="3695344" y="205590"/>
                </a:cubicBezTo>
                <a:cubicBezTo>
                  <a:pt x="3695344" y="241304"/>
                  <a:pt x="3666383" y="270252"/>
                  <a:pt x="3630675" y="270252"/>
                </a:cubicBezTo>
                <a:cubicBezTo>
                  <a:pt x="3594946" y="270252"/>
                  <a:pt x="3565995" y="241304"/>
                  <a:pt x="3565995" y="205590"/>
                </a:cubicBezTo>
                <a:cubicBezTo>
                  <a:pt x="3565995" y="169879"/>
                  <a:pt x="3594946" y="140924"/>
                  <a:pt x="3630675" y="140924"/>
                </a:cubicBezTo>
                <a:close/>
                <a:moveTo>
                  <a:pt x="3481918" y="140924"/>
                </a:moveTo>
                <a:cubicBezTo>
                  <a:pt x="3517633" y="140924"/>
                  <a:pt x="3546591" y="169879"/>
                  <a:pt x="3546591" y="205590"/>
                </a:cubicBezTo>
                <a:cubicBezTo>
                  <a:pt x="3546591" y="241304"/>
                  <a:pt x="3517633" y="270252"/>
                  <a:pt x="3481918" y="270252"/>
                </a:cubicBezTo>
                <a:cubicBezTo>
                  <a:pt x="3446210" y="270252"/>
                  <a:pt x="3417264" y="241304"/>
                  <a:pt x="3417264" y="205590"/>
                </a:cubicBezTo>
                <a:cubicBezTo>
                  <a:pt x="3417264" y="169879"/>
                  <a:pt x="3446210" y="140924"/>
                  <a:pt x="3481918" y="140924"/>
                </a:cubicBezTo>
                <a:close/>
                <a:moveTo>
                  <a:pt x="3172703" y="140924"/>
                </a:moveTo>
                <a:cubicBezTo>
                  <a:pt x="3208428" y="140924"/>
                  <a:pt x="3237377" y="169879"/>
                  <a:pt x="3237377" y="205590"/>
                </a:cubicBezTo>
                <a:cubicBezTo>
                  <a:pt x="3237377" y="241304"/>
                  <a:pt x="3208428" y="270252"/>
                  <a:pt x="3172703" y="270252"/>
                </a:cubicBezTo>
                <a:cubicBezTo>
                  <a:pt x="3136978" y="270252"/>
                  <a:pt x="3108016" y="241304"/>
                  <a:pt x="3108016" y="205590"/>
                </a:cubicBezTo>
                <a:cubicBezTo>
                  <a:pt x="3108016" y="169879"/>
                  <a:pt x="3136978" y="140924"/>
                  <a:pt x="3172703" y="140924"/>
                </a:cubicBezTo>
                <a:close/>
                <a:moveTo>
                  <a:pt x="3012181" y="140924"/>
                </a:moveTo>
                <a:cubicBezTo>
                  <a:pt x="3047889" y="140924"/>
                  <a:pt x="3076850" y="169879"/>
                  <a:pt x="3076850" y="205590"/>
                </a:cubicBezTo>
                <a:cubicBezTo>
                  <a:pt x="3076850" y="241304"/>
                  <a:pt x="3047889" y="270252"/>
                  <a:pt x="3012181" y="270252"/>
                </a:cubicBezTo>
                <a:cubicBezTo>
                  <a:pt x="2976470" y="270252"/>
                  <a:pt x="2947522" y="241304"/>
                  <a:pt x="2947522" y="205590"/>
                </a:cubicBezTo>
                <a:cubicBezTo>
                  <a:pt x="2947522" y="169879"/>
                  <a:pt x="2976470" y="140924"/>
                  <a:pt x="3012181" y="140924"/>
                </a:cubicBezTo>
                <a:close/>
                <a:moveTo>
                  <a:pt x="2855634" y="140924"/>
                </a:moveTo>
                <a:cubicBezTo>
                  <a:pt x="2891335" y="140924"/>
                  <a:pt x="2920282" y="169879"/>
                  <a:pt x="2920282" y="205590"/>
                </a:cubicBezTo>
                <a:cubicBezTo>
                  <a:pt x="2920282" y="241304"/>
                  <a:pt x="2891335" y="270252"/>
                  <a:pt x="2855634" y="270252"/>
                </a:cubicBezTo>
                <a:cubicBezTo>
                  <a:pt x="2819922" y="270252"/>
                  <a:pt x="2790973" y="241304"/>
                  <a:pt x="2790973" y="205590"/>
                </a:cubicBezTo>
                <a:cubicBezTo>
                  <a:pt x="2790973" y="169879"/>
                  <a:pt x="2819922" y="140924"/>
                  <a:pt x="2855634" y="140924"/>
                </a:cubicBezTo>
                <a:close/>
                <a:moveTo>
                  <a:pt x="2699084" y="140924"/>
                </a:moveTo>
                <a:cubicBezTo>
                  <a:pt x="2734792" y="140924"/>
                  <a:pt x="2763737" y="169879"/>
                  <a:pt x="2763737" y="205590"/>
                </a:cubicBezTo>
                <a:cubicBezTo>
                  <a:pt x="2763737" y="241304"/>
                  <a:pt x="2734792" y="270252"/>
                  <a:pt x="2699084" y="270252"/>
                </a:cubicBezTo>
                <a:cubicBezTo>
                  <a:pt x="2663379" y="270252"/>
                  <a:pt x="2634431" y="241304"/>
                  <a:pt x="2634431" y="205590"/>
                </a:cubicBezTo>
                <a:cubicBezTo>
                  <a:pt x="2634431" y="169879"/>
                  <a:pt x="2663379" y="140924"/>
                  <a:pt x="2699084" y="140924"/>
                </a:cubicBezTo>
                <a:close/>
                <a:moveTo>
                  <a:pt x="8601685" y="140924"/>
                </a:moveTo>
                <a:cubicBezTo>
                  <a:pt x="8637399" y="140924"/>
                  <a:pt x="8666351" y="169878"/>
                  <a:pt x="8666351" y="205588"/>
                </a:cubicBezTo>
                <a:cubicBezTo>
                  <a:pt x="8666351" y="241303"/>
                  <a:pt x="8637399" y="270252"/>
                  <a:pt x="8601685" y="270252"/>
                </a:cubicBezTo>
                <a:cubicBezTo>
                  <a:pt x="8565971" y="270252"/>
                  <a:pt x="8537019" y="241303"/>
                  <a:pt x="8537019" y="205588"/>
                </a:cubicBezTo>
                <a:cubicBezTo>
                  <a:pt x="8537019" y="169878"/>
                  <a:pt x="8565971" y="140924"/>
                  <a:pt x="8601685" y="140924"/>
                </a:cubicBezTo>
                <a:close/>
                <a:moveTo>
                  <a:pt x="8449026" y="140924"/>
                </a:moveTo>
                <a:cubicBezTo>
                  <a:pt x="8484740" y="140924"/>
                  <a:pt x="8513692" y="169878"/>
                  <a:pt x="8513692" y="205588"/>
                </a:cubicBezTo>
                <a:cubicBezTo>
                  <a:pt x="8513692" y="241303"/>
                  <a:pt x="8484740" y="270252"/>
                  <a:pt x="8449026" y="270252"/>
                </a:cubicBezTo>
                <a:cubicBezTo>
                  <a:pt x="8413312" y="270252"/>
                  <a:pt x="8384360" y="241303"/>
                  <a:pt x="8384360" y="205588"/>
                </a:cubicBezTo>
                <a:cubicBezTo>
                  <a:pt x="8384360" y="169878"/>
                  <a:pt x="8413312" y="140924"/>
                  <a:pt x="8449026" y="140924"/>
                </a:cubicBezTo>
                <a:close/>
                <a:moveTo>
                  <a:pt x="6120001" y="140924"/>
                </a:moveTo>
                <a:cubicBezTo>
                  <a:pt x="6155715" y="140924"/>
                  <a:pt x="6184667" y="169878"/>
                  <a:pt x="6184667" y="205588"/>
                </a:cubicBezTo>
                <a:cubicBezTo>
                  <a:pt x="6184667" y="241303"/>
                  <a:pt x="6155715" y="270252"/>
                  <a:pt x="6120001" y="270252"/>
                </a:cubicBezTo>
                <a:cubicBezTo>
                  <a:pt x="6084287" y="270252"/>
                  <a:pt x="6055335" y="241303"/>
                  <a:pt x="6055335" y="205588"/>
                </a:cubicBezTo>
                <a:cubicBezTo>
                  <a:pt x="6055335" y="169878"/>
                  <a:pt x="6084287" y="140924"/>
                  <a:pt x="6120001" y="140924"/>
                </a:cubicBezTo>
                <a:close/>
                <a:moveTo>
                  <a:pt x="5967339" y="140924"/>
                </a:moveTo>
                <a:cubicBezTo>
                  <a:pt x="6003053" y="140924"/>
                  <a:pt x="6032005" y="169878"/>
                  <a:pt x="6032005" y="205588"/>
                </a:cubicBezTo>
                <a:cubicBezTo>
                  <a:pt x="6032005" y="241304"/>
                  <a:pt x="6003053" y="270252"/>
                  <a:pt x="5967339" y="270252"/>
                </a:cubicBezTo>
                <a:cubicBezTo>
                  <a:pt x="5931625" y="270252"/>
                  <a:pt x="5902673" y="241304"/>
                  <a:pt x="5902673" y="205588"/>
                </a:cubicBezTo>
                <a:cubicBezTo>
                  <a:pt x="5902673" y="169878"/>
                  <a:pt x="5931625" y="140924"/>
                  <a:pt x="5967339" y="140924"/>
                </a:cubicBezTo>
                <a:close/>
                <a:moveTo>
                  <a:pt x="4875265" y="140924"/>
                </a:moveTo>
                <a:cubicBezTo>
                  <a:pt x="4910983" y="140924"/>
                  <a:pt x="4939942" y="169878"/>
                  <a:pt x="4939942" y="205588"/>
                </a:cubicBezTo>
                <a:cubicBezTo>
                  <a:pt x="4939942" y="241304"/>
                  <a:pt x="4910983" y="270252"/>
                  <a:pt x="4875265" y="270252"/>
                </a:cubicBezTo>
                <a:cubicBezTo>
                  <a:pt x="4839542" y="270252"/>
                  <a:pt x="4810599" y="241304"/>
                  <a:pt x="4810599" y="205588"/>
                </a:cubicBezTo>
                <a:cubicBezTo>
                  <a:pt x="4810599" y="169878"/>
                  <a:pt x="4839542" y="140924"/>
                  <a:pt x="4875265" y="140924"/>
                </a:cubicBezTo>
                <a:close/>
                <a:moveTo>
                  <a:pt x="4722614" y="140924"/>
                </a:moveTo>
                <a:cubicBezTo>
                  <a:pt x="4758338" y="140924"/>
                  <a:pt x="4787277" y="169878"/>
                  <a:pt x="4787277" y="205588"/>
                </a:cubicBezTo>
                <a:cubicBezTo>
                  <a:pt x="4787277" y="241304"/>
                  <a:pt x="4758338" y="270252"/>
                  <a:pt x="4722614" y="270252"/>
                </a:cubicBezTo>
                <a:cubicBezTo>
                  <a:pt x="4686908" y="270252"/>
                  <a:pt x="4657957" y="241304"/>
                  <a:pt x="4657957" y="205588"/>
                </a:cubicBezTo>
                <a:cubicBezTo>
                  <a:pt x="4657957" y="169878"/>
                  <a:pt x="4686908" y="140924"/>
                  <a:pt x="4722614" y="140924"/>
                </a:cubicBezTo>
                <a:close/>
                <a:moveTo>
                  <a:pt x="4566033" y="140924"/>
                </a:moveTo>
                <a:cubicBezTo>
                  <a:pt x="4601754" y="140924"/>
                  <a:pt x="4630719" y="169878"/>
                  <a:pt x="4630719" y="205590"/>
                </a:cubicBezTo>
                <a:cubicBezTo>
                  <a:pt x="4630719" y="241304"/>
                  <a:pt x="4601754" y="270252"/>
                  <a:pt x="4566033" y="270252"/>
                </a:cubicBezTo>
                <a:cubicBezTo>
                  <a:pt x="4530305" y="270252"/>
                  <a:pt x="4501349" y="241304"/>
                  <a:pt x="4501349" y="205590"/>
                </a:cubicBezTo>
                <a:cubicBezTo>
                  <a:pt x="4501349" y="169878"/>
                  <a:pt x="4530305" y="140924"/>
                  <a:pt x="4566033" y="140924"/>
                </a:cubicBezTo>
                <a:close/>
                <a:moveTo>
                  <a:pt x="4409471" y="140924"/>
                </a:moveTo>
                <a:cubicBezTo>
                  <a:pt x="4445169" y="140924"/>
                  <a:pt x="4474113" y="169878"/>
                  <a:pt x="4474113" y="205590"/>
                </a:cubicBezTo>
                <a:cubicBezTo>
                  <a:pt x="4474113" y="241304"/>
                  <a:pt x="4445169" y="270252"/>
                  <a:pt x="4409471" y="270252"/>
                </a:cubicBezTo>
                <a:cubicBezTo>
                  <a:pt x="4373772" y="270252"/>
                  <a:pt x="4344809" y="241304"/>
                  <a:pt x="4344809" y="205590"/>
                </a:cubicBezTo>
                <a:cubicBezTo>
                  <a:pt x="4344809" y="169878"/>
                  <a:pt x="4373772" y="140924"/>
                  <a:pt x="4409471" y="140924"/>
                </a:cubicBezTo>
                <a:close/>
                <a:moveTo>
                  <a:pt x="4256823" y="140924"/>
                </a:moveTo>
                <a:cubicBezTo>
                  <a:pt x="4292543" y="140924"/>
                  <a:pt x="4321471" y="169878"/>
                  <a:pt x="4321471" y="205590"/>
                </a:cubicBezTo>
                <a:cubicBezTo>
                  <a:pt x="4321471" y="241304"/>
                  <a:pt x="4292543" y="270252"/>
                  <a:pt x="4256823" y="270252"/>
                </a:cubicBezTo>
                <a:cubicBezTo>
                  <a:pt x="4221105" y="270252"/>
                  <a:pt x="4192125" y="241304"/>
                  <a:pt x="4192125" y="205590"/>
                </a:cubicBezTo>
                <a:cubicBezTo>
                  <a:pt x="4192125" y="169878"/>
                  <a:pt x="4221105" y="140924"/>
                  <a:pt x="4256823" y="140924"/>
                </a:cubicBezTo>
                <a:close/>
                <a:moveTo>
                  <a:pt x="8766087" y="140923"/>
                </a:moveTo>
                <a:cubicBezTo>
                  <a:pt x="8801801" y="140923"/>
                  <a:pt x="8830753" y="169878"/>
                  <a:pt x="8830753" y="205588"/>
                </a:cubicBezTo>
                <a:cubicBezTo>
                  <a:pt x="8830753" y="241303"/>
                  <a:pt x="8801801" y="270252"/>
                  <a:pt x="8766087" y="270252"/>
                </a:cubicBezTo>
                <a:cubicBezTo>
                  <a:pt x="8730373" y="270252"/>
                  <a:pt x="8701421" y="241303"/>
                  <a:pt x="8701421" y="205588"/>
                </a:cubicBezTo>
                <a:cubicBezTo>
                  <a:pt x="8701421" y="169878"/>
                  <a:pt x="8730373" y="140923"/>
                  <a:pt x="8766087" y="140923"/>
                </a:cubicBezTo>
                <a:close/>
                <a:moveTo>
                  <a:pt x="3172703" y="0"/>
                </a:moveTo>
                <a:cubicBezTo>
                  <a:pt x="3208428" y="0"/>
                  <a:pt x="3237377" y="28951"/>
                  <a:pt x="3237377" y="64665"/>
                </a:cubicBezTo>
                <a:cubicBezTo>
                  <a:pt x="3237377" y="100379"/>
                  <a:pt x="3208428" y="129330"/>
                  <a:pt x="3172703" y="129330"/>
                </a:cubicBezTo>
                <a:cubicBezTo>
                  <a:pt x="3136978" y="129330"/>
                  <a:pt x="3108016" y="100379"/>
                  <a:pt x="3108016" y="64665"/>
                </a:cubicBezTo>
                <a:cubicBezTo>
                  <a:pt x="3108016" y="28951"/>
                  <a:pt x="3136978" y="0"/>
                  <a:pt x="3172703" y="0"/>
                </a:cubicBezTo>
                <a:close/>
                <a:moveTo>
                  <a:pt x="3012181" y="0"/>
                </a:moveTo>
                <a:cubicBezTo>
                  <a:pt x="3047889" y="0"/>
                  <a:pt x="3076850" y="28952"/>
                  <a:pt x="3076850" y="64665"/>
                </a:cubicBezTo>
                <a:cubicBezTo>
                  <a:pt x="3076850" y="100379"/>
                  <a:pt x="3047889" y="129330"/>
                  <a:pt x="3012181" y="129330"/>
                </a:cubicBezTo>
                <a:cubicBezTo>
                  <a:pt x="2976470" y="129330"/>
                  <a:pt x="2947522" y="100379"/>
                  <a:pt x="2947522" y="64665"/>
                </a:cubicBezTo>
                <a:cubicBezTo>
                  <a:pt x="2947522" y="28952"/>
                  <a:pt x="2976470" y="0"/>
                  <a:pt x="3012181" y="0"/>
                </a:cubicBezTo>
                <a:close/>
                <a:moveTo>
                  <a:pt x="2855634" y="0"/>
                </a:moveTo>
                <a:cubicBezTo>
                  <a:pt x="2891335" y="0"/>
                  <a:pt x="2920282" y="28952"/>
                  <a:pt x="2920282" y="64665"/>
                </a:cubicBezTo>
                <a:cubicBezTo>
                  <a:pt x="2920282" y="100379"/>
                  <a:pt x="2891335" y="129330"/>
                  <a:pt x="2855634" y="129330"/>
                </a:cubicBezTo>
                <a:cubicBezTo>
                  <a:pt x="2819922" y="129330"/>
                  <a:pt x="2790973" y="100379"/>
                  <a:pt x="2790973" y="64665"/>
                </a:cubicBezTo>
                <a:cubicBezTo>
                  <a:pt x="2790973" y="28952"/>
                  <a:pt x="2819922" y="0"/>
                  <a:pt x="2855634" y="0"/>
                </a:cubicBezTo>
                <a:close/>
                <a:moveTo>
                  <a:pt x="4100255" y="0"/>
                </a:moveTo>
                <a:cubicBezTo>
                  <a:pt x="4135957" y="0"/>
                  <a:pt x="4164923" y="28951"/>
                  <a:pt x="4164923" y="64665"/>
                </a:cubicBezTo>
                <a:cubicBezTo>
                  <a:pt x="4164923" y="100378"/>
                  <a:pt x="4135957" y="129330"/>
                  <a:pt x="4100255" y="129330"/>
                </a:cubicBezTo>
                <a:cubicBezTo>
                  <a:pt x="4064528" y="129330"/>
                  <a:pt x="4035594" y="100378"/>
                  <a:pt x="4035594" y="64665"/>
                </a:cubicBezTo>
                <a:cubicBezTo>
                  <a:pt x="4035594" y="28951"/>
                  <a:pt x="4064528" y="0"/>
                  <a:pt x="4100255" y="0"/>
                </a:cubicBezTo>
                <a:close/>
                <a:moveTo>
                  <a:pt x="3947579" y="0"/>
                </a:moveTo>
                <a:cubicBezTo>
                  <a:pt x="3983297" y="0"/>
                  <a:pt x="4012257" y="28951"/>
                  <a:pt x="4012257" y="64665"/>
                </a:cubicBezTo>
                <a:cubicBezTo>
                  <a:pt x="4012257" y="100378"/>
                  <a:pt x="3983297" y="129330"/>
                  <a:pt x="3947579" y="129330"/>
                </a:cubicBezTo>
                <a:cubicBezTo>
                  <a:pt x="3912018" y="129330"/>
                  <a:pt x="3883072" y="100378"/>
                  <a:pt x="3883072" y="64665"/>
                </a:cubicBezTo>
                <a:cubicBezTo>
                  <a:pt x="3883072" y="28951"/>
                  <a:pt x="3912018" y="0"/>
                  <a:pt x="3947579" y="0"/>
                </a:cubicBezTo>
                <a:close/>
                <a:moveTo>
                  <a:pt x="3791164" y="0"/>
                </a:moveTo>
                <a:cubicBezTo>
                  <a:pt x="3826868" y="0"/>
                  <a:pt x="3855828" y="28951"/>
                  <a:pt x="3855828" y="64665"/>
                </a:cubicBezTo>
                <a:cubicBezTo>
                  <a:pt x="3855828" y="100378"/>
                  <a:pt x="3826868" y="129330"/>
                  <a:pt x="3791164" y="129330"/>
                </a:cubicBezTo>
                <a:cubicBezTo>
                  <a:pt x="3755441" y="129330"/>
                  <a:pt x="3726486" y="100378"/>
                  <a:pt x="3726486" y="64665"/>
                </a:cubicBezTo>
                <a:cubicBezTo>
                  <a:pt x="3726486" y="28951"/>
                  <a:pt x="3755441" y="0"/>
                  <a:pt x="3791164" y="0"/>
                </a:cubicBezTo>
                <a:close/>
                <a:moveTo>
                  <a:pt x="3321453" y="0"/>
                </a:moveTo>
                <a:cubicBezTo>
                  <a:pt x="3357165" y="0"/>
                  <a:pt x="3386097" y="28951"/>
                  <a:pt x="3386097" y="64665"/>
                </a:cubicBezTo>
                <a:cubicBezTo>
                  <a:pt x="3386097" y="100378"/>
                  <a:pt x="3357165" y="129330"/>
                  <a:pt x="3321453" y="129330"/>
                </a:cubicBezTo>
                <a:cubicBezTo>
                  <a:pt x="3285730" y="129330"/>
                  <a:pt x="3256791" y="100378"/>
                  <a:pt x="3256791" y="64665"/>
                </a:cubicBezTo>
                <a:cubicBezTo>
                  <a:pt x="3256791" y="28951"/>
                  <a:pt x="3285730" y="0"/>
                  <a:pt x="3321453" y="0"/>
                </a:cubicBezTo>
                <a:close/>
                <a:moveTo>
                  <a:pt x="4722614" y="0"/>
                </a:moveTo>
                <a:cubicBezTo>
                  <a:pt x="4758338" y="0"/>
                  <a:pt x="4787277" y="28951"/>
                  <a:pt x="4787277" y="64665"/>
                </a:cubicBezTo>
                <a:cubicBezTo>
                  <a:pt x="4787277" y="100378"/>
                  <a:pt x="4758338" y="129329"/>
                  <a:pt x="4722614" y="129329"/>
                </a:cubicBezTo>
                <a:cubicBezTo>
                  <a:pt x="4686908" y="129329"/>
                  <a:pt x="4657957" y="100378"/>
                  <a:pt x="4657957" y="64665"/>
                </a:cubicBezTo>
                <a:cubicBezTo>
                  <a:pt x="4657957" y="28951"/>
                  <a:pt x="4686908" y="0"/>
                  <a:pt x="4722614" y="0"/>
                </a:cubicBezTo>
                <a:close/>
                <a:moveTo>
                  <a:pt x="4566033" y="0"/>
                </a:moveTo>
                <a:cubicBezTo>
                  <a:pt x="4601754" y="0"/>
                  <a:pt x="4630719" y="28951"/>
                  <a:pt x="4630719" y="64665"/>
                </a:cubicBezTo>
                <a:cubicBezTo>
                  <a:pt x="4630719" y="100378"/>
                  <a:pt x="4601754" y="129329"/>
                  <a:pt x="4566033" y="129329"/>
                </a:cubicBezTo>
                <a:cubicBezTo>
                  <a:pt x="4530305" y="129329"/>
                  <a:pt x="4501349" y="100378"/>
                  <a:pt x="4501349" y="64665"/>
                </a:cubicBezTo>
                <a:cubicBezTo>
                  <a:pt x="4501349" y="28951"/>
                  <a:pt x="4530305" y="0"/>
                  <a:pt x="4566033" y="0"/>
                </a:cubicBezTo>
                <a:close/>
                <a:moveTo>
                  <a:pt x="4409471" y="0"/>
                </a:moveTo>
                <a:cubicBezTo>
                  <a:pt x="4445169" y="0"/>
                  <a:pt x="4474113" y="28951"/>
                  <a:pt x="4474113" y="64665"/>
                </a:cubicBezTo>
                <a:cubicBezTo>
                  <a:pt x="4474113" y="100378"/>
                  <a:pt x="4445169" y="129329"/>
                  <a:pt x="4409471" y="129329"/>
                </a:cubicBezTo>
                <a:cubicBezTo>
                  <a:pt x="4373772" y="129329"/>
                  <a:pt x="4344809" y="100378"/>
                  <a:pt x="4344809" y="64665"/>
                </a:cubicBezTo>
                <a:cubicBezTo>
                  <a:pt x="4344809" y="28951"/>
                  <a:pt x="4373772" y="0"/>
                  <a:pt x="4409471" y="0"/>
                </a:cubicBezTo>
                <a:close/>
                <a:moveTo>
                  <a:pt x="4256823" y="0"/>
                </a:moveTo>
                <a:cubicBezTo>
                  <a:pt x="4292543" y="0"/>
                  <a:pt x="4321471" y="28951"/>
                  <a:pt x="4321471" y="64665"/>
                </a:cubicBezTo>
                <a:cubicBezTo>
                  <a:pt x="4321471" y="100378"/>
                  <a:pt x="4292543" y="129330"/>
                  <a:pt x="4256823" y="129330"/>
                </a:cubicBezTo>
                <a:cubicBezTo>
                  <a:pt x="4221105" y="129330"/>
                  <a:pt x="4192125" y="100378"/>
                  <a:pt x="4192125" y="64665"/>
                </a:cubicBezTo>
                <a:cubicBezTo>
                  <a:pt x="4192125" y="28951"/>
                  <a:pt x="4221105" y="0"/>
                  <a:pt x="4256823" y="0"/>
                </a:cubicBezTo>
                <a:close/>
                <a:moveTo>
                  <a:pt x="8601685" y="0"/>
                </a:moveTo>
                <a:cubicBezTo>
                  <a:pt x="8637399" y="0"/>
                  <a:pt x="8666351" y="28951"/>
                  <a:pt x="8666351" y="64665"/>
                </a:cubicBezTo>
                <a:cubicBezTo>
                  <a:pt x="8666351" y="100378"/>
                  <a:pt x="8637399" y="129329"/>
                  <a:pt x="8601685" y="129329"/>
                </a:cubicBezTo>
                <a:cubicBezTo>
                  <a:pt x="8565971" y="129329"/>
                  <a:pt x="8537019" y="100378"/>
                  <a:pt x="8537019" y="64665"/>
                </a:cubicBezTo>
                <a:cubicBezTo>
                  <a:pt x="8537019" y="28951"/>
                  <a:pt x="8565971" y="0"/>
                  <a:pt x="8601685" y="0"/>
                </a:cubicBezTo>
                <a:close/>
                <a:moveTo>
                  <a:pt x="5031854" y="0"/>
                </a:moveTo>
                <a:cubicBezTo>
                  <a:pt x="5067557" y="0"/>
                  <a:pt x="5096512" y="28951"/>
                  <a:pt x="5096512" y="64665"/>
                </a:cubicBezTo>
                <a:cubicBezTo>
                  <a:pt x="5096512" y="100378"/>
                  <a:pt x="5067557" y="129329"/>
                  <a:pt x="5031854" y="129329"/>
                </a:cubicBezTo>
                <a:cubicBezTo>
                  <a:pt x="4996117" y="129329"/>
                  <a:pt x="4967176" y="100378"/>
                  <a:pt x="4967176" y="64665"/>
                </a:cubicBezTo>
                <a:cubicBezTo>
                  <a:pt x="4967176" y="28951"/>
                  <a:pt x="4996117" y="0"/>
                  <a:pt x="5031854" y="0"/>
                </a:cubicBezTo>
                <a:close/>
                <a:moveTo>
                  <a:pt x="4875265" y="0"/>
                </a:moveTo>
                <a:cubicBezTo>
                  <a:pt x="4910983" y="0"/>
                  <a:pt x="4939942" y="28951"/>
                  <a:pt x="4939942" y="64665"/>
                </a:cubicBezTo>
                <a:cubicBezTo>
                  <a:pt x="4939942" y="100378"/>
                  <a:pt x="4910983" y="129329"/>
                  <a:pt x="4875265" y="129329"/>
                </a:cubicBezTo>
                <a:cubicBezTo>
                  <a:pt x="4839542" y="129329"/>
                  <a:pt x="4810599" y="100378"/>
                  <a:pt x="4810599" y="64665"/>
                </a:cubicBezTo>
                <a:cubicBezTo>
                  <a:pt x="4810599" y="28951"/>
                  <a:pt x="4839542" y="0"/>
                  <a:pt x="4875265" y="0"/>
                </a:cubicBezTo>
                <a:close/>
              </a:path>
            </a:pathLst>
          </a:custGeom>
          <a:solidFill>
            <a:srgbClr val="FFFFFF">
              <a:lumMod val="85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 name="Cylinder 513">
            <a:extLst>
              <a:ext uri="{FF2B5EF4-FFF2-40B4-BE49-F238E27FC236}">
                <a16:creationId xmlns:a16="http://schemas.microsoft.com/office/drawing/2014/main" id="{272C897F-7F21-4C17-90DC-0A48DE8F9778}"/>
              </a:ext>
            </a:extLst>
          </p:cNvPr>
          <p:cNvSpPr/>
          <p:nvPr/>
        </p:nvSpPr>
        <p:spPr bwMode="auto">
          <a:xfrm>
            <a:off x="11136844" y="4958034"/>
            <a:ext cx="235859" cy="309861"/>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22" name="Group 21">
            <a:extLst>
              <a:ext uri="{FF2B5EF4-FFF2-40B4-BE49-F238E27FC236}">
                <a16:creationId xmlns:a16="http://schemas.microsoft.com/office/drawing/2014/main" id="{A818E438-6D92-40D1-AD92-FCA5936CCCAF}"/>
              </a:ext>
            </a:extLst>
          </p:cNvPr>
          <p:cNvGrpSpPr/>
          <p:nvPr/>
        </p:nvGrpSpPr>
        <p:grpSpPr>
          <a:xfrm>
            <a:off x="11415366" y="4973547"/>
            <a:ext cx="292523" cy="262441"/>
            <a:chOff x="1275510" y="6072184"/>
            <a:chExt cx="508602" cy="456298"/>
          </a:xfrm>
        </p:grpSpPr>
        <p:grpSp>
          <p:nvGrpSpPr>
            <p:cNvPr id="23" name="Group 22">
              <a:extLst>
                <a:ext uri="{FF2B5EF4-FFF2-40B4-BE49-F238E27FC236}">
                  <a16:creationId xmlns:a16="http://schemas.microsoft.com/office/drawing/2014/main" id="{FECF3BCF-BDA9-4C2A-9A44-A45B29DF9DC7}"/>
                </a:ext>
              </a:extLst>
            </p:cNvPr>
            <p:cNvGrpSpPr/>
            <p:nvPr/>
          </p:nvGrpSpPr>
          <p:grpSpPr>
            <a:xfrm>
              <a:off x="1275510" y="6224584"/>
              <a:ext cx="508602" cy="151498"/>
              <a:chOff x="551886" y="4945335"/>
              <a:chExt cx="508602" cy="151498"/>
            </a:xfrm>
          </p:grpSpPr>
          <p:sp>
            <p:nvSpPr>
              <p:cNvPr id="32" name="Rectangle 31">
                <a:extLst>
                  <a:ext uri="{FF2B5EF4-FFF2-40B4-BE49-F238E27FC236}">
                    <a16:creationId xmlns:a16="http://schemas.microsoft.com/office/drawing/2014/main" id="{F8FE43FD-B736-4600-BCFE-0EAAC63C62C7}"/>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a:extLst>
                  <a:ext uri="{FF2B5EF4-FFF2-40B4-BE49-F238E27FC236}">
                    <a16:creationId xmlns:a16="http://schemas.microsoft.com/office/drawing/2014/main" id="{50F8577C-F392-415E-A8FE-C198A3F7E2FB}"/>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F5A9693B-E70E-4A3C-8EAC-9F9A5B24F721}"/>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24" name="Group 23">
              <a:extLst>
                <a:ext uri="{FF2B5EF4-FFF2-40B4-BE49-F238E27FC236}">
                  <a16:creationId xmlns:a16="http://schemas.microsoft.com/office/drawing/2014/main" id="{7754CDAD-C134-483E-859E-A04FD13A2822}"/>
                </a:ext>
              </a:extLst>
            </p:cNvPr>
            <p:cNvGrpSpPr/>
            <p:nvPr/>
          </p:nvGrpSpPr>
          <p:grpSpPr>
            <a:xfrm>
              <a:off x="1275510" y="6376984"/>
              <a:ext cx="508602" cy="151498"/>
              <a:chOff x="551886" y="4945335"/>
              <a:chExt cx="508602" cy="151498"/>
            </a:xfrm>
          </p:grpSpPr>
          <p:sp>
            <p:nvSpPr>
              <p:cNvPr id="29" name="Rectangle 28">
                <a:extLst>
                  <a:ext uri="{FF2B5EF4-FFF2-40B4-BE49-F238E27FC236}">
                    <a16:creationId xmlns:a16="http://schemas.microsoft.com/office/drawing/2014/main" id="{BD8089AE-C838-4377-8D30-E2DF811824D1}"/>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0C03DE48-AB79-4351-BF04-3064B1B83939}"/>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AB645CAF-86B2-49DB-A24F-830A1A70041B}"/>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25" name="Group 24">
              <a:extLst>
                <a:ext uri="{FF2B5EF4-FFF2-40B4-BE49-F238E27FC236}">
                  <a16:creationId xmlns:a16="http://schemas.microsoft.com/office/drawing/2014/main" id="{6CCAC5E9-C96F-4CDA-9391-AC561243643A}"/>
                </a:ext>
              </a:extLst>
            </p:cNvPr>
            <p:cNvGrpSpPr/>
            <p:nvPr/>
          </p:nvGrpSpPr>
          <p:grpSpPr>
            <a:xfrm>
              <a:off x="1275510" y="6072184"/>
              <a:ext cx="508602" cy="151498"/>
              <a:chOff x="551886" y="4945335"/>
              <a:chExt cx="508602" cy="151498"/>
            </a:xfrm>
          </p:grpSpPr>
          <p:sp>
            <p:nvSpPr>
              <p:cNvPr id="26" name="Rectangle 25">
                <a:extLst>
                  <a:ext uri="{FF2B5EF4-FFF2-40B4-BE49-F238E27FC236}">
                    <a16:creationId xmlns:a16="http://schemas.microsoft.com/office/drawing/2014/main" id="{6AC12823-E604-4F1C-BF9A-62CF3F31FDAA}"/>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27" name="Oval 26">
                <a:extLst>
                  <a:ext uri="{FF2B5EF4-FFF2-40B4-BE49-F238E27FC236}">
                    <a16:creationId xmlns:a16="http://schemas.microsoft.com/office/drawing/2014/main" id="{5264D5FA-BBD5-4B49-9B1E-737104CF9AAA}"/>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932AB93F-7C6F-43A7-A9C8-0F558B2A17D9}"/>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grpSp>
        <p:nvGrpSpPr>
          <p:cNvPr id="35" name="Group 34">
            <a:extLst>
              <a:ext uri="{FF2B5EF4-FFF2-40B4-BE49-F238E27FC236}">
                <a16:creationId xmlns:a16="http://schemas.microsoft.com/office/drawing/2014/main" id="{06C5C9C8-4FD0-4C0A-AA80-258A90276EB3}"/>
              </a:ext>
            </a:extLst>
          </p:cNvPr>
          <p:cNvGrpSpPr/>
          <p:nvPr/>
        </p:nvGrpSpPr>
        <p:grpSpPr>
          <a:xfrm>
            <a:off x="8566091" y="3154284"/>
            <a:ext cx="844678" cy="458340"/>
            <a:chOff x="8413691" y="3808951"/>
            <a:chExt cx="844678" cy="458340"/>
          </a:xfrm>
        </p:grpSpPr>
        <p:sp>
          <p:nvSpPr>
            <p:cNvPr id="36" name="Cylinder 513">
              <a:extLst>
                <a:ext uri="{FF2B5EF4-FFF2-40B4-BE49-F238E27FC236}">
                  <a16:creationId xmlns:a16="http://schemas.microsoft.com/office/drawing/2014/main" id="{970E1206-2E22-429A-8354-BEDC7FAA2ACF}"/>
                </a:ext>
              </a:extLst>
            </p:cNvPr>
            <p:cNvSpPr/>
            <p:nvPr/>
          </p:nvSpPr>
          <p:spPr bwMode="auto">
            <a:xfrm>
              <a:off x="8413691" y="3808951"/>
              <a:ext cx="348878" cy="458340"/>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37" name="Group 36">
              <a:extLst>
                <a:ext uri="{FF2B5EF4-FFF2-40B4-BE49-F238E27FC236}">
                  <a16:creationId xmlns:a16="http://schemas.microsoft.com/office/drawing/2014/main" id="{1ABCE39E-3720-416A-8889-8D0220F4AB35}"/>
                </a:ext>
              </a:extLst>
            </p:cNvPr>
            <p:cNvGrpSpPr/>
            <p:nvPr/>
          </p:nvGrpSpPr>
          <p:grpSpPr>
            <a:xfrm>
              <a:off x="8825675" y="3831898"/>
              <a:ext cx="432694" cy="388197"/>
              <a:chOff x="1275510" y="6072184"/>
              <a:chExt cx="508602" cy="456298"/>
            </a:xfrm>
            <a:solidFill>
              <a:srgbClr val="FFFFFF">
                <a:lumMod val="95000"/>
              </a:srgbClr>
            </a:solidFill>
          </p:grpSpPr>
          <p:grpSp>
            <p:nvGrpSpPr>
              <p:cNvPr id="38" name="Group 37">
                <a:extLst>
                  <a:ext uri="{FF2B5EF4-FFF2-40B4-BE49-F238E27FC236}">
                    <a16:creationId xmlns:a16="http://schemas.microsoft.com/office/drawing/2014/main" id="{B898CE5F-EDBD-4EA6-AF27-54C31370B915}"/>
                  </a:ext>
                </a:extLst>
              </p:cNvPr>
              <p:cNvGrpSpPr/>
              <p:nvPr/>
            </p:nvGrpSpPr>
            <p:grpSpPr>
              <a:xfrm>
                <a:off x="1275510" y="6224584"/>
                <a:ext cx="508602" cy="151498"/>
                <a:chOff x="551886" y="4945335"/>
                <a:chExt cx="508602" cy="151498"/>
              </a:xfrm>
              <a:grpFill/>
            </p:grpSpPr>
            <p:sp>
              <p:nvSpPr>
                <p:cNvPr id="47" name="Rectangle 46">
                  <a:extLst>
                    <a:ext uri="{FF2B5EF4-FFF2-40B4-BE49-F238E27FC236}">
                      <a16:creationId xmlns:a16="http://schemas.microsoft.com/office/drawing/2014/main" id="{36294B36-9887-493C-8DF1-8BB3234384FA}"/>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a:extLst>
                    <a:ext uri="{FF2B5EF4-FFF2-40B4-BE49-F238E27FC236}">
                      <a16:creationId xmlns:a16="http://schemas.microsoft.com/office/drawing/2014/main" id="{6A885560-DBB1-41B1-A214-A204D0A74AE2}"/>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9" name="Straight Connector 48">
                  <a:extLst>
                    <a:ext uri="{FF2B5EF4-FFF2-40B4-BE49-F238E27FC236}">
                      <a16:creationId xmlns:a16="http://schemas.microsoft.com/office/drawing/2014/main" id="{83B40091-DEAA-4457-87A0-0D99FC84A06D}"/>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39" name="Group 38">
                <a:extLst>
                  <a:ext uri="{FF2B5EF4-FFF2-40B4-BE49-F238E27FC236}">
                    <a16:creationId xmlns:a16="http://schemas.microsoft.com/office/drawing/2014/main" id="{4FDF94ED-C02B-44E2-BE65-39A886AABD0B}"/>
                  </a:ext>
                </a:extLst>
              </p:cNvPr>
              <p:cNvGrpSpPr/>
              <p:nvPr/>
            </p:nvGrpSpPr>
            <p:grpSpPr>
              <a:xfrm>
                <a:off x="1275510" y="6376984"/>
                <a:ext cx="508602" cy="151498"/>
                <a:chOff x="551886" y="4945335"/>
                <a:chExt cx="508602" cy="151498"/>
              </a:xfrm>
              <a:grpFill/>
            </p:grpSpPr>
            <p:sp>
              <p:nvSpPr>
                <p:cNvPr id="44" name="Rectangle 43">
                  <a:extLst>
                    <a:ext uri="{FF2B5EF4-FFF2-40B4-BE49-F238E27FC236}">
                      <a16:creationId xmlns:a16="http://schemas.microsoft.com/office/drawing/2014/main" id="{14F3BACE-BF15-4930-B2CC-0A48B8B65B97}"/>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5" name="Oval 44">
                  <a:extLst>
                    <a:ext uri="{FF2B5EF4-FFF2-40B4-BE49-F238E27FC236}">
                      <a16:creationId xmlns:a16="http://schemas.microsoft.com/office/drawing/2014/main" id="{AFF5F549-ACDD-4699-A677-D43BE912C625}"/>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AA1BE85F-4EE8-460E-8AF0-402F82A8CFD6}"/>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40" name="Group 39">
                <a:extLst>
                  <a:ext uri="{FF2B5EF4-FFF2-40B4-BE49-F238E27FC236}">
                    <a16:creationId xmlns:a16="http://schemas.microsoft.com/office/drawing/2014/main" id="{260C1B25-967C-4A8F-8C5F-94848E3832F3}"/>
                  </a:ext>
                </a:extLst>
              </p:cNvPr>
              <p:cNvGrpSpPr/>
              <p:nvPr/>
            </p:nvGrpSpPr>
            <p:grpSpPr>
              <a:xfrm>
                <a:off x="1275510" y="6072184"/>
                <a:ext cx="508602" cy="151498"/>
                <a:chOff x="551886" y="4945335"/>
                <a:chExt cx="508602" cy="151498"/>
              </a:xfrm>
              <a:grpFill/>
            </p:grpSpPr>
            <p:sp>
              <p:nvSpPr>
                <p:cNvPr id="41" name="Rectangle 40">
                  <a:extLst>
                    <a:ext uri="{FF2B5EF4-FFF2-40B4-BE49-F238E27FC236}">
                      <a16:creationId xmlns:a16="http://schemas.microsoft.com/office/drawing/2014/main" id="{E19E4E29-7A41-440F-865C-87FDB0D8F999}"/>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1AED2C37-7454-4888-9D03-C180F9903DA1}"/>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F472DFC9-7D07-482E-B09B-0BA13E29DF78}"/>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sp>
        <p:nvSpPr>
          <p:cNvPr id="50" name="Cylinder 513">
            <a:extLst>
              <a:ext uri="{FF2B5EF4-FFF2-40B4-BE49-F238E27FC236}">
                <a16:creationId xmlns:a16="http://schemas.microsoft.com/office/drawing/2014/main" id="{0C922111-2EA5-4649-A973-524666DD13A4}"/>
              </a:ext>
            </a:extLst>
          </p:cNvPr>
          <p:cNvSpPr/>
          <p:nvPr/>
        </p:nvSpPr>
        <p:spPr bwMode="auto">
          <a:xfrm>
            <a:off x="10129771" y="3933619"/>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51" name="Group 50">
            <a:extLst>
              <a:ext uri="{FF2B5EF4-FFF2-40B4-BE49-F238E27FC236}">
                <a16:creationId xmlns:a16="http://schemas.microsoft.com/office/drawing/2014/main" id="{CB4A9B0E-894D-426D-A93B-4E342D7F35B1}"/>
              </a:ext>
            </a:extLst>
          </p:cNvPr>
          <p:cNvGrpSpPr/>
          <p:nvPr/>
        </p:nvGrpSpPr>
        <p:grpSpPr>
          <a:xfrm>
            <a:off x="10408293" y="3949132"/>
            <a:ext cx="292523" cy="262441"/>
            <a:chOff x="1275510" y="6072184"/>
            <a:chExt cx="508602" cy="456298"/>
          </a:xfrm>
          <a:solidFill>
            <a:srgbClr val="FFFFFF">
              <a:lumMod val="95000"/>
            </a:srgbClr>
          </a:solidFill>
        </p:grpSpPr>
        <p:grpSp>
          <p:nvGrpSpPr>
            <p:cNvPr id="52" name="Group 51">
              <a:extLst>
                <a:ext uri="{FF2B5EF4-FFF2-40B4-BE49-F238E27FC236}">
                  <a16:creationId xmlns:a16="http://schemas.microsoft.com/office/drawing/2014/main" id="{75AEE731-25C9-4E72-8352-13508BA45622}"/>
                </a:ext>
              </a:extLst>
            </p:cNvPr>
            <p:cNvGrpSpPr/>
            <p:nvPr/>
          </p:nvGrpSpPr>
          <p:grpSpPr>
            <a:xfrm>
              <a:off x="1275510" y="6224584"/>
              <a:ext cx="508602" cy="151498"/>
              <a:chOff x="551886" y="4945335"/>
              <a:chExt cx="508602" cy="151498"/>
            </a:xfrm>
            <a:grpFill/>
          </p:grpSpPr>
          <p:sp>
            <p:nvSpPr>
              <p:cNvPr id="61" name="Rectangle 60">
                <a:extLst>
                  <a:ext uri="{FF2B5EF4-FFF2-40B4-BE49-F238E27FC236}">
                    <a16:creationId xmlns:a16="http://schemas.microsoft.com/office/drawing/2014/main" id="{147A2C07-499A-489E-891B-16CB7B7ACB00}"/>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62" name="Oval 61">
                <a:extLst>
                  <a:ext uri="{FF2B5EF4-FFF2-40B4-BE49-F238E27FC236}">
                    <a16:creationId xmlns:a16="http://schemas.microsoft.com/office/drawing/2014/main" id="{0CFD3CA2-A4A5-4511-8FDB-340D6DE76A0F}"/>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63" name="Straight Connector 62">
                <a:extLst>
                  <a:ext uri="{FF2B5EF4-FFF2-40B4-BE49-F238E27FC236}">
                    <a16:creationId xmlns:a16="http://schemas.microsoft.com/office/drawing/2014/main" id="{AEFF5C21-6214-4637-AB50-89918B9F5E97}"/>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53" name="Group 52">
              <a:extLst>
                <a:ext uri="{FF2B5EF4-FFF2-40B4-BE49-F238E27FC236}">
                  <a16:creationId xmlns:a16="http://schemas.microsoft.com/office/drawing/2014/main" id="{4B6B698A-A0BD-42EA-9343-A32420FC67FE}"/>
                </a:ext>
              </a:extLst>
            </p:cNvPr>
            <p:cNvGrpSpPr/>
            <p:nvPr/>
          </p:nvGrpSpPr>
          <p:grpSpPr>
            <a:xfrm>
              <a:off x="1275510" y="6376984"/>
              <a:ext cx="508602" cy="151498"/>
              <a:chOff x="551886" y="4945335"/>
              <a:chExt cx="508602" cy="151498"/>
            </a:xfrm>
            <a:grpFill/>
          </p:grpSpPr>
          <p:sp>
            <p:nvSpPr>
              <p:cNvPr id="58" name="Rectangle 57">
                <a:extLst>
                  <a:ext uri="{FF2B5EF4-FFF2-40B4-BE49-F238E27FC236}">
                    <a16:creationId xmlns:a16="http://schemas.microsoft.com/office/drawing/2014/main" id="{3F4233C2-EE7E-48E7-835B-A4103C6E9CBC}"/>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59" name="Oval 58">
                <a:extLst>
                  <a:ext uri="{FF2B5EF4-FFF2-40B4-BE49-F238E27FC236}">
                    <a16:creationId xmlns:a16="http://schemas.microsoft.com/office/drawing/2014/main" id="{8E2684AC-DF7D-46C0-9F0D-3A9C812C5A76}"/>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9F135E6E-6F9E-408A-925F-42C789CF5CF7}"/>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54" name="Group 53">
              <a:extLst>
                <a:ext uri="{FF2B5EF4-FFF2-40B4-BE49-F238E27FC236}">
                  <a16:creationId xmlns:a16="http://schemas.microsoft.com/office/drawing/2014/main" id="{10A71233-5485-4F8A-9F62-C370CFD531C3}"/>
                </a:ext>
              </a:extLst>
            </p:cNvPr>
            <p:cNvGrpSpPr/>
            <p:nvPr/>
          </p:nvGrpSpPr>
          <p:grpSpPr>
            <a:xfrm>
              <a:off x="1275510" y="6072184"/>
              <a:ext cx="508602" cy="151498"/>
              <a:chOff x="551886" y="4945335"/>
              <a:chExt cx="508602" cy="151498"/>
            </a:xfrm>
            <a:grpFill/>
          </p:grpSpPr>
          <p:sp>
            <p:nvSpPr>
              <p:cNvPr id="55" name="Rectangle 54">
                <a:extLst>
                  <a:ext uri="{FF2B5EF4-FFF2-40B4-BE49-F238E27FC236}">
                    <a16:creationId xmlns:a16="http://schemas.microsoft.com/office/drawing/2014/main" id="{AB338542-E0C8-41BF-83EE-5E66590A0FFE}"/>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56" name="Oval 55">
                <a:extLst>
                  <a:ext uri="{FF2B5EF4-FFF2-40B4-BE49-F238E27FC236}">
                    <a16:creationId xmlns:a16="http://schemas.microsoft.com/office/drawing/2014/main" id="{DEC6655B-49F6-4395-B441-B46859A846D2}"/>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C27C7BE8-5D10-4081-84D0-2F71B46266C2}"/>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nvGrpSpPr>
          <p:cNvPr id="64" name="Group 63">
            <a:extLst>
              <a:ext uri="{FF2B5EF4-FFF2-40B4-BE49-F238E27FC236}">
                <a16:creationId xmlns:a16="http://schemas.microsoft.com/office/drawing/2014/main" id="{7CBE8D8E-024F-4CC2-A83F-86C425AE56DC}"/>
              </a:ext>
            </a:extLst>
          </p:cNvPr>
          <p:cNvGrpSpPr/>
          <p:nvPr/>
        </p:nvGrpSpPr>
        <p:grpSpPr>
          <a:xfrm>
            <a:off x="10801658" y="2818852"/>
            <a:ext cx="571045" cy="309861"/>
            <a:chOff x="10649258" y="3473519"/>
            <a:chExt cx="571045" cy="309861"/>
          </a:xfrm>
        </p:grpSpPr>
        <p:sp>
          <p:nvSpPr>
            <p:cNvPr id="65" name="Cylinder 513">
              <a:extLst>
                <a:ext uri="{FF2B5EF4-FFF2-40B4-BE49-F238E27FC236}">
                  <a16:creationId xmlns:a16="http://schemas.microsoft.com/office/drawing/2014/main" id="{BE19E1A0-ADF4-4720-8F4F-F851AB5FFEE1}"/>
                </a:ext>
              </a:extLst>
            </p:cNvPr>
            <p:cNvSpPr/>
            <p:nvPr/>
          </p:nvSpPr>
          <p:spPr bwMode="auto">
            <a:xfrm>
              <a:off x="10649258" y="3473519"/>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66" name="Group 65">
              <a:extLst>
                <a:ext uri="{FF2B5EF4-FFF2-40B4-BE49-F238E27FC236}">
                  <a16:creationId xmlns:a16="http://schemas.microsoft.com/office/drawing/2014/main" id="{1199A488-D950-4652-A29C-8F78165D0836}"/>
                </a:ext>
              </a:extLst>
            </p:cNvPr>
            <p:cNvGrpSpPr/>
            <p:nvPr/>
          </p:nvGrpSpPr>
          <p:grpSpPr>
            <a:xfrm>
              <a:off x="10927780" y="3489032"/>
              <a:ext cx="292523" cy="262441"/>
              <a:chOff x="1275510" y="6072184"/>
              <a:chExt cx="508602" cy="456298"/>
            </a:xfrm>
            <a:solidFill>
              <a:srgbClr val="FFFFFF">
                <a:lumMod val="95000"/>
              </a:srgbClr>
            </a:solidFill>
          </p:grpSpPr>
          <p:grpSp>
            <p:nvGrpSpPr>
              <p:cNvPr id="67" name="Group 66">
                <a:extLst>
                  <a:ext uri="{FF2B5EF4-FFF2-40B4-BE49-F238E27FC236}">
                    <a16:creationId xmlns:a16="http://schemas.microsoft.com/office/drawing/2014/main" id="{0BFEE75E-FA3A-4354-8ED1-5AECF48C020A}"/>
                  </a:ext>
                </a:extLst>
              </p:cNvPr>
              <p:cNvGrpSpPr/>
              <p:nvPr/>
            </p:nvGrpSpPr>
            <p:grpSpPr>
              <a:xfrm>
                <a:off x="1275510" y="6224584"/>
                <a:ext cx="508602" cy="151498"/>
                <a:chOff x="551886" y="4945335"/>
                <a:chExt cx="508602" cy="151498"/>
              </a:xfrm>
              <a:grpFill/>
            </p:grpSpPr>
            <p:sp>
              <p:nvSpPr>
                <p:cNvPr id="76" name="Rectangle 75">
                  <a:extLst>
                    <a:ext uri="{FF2B5EF4-FFF2-40B4-BE49-F238E27FC236}">
                      <a16:creationId xmlns:a16="http://schemas.microsoft.com/office/drawing/2014/main" id="{79D9B137-9750-48D0-A3A9-1DC3B8C0E80F}"/>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7" name="Oval 76">
                  <a:extLst>
                    <a:ext uri="{FF2B5EF4-FFF2-40B4-BE49-F238E27FC236}">
                      <a16:creationId xmlns:a16="http://schemas.microsoft.com/office/drawing/2014/main" id="{0A4648D5-0030-440B-9474-32C89407EE4A}"/>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8" name="Straight Connector 77">
                  <a:extLst>
                    <a:ext uri="{FF2B5EF4-FFF2-40B4-BE49-F238E27FC236}">
                      <a16:creationId xmlns:a16="http://schemas.microsoft.com/office/drawing/2014/main" id="{2A8C5EA0-0E95-43C6-82E9-B3B5594F29AE}"/>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68" name="Group 67">
                <a:extLst>
                  <a:ext uri="{FF2B5EF4-FFF2-40B4-BE49-F238E27FC236}">
                    <a16:creationId xmlns:a16="http://schemas.microsoft.com/office/drawing/2014/main" id="{C05B6165-E4A0-4882-A1DE-218688AA35EA}"/>
                  </a:ext>
                </a:extLst>
              </p:cNvPr>
              <p:cNvGrpSpPr/>
              <p:nvPr/>
            </p:nvGrpSpPr>
            <p:grpSpPr>
              <a:xfrm>
                <a:off x="1275510" y="6376984"/>
                <a:ext cx="508602" cy="151498"/>
                <a:chOff x="551886" y="4945335"/>
                <a:chExt cx="508602" cy="151498"/>
              </a:xfrm>
              <a:grpFill/>
            </p:grpSpPr>
            <p:sp>
              <p:nvSpPr>
                <p:cNvPr id="73" name="Rectangle 72">
                  <a:extLst>
                    <a:ext uri="{FF2B5EF4-FFF2-40B4-BE49-F238E27FC236}">
                      <a16:creationId xmlns:a16="http://schemas.microsoft.com/office/drawing/2014/main" id="{F4EFC2FA-FD13-402E-A4CF-978007A13069}"/>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4" name="Oval 73">
                  <a:extLst>
                    <a:ext uri="{FF2B5EF4-FFF2-40B4-BE49-F238E27FC236}">
                      <a16:creationId xmlns:a16="http://schemas.microsoft.com/office/drawing/2014/main" id="{542CC346-B888-4A4D-9F50-3E4B3F8E363F}"/>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5" name="Straight Connector 74">
                  <a:extLst>
                    <a:ext uri="{FF2B5EF4-FFF2-40B4-BE49-F238E27FC236}">
                      <a16:creationId xmlns:a16="http://schemas.microsoft.com/office/drawing/2014/main" id="{1CA03E30-AD1B-4BBF-95B6-550D9232ECE0}"/>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69" name="Group 68">
                <a:extLst>
                  <a:ext uri="{FF2B5EF4-FFF2-40B4-BE49-F238E27FC236}">
                    <a16:creationId xmlns:a16="http://schemas.microsoft.com/office/drawing/2014/main" id="{6061B68B-E593-40AE-B045-4ABF87206E93}"/>
                  </a:ext>
                </a:extLst>
              </p:cNvPr>
              <p:cNvGrpSpPr/>
              <p:nvPr/>
            </p:nvGrpSpPr>
            <p:grpSpPr>
              <a:xfrm>
                <a:off x="1275510" y="6072184"/>
                <a:ext cx="508602" cy="151498"/>
                <a:chOff x="551886" y="4945335"/>
                <a:chExt cx="508602" cy="151498"/>
              </a:xfrm>
              <a:grpFill/>
            </p:grpSpPr>
            <p:sp>
              <p:nvSpPr>
                <p:cNvPr id="70" name="Rectangle 69">
                  <a:extLst>
                    <a:ext uri="{FF2B5EF4-FFF2-40B4-BE49-F238E27FC236}">
                      <a16:creationId xmlns:a16="http://schemas.microsoft.com/office/drawing/2014/main" id="{F2B5E5DF-985F-47B6-B70F-F907CDB3E84A}"/>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1" name="Oval 70">
                  <a:extLst>
                    <a:ext uri="{FF2B5EF4-FFF2-40B4-BE49-F238E27FC236}">
                      <a16:creationId xmlns:a16="http://schemas.microsoft.com/office/drawing/2014/main" id="{1C51FC01-496F-495A-AA10-6129E714F363}"/>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ACF8EA9B-1057-4392-A994-3668796A781B}"/>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grpSp>
        <p:nvGrpSpPr>
          <p:cNvPr id="79" name="Group 78">
            <a:extLst>
              <a:ext uri="{FF2B5EF4-FFF2-40B4-BE49-F238E27FC236}">
                <a16:creationId xmlns:a16="http://schemas.microsoft.com/office/drawing/2014/main" id="{6451523D-826F-4AA0-A57F-718C8D64133D}"/>
              </a:ext>
            </a:extLst>
          </p:cNvPr>
          <p:cNvGrpSpPr/>
          <p:nvPr/>
        </p:nvGrpSpPr>
        <p:grpSpPr>
          <a:xfrm>
            <a:off x="8960659" y="2821382"/>
            <a:ext cx="2176184" cy="2291583"/>
            <a:chOff x="8808259" y="3476049"/>
            <a:chExt cx="2176184" cy="2291583"/>
          </a:xfrm>
        </p:grpSpPr>
        <p:cxnSp>
          <p:nvCxnSpPr>
            <p:cNvPr id="80" name="Connector: Elbow 79">
              <a:extLst>
                <a:ext uri="{FF2B5EF4-FFF2-40B4-BE49-F238E27FC236}">
                  <a16:creationId xmlns:a16="http://schemas.microsoft.com/office/drawing/2014/main" id="{29D198B6-1C43-449B-B3D7-7AB8FE8E08AB}"/>
                </a:ext>
              </a:extLst>
            </p:cNvPr>
            <p:cNvCxnSpPr>
              <a:stCxn id="65" idx="2"/>
              <a:endCxn id="50" idx="2"/>
            </p:cNvCxnSpPr>
            <p:nvPr/>
          </p:nvCxnSpPr>
          <p:spPr>
            <a:xfrm rot="10800000" flipV="1">
              <a:off x="10129772" y="3476049"/>
              <a:ext cx="671887" cy="1114767"/>
            </a:xfrm>
            <a:prstGeom prst="bentConnector3">
              <a:avLst>
                <a:gd name="adj1" fmla="val 134024"/>
              </a:avLst>
            </a:prstGeom>
            <a:noFill/>
            <a:ln w="12700" cap="flat" cmpd="sng" algn="ctr">
              <a:solidFill>
                <a:srgbClr val="0078D7"/>
              </a:solidFill>
              <a:prstDash val="solid"/>
              <a:headEnd type="none"/>
              <a:tailEnd type="none"/>
            </a:ln>
            <a:effectLst/>
          </p:spPr>
        </p:cxnSp>
        <p:cxnSp>
          <p:nvCxnSpPr>
            <p:cNvPr id="81" name="Connector: Elbow 80">
              <a:extLst>
                <a:ext uri="{FF2B5EF4-FFF2-40B4-BE49-F238E27FC236}">
                  <a16:creationId xmlns:a16="http://schemas.microsoft.com/office/drawing/2014/main" id="{B29C7D6D-1225-4C57-B978-6568E3F15687}"/>
                </a:ext>
              </a:extLst>
            </p:cNvPr>
            <p:cNvCxnSpPr>
              <a:cxnSpLocks/>
              <a:stCxn id="84" idx="2"/>
              <a:endCxn id="21" idx="2"/>
            </p:cNvCxnSpPr>
            <p:nvPr/>
          </p:nvCxnSpPr>
          <p:spPr>
            <a:xfrm rot="10800000" flipH="1" flipV="1">
              <a:off x="10370316" y="4232180"/>
              <a:ext cx="614127" cy="1535452"/>
            </a:xfrm>
            <a:prstGeom prst="bentConnector3">
              <a:avLst>
                <a:gd name="adj1" fmla="val -37224"/>
              </a:avLst>
            </a:prstGeom>
            <a:noFill/>
            <a:ln w="12700" cap="flat" cmpd="sng" algn="ctr">
              <a:solidFill>
                <a:srgbClr val="0078D7"/>
              </a:solidFill>
              <a:prstDash val="solid"/>
              <a:headEnd type="none"/>
              <a:tailEnd type="none"/>
            </a:ln>
            <a:effectLst/>
          </p:spPr>
        </p:cxnSp>
        <p:cxnSp>
          <p:nvCxnSpPr>
            <p:cNvPr id="82" name="Connector: Elbow 81">
              <a:extLst>
                <a:ext uri="{FF2B5EF4-FFF2-40B4-BE49-F238E27FC236}">
                  <a16:creationId xmlns:a16="http://schemas.microsoft.com/office/drawing/2014/main" id="{AFB885A3-67E8-4018-B7E6-49910E49C5EA}"/>
                </a:ext>
              </a:extLst>
            </p:cNvPr>
            <p:cNvCxnSpPr>
              <a:cxnSpLocks/>
            </p:cNvCxnSpPr>
            <p:nvPr/>
          </p:nvCxnSpPr>
          <p:spPr>
            <a:xfrm rot="16200000" flipH="1">
              <a:off x="9159651" y="4002500"/>
              <a:ext cx="234393" cy="937177"/>
            </a:xfrm>
            <a:prstGeom prst="bentConnector2">
              <a:avLst/>
            </a:prstGeom>
            <a:noFill/>
            <a:ln w="12700" cap="flat" cmpd="sng" algn="ctr">
              <a:solidFill>
                <a:srgbClr val="0078D7"/>
              </a:solidFill>
              <a:prstDash val="solid"/>
              <a:headEnd type="none"/>
              <a:tailEnd type="none"/>
            </a:ln>
            <a:effectLst/>
          </p:spPr>
        </p:cxnSp>
      </p:grpSp>
      <p:grpSp>
        <p:nvGrpSpPr>
          <p:cNvPr id="83" name="Group 82">
            <a:extLst>
              <a:ext uri="{FF2B5EF4-FFF2-40B4-BE49-F238E27FC236}">
                <a16:creationId xmlns:a16="http://schemas.microsoft.com/office/drawing/2014/main" id="{78694C88-3482-4843-8163-E76A513F7D63}"/>
              </a:ext>
            </a:extLst>
          </p:cNvPr>
          <p:cNvGrpSpPr/>
          <p:nvPr/>
        </p:nvGrpSpPr>
        <p:grpSpPr>
          <a:xfrm>
            <a:off x="10522717" y="3422582"/>
            <a:ext cx="571045" cy="309861"/>
            <a:chOff x="10649258" y="3473519"/>
            <a:chExt cx="571045" cy="309861"/>
          </a:xfrm>
        </p:grpSpPr>
        <p:sp>
          <p:nvSpPr>
            <p:cNvPr id="84" name="Cylinder 513">
              <a:extLst>
                <a:ext uri="{FF2B5EF4-FFF2-40B4-BE49-F238E27FC236}">
                  <a16:creationId xmlns:a16="http://schemas.microsoft.com/office/drawing/2014/main" id="{70F6DEE4-2B28-4B8E-913F-5C602D3E0C40}"/>
                </a:ext>
              </a:extLst>
            </p:cNvPr>
            <p:cNvSpPr/>
            <p:nvPr/>
          </p:nvSpPr>
          <p:spPr bwMode="auto">
            <a:xfrm>
              <a:off x="10649258" y="3473519"/>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85" name="Group 84">
              <a:extLst>
                <a:ext uri="{FF2B5EF4-FFF2-40B4-BE49-F238E27FC236}">
                  <a16:creationId xmlns:a16="http://schemas.microsoft.com/office/drawing/2014/main" id="{947D539E-33ED-46F9-994B-1D3EFBB782B8}"/>
                </a:ext>
              </a:extLst>
            </p:cNvPr>
            <p:cNvGrpSpPr/>
            <p:nvPr/>
          </p:nvGrpSpPr>
          <p:grpSpPr>
            <a:xfrm>
              <a:off x="10927780" y="3489032"/>
              <a:ext cx="292523" cy="262441"/>
              <a:chOff x="1275510" y="6072184"/>
              <a:chExt cx="508602" cy="456298"/>
            </a:xfrm>
            <a:solidFill>
              <a:srgbClr val="FFFFFF">
                <a:lumMod val="95000"/>
              </a:srgbClr>
            </a:solidFill>
          </p:grpSpPr>
          <p:grpSp>
            <p:nvGrpSpPr>
              <p:cNvPr id="86" name="Group 85">
                <a:extLst>
                  <a:ext uri="{FF2B5EF4-FFF2-40B4-BE49-F238E27FC236}">
                    <a16:creationId xmlns:a16="http://schemas.microsoft.com/office/drawing/2014/main" id="{B19E7122-0700-45EB-B72F-6D5D561DB50A}"/>
                  </a:ext>
                </a:extLst>
              </p:cNvPr>
              <p:cNvGrpSpPr/>
              <p:nvPr/>
            </p:nvGrpSpPr>
            <p:grpSpPr>
              <a:xfrm>
                <a:off x="1275510" y="6224584"/>
                <a:ext cx="508602" cy="151498"/>
                <a:chOff x="551886" y="4945335"/>
                <a:chExt cx="508602" cy="151498"/>
              </a:xfrm>
              <a:grpFill/>
            </p:grpSpPr>
            <p:sp>
              <p:nvSpPr>
                <p:cNvPr id="95" name="Rectangle 94">
                  <a:extLst>
                    <a:ext uri="{FF2B5EF4-FFF2-40B4-BE49-F238E27FC236}">
                      <a16:creationId xmlns:a16="http://schemas.microsoft.com/office/drawing/2014/main" id="{B1D7B419-A3B4-4F20-B887-A8BCF5AD18AE}"/>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96" name="Oval 95">
                  <a:extLst>
                    <a:ext uri="{FF2B5EF4-FFF2-40B4-BE49-F238E27FC236}">
                      <a16:creationId xmlns:a16="http://schemas.microsoft.com/office/drawing/2014/main" id="{927AF574-CD8B-4CCF-BD36-07D1B1B15B57}"/>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EA06850D-A2F4-49C4-B82F-2D54D1271DA3}"/>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87" name="Group 86">
                <a:extLst>
                  <a:ext uri="{FF2B5EF4-FFF2-40B4-BE49-F238E27FC236}">
                    <a16:creationId xmlns:a16="http://schemas.microsoft.com/office/drawing/2014/main" id="{D4936706-0857-443F-8A58-0F027E30DC73}"/>
                  </a:ext>
                </a:extLst>
              </p:cNvPr>
              <p:cNvGrpSpPr/>
              <p:nvPr/>
            </p:nvGrpSpPr>
            <p:grpSpPr>
              <a:xfrm>
                <a:off x="1275510" y="6376984"/>
                <a:ext cx="508602" cy="151498"/>
                <a:chOff x="551886" y="4945335"/>
                <a:chExt cx="508602" cy="151498"/>
              </a:xfrm>
              <a:grpFill/>
            </p:grpSpPr>
            <p:sp>
              <p:nvSpPr>
                <p:cNvPr id="92" name="Rectangle 91">
                  <a:extLst>
                    <a:ext uri="{FF2B5EF4-FFF2-40B4-BE49-F238E27FC236}">
                      <a16:creationId xmlns:a16="http://schemas.microsoft.com/office/drawing/2014/main" id="{EDB4DDC0-03E6-4436-8151-A689AE63FDEA}"/>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93" name="Oval 92">
                  <a:extLst>
                    <a:ext uri="{FF2B5EF4-FFF2-40B4-BE49-F238E27FC236}">
                      <a16:creationId xmlns:a16="http://schemas.microsoft.com/office/drawing/2014/main" id="{C293AA7F-B000-49EF-9546-AD47E9395268}"/>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94" name="Straight Connector 93">
                  <a:extLst>
                    <a:ext uri="{FF2B5EF4-FFF2-40B4-BE49-F238E27FC236}">
                      <a16:creationId xmlns:a16="http://schemas.microsoft.com/office/drawing/2014/main" id="{380FF67C-6AD5-4571-BCC0-8DA3E13CE82A}"/>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88" name="Group 87">
                <a:extLst>
                  <a:ext uri="{FF2B5EF4-FFF2-40B4-BE49-F238E27FC236}">
                    <a16:creationId xmlns:a16="http://schemas.microsoft.com/office/drawing/2014/main" id="{5F6C2559-DD47-4632-973A-FC886AB49037}"/>
                  </a:ext>
                </a:extLst>
              </p:cNvPr>
              <p:cNvGrpSpPr/>
              <p:nvPr/>
            </p:nvGrpSpPr>
            <p:grpSpPr>
              <a:xfrm>
                <a:off x="1275510" y="6072184"/>
                <a:ext cx="508602" cy="151498"/>
                <a:chOff x="551886" y="4945335"/>
                <a:chExt cx="508602" cy="151498"/>
              </a:xfrm>
              <a:grpFill/>
            </p:grpSpPr>
            <p:sp>
              <p:nvSpPr>
                <p:cNvPr id="89" name="Rectangle 88">
                  <a:extLst>
                    <a:ext uri="{FF2B5EF4-FFF2-40B4-BE49-F238E27FC236}">
                      <a16:creationId xmlns:a16="http://schemas.microsoft.com/office/drawing/2014/main" id="{A57DB276-517A-4CEB-A5D0-016B444CE493}"/>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90" name="Oval 89">
                  <a:extLst>
                    <a:ext uri="{FF2B5EF4-FFF2-40B4-BE49-F238E27FC236}">
                      <a16:creationId xmlns:a16="http://schemas.microsoft.com/office/drawing/2014/main" id="{DAD7C03C-0900-437A-B20A-18DDB45B83A5}"/>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91" name="Straight Connector 90">
                  <a:extLst>
                    <a:ext uri="{FF2B5EF4-FFF2-40B4-BE49-F238E27FC236}">
                      <a16:creationId xmlns:a16="http://schemas.microsoft.com/office/drawing/2014/main" id="{EBE11BAC-AE50-410C-BDD0-B16B0A3521BC}"/>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grpSp>
        <p:nvGrpSpPr>
          <p:cNvPr id="98" name="Group 97">
            <a:extLst>
              <a:ext uri="{FF2B5EF4-FFF2-40B4-BE49-F238E27FC236}">
                <a16:creationId xmlns:a16="http://schemas.microsoft.com/office/drawing/2014/main" id="{148EBD96-478F-4DAD-A8CD-4366A3232442}"/>
              </a:ext>
            </a:extLst>
          </p:cNvPr>
          <p:cNvGrpSpPr/>
          <p:nvPr/>
        </p:nvGrpSpPr>
        <p:grpSpPr>
          <a:xfrm>
            <a:off x="10853216" y="2910760"/>
            <a:ext cx="593113" cy="2047274"/>
            <a:chOff x="10700816" y="3565427"/>
            <a:chExt cx="593113" cy="2047274"/>
          </a:xfrm>
        </p:grpSpPr>
        <p:cxnSp>
          <p:nvCxnSpPr>
            <p:cNvPr id="99" name="Straight Connector 98">
              <a:extLst>
                <a:ext uri="{FF2B5EF4-FFF2-40B4-BE49-F238E27FC236}">
                  <a16:creationId xmlns:a16="http://schemas.microsoft.com/office/drawing/2014/main" id="{3810BB19-673B-44C7-A832-6BE86FF28BE7}"/>
                </a:ext>
              </a:extLst>
            </p:cNvPr>
            <p:cNvCxnSpPr>
              <a:cxnSpLocks/>
            </p:cNvCxnSpPr>
            <p:nvPr/>
          </p:nvCxnSpPr>
          <p:spPr>
            <a:xfrm>
              <a:off x="11134672" y="3751473"/>
              <a:ext cx="0" cy="1861228"/>
            </a:xfrm>
            <a:prstGeom prst="line">
              <a:avLst/>
            </a:prstGeom>
            <a:noFill/>
            <a:ln w="12700" cap="flat" cmpd="sng" algn="ctr">
              <a:solidFill>
                <a:srgbClr val="0078D7"/>
              </a:solidFill>
              <a:prstDash val="solid"/>
              <a:headEnd type="none"/>
              <a:tailEnd type="none"/>
            </a:ln>
            <a:effectLst/>
          </p:spPr>
        </p:cxnSp>
        <p:cxnSp>
          <p:nvCxnSpPr>
            <p:cNvPr id="100" name="Straight Connector 99">
              <a:extLst>
                <a:ext uri="{FF2B5EF4-FFF2-40B4-BE49-F238E27FC236}">
                  <a16:creationId xmlns:a16="http://schemas.microsoft.com/office/drawing/2014/main" id="{B3BCECC8-2C01-4AF0-9E3F-3DCA645057FC}"/>
                </a:ext>
              </a:extLst>
            </p:cNvPr>
            <p:cNvCxnSpPr>
              <a:stCxn id="95" idx="3"/>
            </p:cNvCxnSpPr>
            <p:nvPr/>
          </p:nvCxnSpPr>
          <p:spPr>
            <a:xfrm flipV="1">
              <a:off x="11093762" y="3565427"/>
              <a:ext cx="191095" cy="0"/>
            </a:xfrm>
            <a:prstGeom prst="line">
              <a:avLst/>
            </a:prstGeom>
            <a:noFill/>
            <a:ln w="12700" cap="flat" cmpd="sng" algn="ctr">
              <a:solidFill>
                <a:srgbClr val="0078D7"/>
              </a:solidFill>
              <a:prstDash val="solid"/>
              <a:headEnd type="none"/>
              <a:tailEnd type="none"/>
            </a:ln>
            <a:effectLst/>
          </p:spPr>
        </p:cxnSp>
        <p:cxnSp>
          <p:nvCxnSpPr>
            <p:cNvPr id="101" name="Straight Connector 100">
              <a:extLst>
                <a:ext uri="{FF2B5EF4-FFF2-40B4-BE49-F238E27FC236}">
                  <a16:creationId xmlns:a16="http://schemas.microsoft.com/office/drawing/2014/main" id="{98C73850-6D2E-436A-96EE-FEFF3D28B948}"/>
                </a:ext>
              </a:extLst>
            </p:cNvPr>
            <p:cNvCxnSpPr>
              <a:cxnSpLocks/>
              <a:stCxn id="61" idx="3"/>
            </p:cNvCxnSpPr>
            <p:nvPr/>
          </p:nvCxnSpPr>
          <p:spPr>
            <a:xfrm>
              <a:off x="10700816" y="4080352"/>
              <a:ext cx="593113" cy="363"/>
            </a:xfrm>
            <a:prstGeom prst="line">
              <a:avLst/>
            </a:prstGeom>
            <a:noFill/>
            <a:ln w="12700" cap="flat" cmpd="sng" algn="ctr">
              <a:solidFill>
                <a:srgbClr val="0078D7"/>
              </a:solidFill>
              <a:prstDash val="solid"/>
              <a:headEnd type="none"/>
              <a:tailEnd type="none"/>
            </a:ln>
            <a:effectLst/>
          </p:spPr>
        </p:cxnSp>
      </p:grpSp>
      <p:cxnSp>
        <p:nvCxnSpPr>
          <p:cNvPr id="102" name="Connector: Elbow 101">
            <a:extLst>
              <a:ext uri="{FF2B5EF4-FFF2-40B4-BE49-F238E27FC236}">
                <a16:creationId xmlns:a16="http://schemas.microsoft.com/office/drawing/2014/main" id="{FBA47955-F98E-4AD5-96AF-340C60249567}"/>
              </a:ext>
            </a:extLst>
          </p:cNvPr>
          <p:cNvCxnSpPr>
            <a:stCxn id="65" idx="2"/>
          </p:cNvCxnSpPr>
          <p:nvPr/>
        </p:nvCxnSpPr>
        <p:spPr>
          <a:xfrm rot="10800000" flipV="1">
            <a:off x="8914970" y="2973783"/>
            <a:ext cx="1886689" cy="132030"/>
          </a:xfrm>
          <a:prstGeom prst="bentConnector3">
            <a:avLst>
              <a:gd name="adj1" fmla="val 100005"/>
            </a:avLst>
          </a:prstGeom>
          <a:noFill/>
          <a:ln w="12700" cap="flat" cmpd="sng" algn="ctr">
            <a:solidFill>
              <a:srgbClr val="0078D7"/>
            </a:solidFill>
            <a:prstDash val="solid"/>
            <a:headEnd type="none"/>
            <a:tailEnd type="none"/>
          </a:ln>
          <a:effectLst/>
        </p:spPr>
      </p:cxnSp>
      <p:cxnSp>
        <p:nvCxnSpPr>
          <p:cNvPr id="103" name="Connector: Elbow 102">
            <a:extLst>
              <a:ext uri="{FF2B5EF4-FFF2-40B4-BE49-F238E27FC236}">
                <a16:creationId xmlns:a16="http://schemas.microsoft.com/office/drawing/2014/main" id="{CB00B5A3-862D-4AB0-88DE-F2C48FD73B00}"/>
              </a:ext>
            </a:extLst>
          </p:cNvPr>
          <p:cNvCxnSpPr>
            <a:stCxn id="5" idx="2"/>
            <a:endCxn id="36" idx="1"/>
          </p:cNvCxnSpPr>
          <p:nvPr/>
        </p:nvCxnSpPr>
        <p:spPr>
          <a:xfrm rot="5400000">
            <a:off x="8837122" y="2176910"/>
            <a:ext cx="880783" cy="1073965"/>
          </a:xfrm>
          <a:prstGeom prst="bentConnector3">
            <a:avLst>
              <a:gd name="adj1" fmla="val 19514"/>
            </a:avLst>
          </a:prstGeom>
          <a:noFill/>
          <a:ln w="12700" cap="flat" cmpd="sng" algn="ctr">
            <a:solidFill>
              <a:srgbClr val="0078D7"/>
            </a:solidFill>
            <a:prstDash val="dash"/>
            <a:headEnd type="none"/>
            <a:tailEnd type="triangle"/>
          </a:ln>
          <a:effectLst/>
        </p:spPr>
      </p:cxnSp>
      <p:cxnSp>
        <p:nvCxnSpPr>
          <p:cNvPr id="104" name="Connector: Elbow 103">
            <a:extLst>
              <a:ext uri="{FF2B5EF4-FFF2-40B4-BE49-F238E27FC236}">
                <a16:creationId xmlns:a16="http://schemas.microsoft.com/office/drawing/2014/main" id="{9DA260CA-FF78-47C5-9713-BF9515D0F4D5}"/>
              </a:ext>
            </a:extLst>
          </p:cNvPr>
          <p:cNvCxnSpPr>
            <a:stCxn id="5" idx="2"/>
            <a:endCxn id="65" idx="1"/>
          </p:cNvCxnSpPr>
          <p:nvPr/>
        </p:nvCxnSpPr>
        <p:spPr>
          <a:xfrm rot="16200000" flipH="1">
            <a:off x="10094366" y="1993629"/>
            <a:ext cx="545351" cy="1105093"/>
          </a:xfrm>
          <a:prstGeom prst="bentConnector3">
            <a:avLst>
              <a:gd name="adj1" fmla="val 31370"/>
            </a:avLst>
          </a:prstGeom>
          <a:noFill/>
          <a:ln w="12700" cap="flat" cmpd="sng" algn="ctr">
            <a:solidFill>
              <a:srgbClr val="0078D7"/>
            </a:solidFill>
            <a:prstDash val="dash"/>
            <a:headEnd type="none"/>
            <a:tailEnd type="triangle"/>
          </a:ln>
          <a:effectLst/>
        </p:spPr>
      </p:cxnSp>
      <p:grpSp>
        <p:nvGrpSpPr>
          <p:cNvPr id="105" name="Group 104">
            <a:extLst>
              <a:ext uri="{FF2B5EF4-FFF2-40B4-BE49-F238E27FC236}">
                <a16:creationId xmlns:a16="http://schemas.microsoft.com/office/drawing/2014/main" id="{917A3657-94CB-433F-B59C-47F24DDB38D3}"/>
              </a:ext>
            </a:extLst>
          </p:cNvPr>
          <p:cNvGrpSpPr/>
          <p:nvPr/>
        </p:nvGrpSpPr>
        <p:grpSpPr>
          <a:xfrm>
            <a:off x="8566091" y="3154284"/>
            <a:ext cx="844678" cy="458340"/>
            <a:chOff x="8413691" y="3808951"/>
            <a:chExt cx="844678" cy="458340"/>
          </a:xfrm>
        </p:grpSpPr>
        <p:sp>
          <p:nvSpPr>
            <p:cNvPr id="106" name="Cylinder 513">
              <a:extLst>
                <a:ext uri="{FF2B5EF4-FFF2-40B4-BE49-F238E27FC236}">
                  <a16:creationId xmlns:a16="http://schemas.microsoft.com/office/drawing/2014/main" id="{DBB66EE0-C662-4247-B7A1-CF741651BA3E}"/>
                </a:ext>
              </a:extLst>
            </p:cNvPr>
            <p:cNvSpPr/>
            <p:nvPr/>
          </p:nvSpPr>
          <p:spPr bwMode="auto">
            <a:xfrm>
              <a:off x="8413691" y="3808951"/>
              <a:ext cx="348878" cy="458340"/>
            </a:xfrm>
            <a:prstGeom prst="flowChartMagneticDisk">
              <a:avLst/>
            </a:prstGeom>
            <a:solidFill>
              <a:srgbClr val="FFFFFF">
                <a:lumMod val="95000"/>
              </a:srgbClr>
            </a:solid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107" name="Group 106">
              <a:extLst>
                <a:ext uri="{FF2B5EF4-FFF2-40B4-BE49-F238E27FC236}">
                  <a16:creationId xmlns:a16="http://schemas.microsoft.com/office/drawing/2014/main" id="{9572D570-3F30-47F3-B326-F2EAC16D28C9}"/>
                </a:ext>
              </a:extLst>
            </p:cNvPr>
            <p:cNvGrpSpPr/>
            <p:nvPr/>
          </p:nvGrpSpPr>
          <p:grpSpPr>
            <a:xfrm>
              <a:off x="8825675" y="3831898"/>
              <a:ext cx="432694" cy="388197"/>
              <a:chOff x="1275510" y="6072184"/>
              <a:chExt cx="508602" cy="456298"/>
            </a:xfrm>
            <a:solidFill>
              <a:srgbClr val="FFFFFF">
                <a:lumMod val="95000"/>
              </a:srgbClr>
            </a:solidFill>
          </p:grpSpPr>
          <p:grpSp>
            <p:nvGrpSpPr>
              <p:cNvPr id="108" name="Group 107">
                <a:extLst>
                  <a:ext uri="{FF2B5EF4-FFF2-40B4-BE49-F238E27FC236}">
                    <a16:creationId xmlns:a16="http://schemas.microsoft.com/office/drawing/2014/main" id="{B34CDD34-349D-4AD6-9E8A-380EB0D6F6A0}"/>
                  </a:ext>
                </a:extLst>
              </p:cNvPr>
              <p:cNvGrpSpPr/>
              <p:nvPr/>
            </p:nvGrpSpPr>
            <p:grpSpPr>
              <a:xfrm>
                <a:off x="1275510" y="6224584"/>
                <a:ext cx="508602" cy="151498"/>
                <a:chOff x="551886" y="4945335"/>
                <a:chExt cx="508602" cy="151498"/>
              </a:xfrm>
              <a:grpFill/>
            </p:grpSpPr>
            <p:sp>
              <p:nvSpPr>
                <p:cNvPr id="117" name="Rectangle 116">
                  <a:extLst>
                    <a:ext uri="{FF2B5EF4-FFF2-40B4-BE49-F238E27FC236}">
                      <a16:creationId xmlns:a16="http://schemas.microsoft.com/office/drawing/2014/main" id="{3EAAE0D6-C3E8-45E1-8164-A971087EF276}"/>
                    </a:ext>
                  </a:extLst>
                </p:cNvPr>
                <p:cNvSpPr/>
                <p:nvPr/>
              </p:nvSpPr>
              <p:spPr bwMode="auto">
                <a:xfrm>
                  <a:off x="551886" y="4945335"/>
                  <a:ext cx="508602" cy="151498"/>
                </a:xfrm>
                <a:prstGeom prst="rect">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118" name="Oval 117">
                  <a:extLst>
                    <a:ext uri="{FF2B5EF4-FFF2-40B4-BE49-F238E27FC236}">
                      <a16:creationId xmlns:a16="http://schemas.microsoft.com/office/drawing/2014/main" id="{9F89AC08-E3E2-4C80-ABBD-4AFC2D9EBF65}"/>
                    </a:ext>
                  </a:extLst>
                </p:cNvPr>
                <p:cNvSpPr/>
                <p:nvPr/>
              </p:nvSpPr>
              <p:spPr bwMode="auto">
                <a:xfrm flipH="1">
                  <a:off x="955040" y="4993640"/>
                  <a:ext cx="45720" cy="45720"/>
                </a:xfrm>
                <a:prstGeom prst="ellipse">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19" name="Straight Connector 118">
                  <a:extLst>
                    <a:ext uri="{FF2B5EF4-FFF2-40B4-BE49-F238E27FC236}">
                      <a16:creationId xmlns:a16="http://schemas.microsoft.com/office/drawing/2014/main" id="{818140D2-DBC2-4569-AC05-EDE67318D1E7}"/>
                    </a:ext>
                  </a:extLst>
                </p:cNvPr>
                <p:cNvCxnSpPr/>
                <p:nvPr/>
              </p:nvCxnSpPr>
              <p:spPr>
                <a:xfrm>
                  <a:off x="625475" y="5019675"/>
                  <a:ext cx="238125" cy="0"/>
                </a:xfrm>
                <a:prstGeom prst="line">
                  <a:avLst/>
                </a:prstGeom>
                <a:grpFill/>
                <a:ln w="12700" cap="flat" cmpd="sng" algn="ctr">
                  <a:solidFill>
                    <a:srgbClr val="D2D2D2">
                      <a:lumMod val="90000"/>
                    </a:srgbClr>
                  </a:solidFill>
                  <a:prstDash val="solid"/>
                  <a:headEnd type="none"/>
                  <a:tailEnd type="none"/>
                </a:ln>
                <a:effectLst/>
              </p:spPr>
            </p:cxnSp>
          </p:grpSp>
          <p:grpSp>
            <p:nvGrpSpPr>
              <p:cNvPr id="109" name="Group 108">
                <a:extLst>
                  <a:ext uri="{FF2B5EF4-FFF2-40B4-BE49-F238E27FC236}">
                    <a16:creationId xmlns:a16="http://schemas.microsoft.com/office/drawing/2014/main" id="{8A239FE1-9119-46CB-B2AA-90DDE9318357}"/>
                  </a:ext>
                </a:extLst>
              </p:cNvPr>
              <p:cNvGrpSpPr/>
              <p:nvPr/>
            </p:nvGrpSpPr>
            <p:grpSpPr>
              <a:xfrm>
                <a:off x="1275510" y="6376984"/>
                <a:ext cx="508602" cy="151498"/>
                <a:chOff x="551886" y="4945335"/>
                <a:chExt cx="508602" cy="151498"/>
              </a:xfrm>
              <a:grpFill/>
            </p:grpSpPr>
            <p:sp>
              <p:nvSpPr>
                <p:cNvPr id="114" name="Rectangle 113">
                  <a:extLst>
                    <a:ext uri="{FF2B5EF4-FFF2-40B4-BE49-F238E27FC236}">
                      <a16:creationId xmlns:a16="http://schemas.microsoft.com/office/drawing/2014/main" id="{19106A46-C4D9-4ECC-B56C-EF74FAB7355E}"/>
                    </a:ext>
                  </a:extLst>
                </p:cNvPr>
                <p:cNvSpPr/>
                <p:nvPr/>
              </p:nvSpPr>
              <p:spPr bwMode="auto">
                <a:xfrm>
                  <a:off x="551886" y="4945335"/>
                  <a:ext cx="508602" cy="151498"/>
                </a:xfrm>
                <a:prstGeom prst="rect">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115" name="Oval 114">
                  <a:extLst>
                    <a:ext uri="{FF2B5EF4-FFF2-40B4-BE49-F238E27FC236}">
                      <a16:creationId xmlns:a16="http://schemas.microsoft.com/office/drawing/2014/main" id="{72E9A0BE-AE76-4A46-B5FE-C0D83C654CDB}"/>
                    </a:ext>
                  </a:extLst>
                </p:cNvPr>
                <p:cNvSpPr/>
                <p:nvPr/>
              </p:nvSpPr>
              <p:spPr bwMode="auto">
                <a:xfrm flipH="1">
                  <a:off x="955040" y="4993640"/>
                  <a:ext cx="45720" cy="45720"/>
                </a:xfrm>
                <a:prstGeom prst="ellipse">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F186D876-ACBC-4E00-93FE-7B8E0BF99B27}"/>
                    </a:ext>
                  </a:extLst>
                </p:cNvPr>
                <p:cNvCxnSpPr/>
                <p:nvPr/>
              </p:nvCxnSpPr>
              <p:spPr>
                <a:xfrm>
                  <a:off x="625475" y="5019675"/>
                  <a:ext cx="238125" cy="0"/>
                </a:xfrm>
                <a:prstGeom prst="line">
                  <a:avLst/>
                </a:prstGeom>
                <a:grpFill/>
                <a:ln w="12700" cap="flat" cmpd="sng" algn="ctr">
                  <a:solidFill>
                    <a:srgbClr val="D2D2D2">
                      <a:lumMod val="90000"/>
                    </a:srgbClr>
                  </a:solidFill>
                  <a:prstDash val="solid"/>
                  <a:headEnd type="none"/>
                  <a:tailEnd type="none"/>
                </a:ln>
                <a:effectLst/>
              </p:spPr>
            </p:cxnSp>
          </p:grpSp>
          <p:grpSp>
            <p:nvGrpSpPr>
              <p:cNvPr id="110" name="Group 109">
                <a:extLst>
                  <a:ext uri="{FF2B5EF4-FFF2-40B4-BE49-F238E27FC236}">
                    <a16:creationId xmlns:a16="http://schemas.microsoft.com/office/drawing/2014/main" id="{9C6BB911-F051-496A-8A45-C4D95EB1B9F0}"/>
                  </a:ext>
                </a:extLst>
              </p:cNvPr>
              <p:cNvGrpSpPr/>
              <p:nvPr/>
            </p:nvGrpSpPr>
            <p:grpSpPr>
              <a:xfrm>
                <a:off x="1275510" y="6072184"/>
                <a:ext cx="508602" cy="151498"/>
                <a:chOff x="551886" y="4945335"/>
                <a:chExt cx="508602" cy="151498"/>
              </a:xfrm>
              <a:grpFill/>
            </p:grpSpPr>
            <p:sp>
              <p:nvSpPr>
                <p:cNvPr id="111" name="Rectangle 110">
                  <a:extLst>
                    <a:ext uri="{FF2B5EF4-FFF2-40B4-BE49-F238E27FC236}">
                      <a16:creationId xmlns:a16="http://schemas.microsoft.com/office/drawing/2014/main" id="{21796357-8A99-464A-B6B2-D091A80806F6}"/>
                    </a:ext>
                  </a:extLst>
                </p:cNvPr>
                <p:cNvSpPr/>
                <p:nvPr/>
              </p:nvSpPr>
              <p:spPr bwMode="auto">
                <a:xfrm>
                  <a:off x="551886" y="4945335"/>
                  <a:ext cx="508602" cy="151498"/>
                </a:xfrm>
                <a:prstGeom prst="rect">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112" name="Oval 111">
                  <a:extLst>
                    <a:ext uri="{FF2B5EF4-FFF2-40B4-BE49-F238E27FC236}">
                      <a16:creationId xmlns:a16="http://schemas.microsoft.com/office/drawing/2014/main" id="{EE229B6A-A387-47CD-9635-28D4F76932B6}"/>
                    </a:ext>
                  </a:extLst>
                </p:cNvPr>
                <p:cNvSpPr/>
                <p:nvPr/>
              </p:nvSpPr>
              <p:spPr bwMode="auto">
                <a:xfrm flipH="1">
                  <a:off x="955040" y="4993640"/>
                  <a:ext cx="45720" cy="45720"/>
                </a:xfrm>
                <a:prstGeom prst="ellipse">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13" name="Straight Connector 112">
                  <a:extLst>
                    <a:ext uri="{FF2B5EF4-FFF2-40B4-BE49-F238E27FC236}">
                      <a16:creationId xmlns:a16="http://schemas.microsoft.com/office/drawing/2014/main" id="{81DE7AD6-53EA-47DB-854D-E9F27B8BCE18}"/>
                    </a:ext>
                  </a:extLst>
                </p:cNvPr>
                <p:cNvCxnSpPr/>
                <p:nvPr/>
              </p:nvCxnSpPr>
              <p:spPr>
                <a:xfrm>
                  <a:off x="625475" y="5019675"/>
                  <a:ext cx="238125" cy="0"/>
                </a:xfrm>
                <a:prstGeom prst="line">
                  <a:avLst/>
                </a:prstGeom>
                <a:grpFill/>
                <a:ln w="12700" cap="flat" cmpd="sng" algn="ctr">
                  <a:solidFill>
                    <a:srgbClr val="D2D2D2">
                      <a:lumMod val="90000"/>
                    </a:srgbClr>
                  </a:solidFill>
                  <a:prstDash val="solid"/>
                  <a:headEnd type="none"/>
                  <a:tailEnd type="none"/>
                </a:ln>
                <a:effectLst/>
              </p:spPr>
            </p:cxnSp>
          </p:grpSp>
        </p:grpSp>
      </p:grpSp>
    </p:spTree>
    <p:extLst>
      <p:ext uri="{BB962C8B-B14F-4D97-AF65-F5344CB8AC3E}">
        <p14:creationId xmlns:p14="http://schemas.microsoft.com/office/powerpoint/2010/main" val="721641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79"/>
                                        </p:tgtEl>
                                      </p:cBhvr>
                                    </p:animEffect>
                                    <p:set>
                                      <p:cBhvr>
                                        <p:cTn id="7" dur="1" fill="hold">
                                          <p:stCondLst>
                                            <p:cond delay="499"/>
                                          </p:stCondLst>
                                        </p:cTn>
                                        <p:tgtEl>
                                          <p:spTgt spid="79"/>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5"/>
                                        </p:tgtEl>
                                        <p:attrNameLst>
                                          <p:attrName>style.visibility</p:attrName>
                                        </p:attrNameLst>
                                      </p:cBhvr>
                                      <p:to>
                                        <p:strVal val="visible"/>
                                      </p:to>
                                    </p:set>
                                    <p:animEffect transition="in" filter="fade">
                                      <p:cBhvr>
                                        <p:cTn id="10" dur="500"/>
                                        <p:tgtEl>
                                          <p:spTgt spid="105"/>
                                        </p:tgtEl>
                                      </p:cBhvr>
                                    </p:animEffect>
                                  </p:childTnLst>
                                </p:cTn>
                              </p:par>
                              <p:par>
                                <p:cTn id="11" presetID="10" presetClass="exit" presetSubtype="0" fill="hold" nodeType="withEffect">
                                  <p:stCondLst>
                                    <p:cond delay="0"/>
                                  </p:stCondLst>
                                  <p:childTnLst>
                                    <p:animEffect transition="out" filter="fade">
                                      <p:cBhvr>
                                        <p:cTn id="12" dur="500"/>
                                        <p:tgtEl>
                                          <p:spTgt spid="103"/>
                                        </p:tgtEl>
                                      </p:cBhvr>
                                    </p:animEffect>
                                    <p:set>
                                      <p:cBhvr>
                                        <p:cTn id="13" dur="1" fill="hold">
                                          <p:stCondLst>
                                            <p:cond delay="499"/>
                                          </p:stCondLst>
                                        </p:cTn>
                                        <p:tgtEl>
                                          <p:spTgt spid="103"/>
                                        </p:tgtEl>
                                        <p:attrNameLst>
                                          <p:attrName>style.visibility</p:attrName>
                                        </p:attrNameLst>
                                      </p:cBhvr>
                                      <p:to>
                                        <p:strVal val="hidden"/>
                                      </p:to>
                                    </p:set>
                                  </p:childTnLst>
                                </p:cTn>
                              </p:par>
                              <p:par>
                                <p:cTn id="14" presetID="10" presetClass="entr" presetSubtype="0" fill="hold" nodeType="withEffect">
                                  <p:stCondLst>
                                    <p:cond delay="0"/>
                                  </p:stCondLst>
                                  <p:childTnLst>
                                    <p:set>
                                      <p:cBhvr>
                                        <p:cTn id="15" dur="1" fill="hold">
                                          <p:stCondLst>
                                            <p:cond delay="0"/>
                                          </p:stCondLst>
                                        </p:cTn>
                                        <p:tgtEl>
                                          <p:spTgt spid="104"/>
                                        </p:tgtEl>
                                        <p:attrNameLst>
                                          <p:attrName>style.visibility</p:attrName>
                                        </p:attrNameLst>
                                      </p:cBhvr>
                                      <p:to>
                                        <p:strVal val="visible"/>
                                      </p:to>
                                    </p:set>
                                    <p:animEffect transition="in" filter="fade">
                                      <p:cBhvr>
                                        <p:cTn id="16" dur="500"/>
                                        <p:tgtEl>
                                          <p:spTgt spid="104"/>
                                        </p:tgtEl>
                                      </p:cBhvr>
                                    </p:animEffect>
                                  </p:childTnLst>
                                </p:cTn>
                              </p:par>
                              <p:par>
                                <p:cTn id="17" presetID="22" presetClass="entr" presetSubtype="1" fill="hold" nodeType="withEffect">
                                  <p:stCondLst>
                                    <p:cond delay="250"/>
                                  </p:stCondLst>
                                  <p:childTnLst>
                                    <p:set>
                                      <p:cBhvr>
                                        <p:cTn id="18" dur="1" fill="hold">
                                          <p:stCondLst>
                                            <p:cond delay="0"/>
                                          </p:stCondLst>
                                        </p:cTn>
                                        <p:tgtEl>
                                          <p:spTgt spid="98"/>
                                        </p:tgtEl>
                                        <p:attrNameLst>
                                          <p:attrName>style.visibility</p:attrName>
                                        </p:attrNameLst>
                                      </p:cBhvr>
                                      <p:to>
                                        <p:strVal val="visible"/>
                                      </p:to>
                                    </p:set>
                                    <p:animEffect transition="in" filter="wipe(up)">
                                      <p:cBhvr>
                                        <p:cTn id="19" dur="500"/>
                                        <p:tgtEl>
                                          <p:spTgt spid="9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2" fill="hold" nodeType="clickEffect">
                                  <p:stCondLst>
                                    <p:cond delay="0"/>
                                  </p:stCondLst>
                                  <p:childTnLst>
                                    <p:set>
                                      <p:cBhvr>
                                        <p:cTn id="23" dur="1" fill="hold">
                                          <p:stCondLst>
                                            <p:cond delay="0"/>
                                          </p:stCondLst>
                                        </p:cTn>
                                        <p:tgtEl>
                                          <p:spTgt spid="102"/>
                                        </p:tgtEl>
                                        <p:attrNameLst>
                                          <p:attrName>style.visibility</p:attrName>
                                        </p:attrNameLst>
                                      </p:cBhvr>
                                      <p:to>
                                        <p:strVal val="visible"/>
                                      </p:to>
                                    </p:set>
                                    <p:animEffect transition="in" filter="wipe(right)">
                                      <p:cBhvr>
                                        <p:cTn id="24" dur="500"/>
                                        <p:tgtEl>
                                          <p:spTgt spid="102"/>
                                        </p:tgtEl>
                                      </p:cBhvr>
                                    </p:animEffect>
                                  </p:childTnLst>
                                </p:cTn>
                              </p:par>
                              <p:par>
                                <p:cTn id="25" presetID="22" presetClass="exit" presetSubtype="2" fill="hold" nodeType="withEffect">
                                  <p:stCondLst>
                                    <p:cond delay="250"/>
                                  </p:stCondLst>
                                  <p:childTnLst>
                                    <p:animEffect transition="out" filter="wipe(right)">
                                      <p:cBhvr>
                                        <p:cTn id="26" dur="500"/>
                                        <p:tgtEl>
                                          <p:spTgt spid="98"/>
                                        </p:tgtEl>
                                      </p:cBhvr>
                                    </p:animEffect>
                                    <p:set>
                                      <p:cBhvr>
                                        <p:cTn id="27" dur="1" fill="hold">
                                          <p:stCondLst>
                                            <p:cond delay="499"/>
                                          </p:stCondLst>
                                        </p:cTn>
                                        <p:tgtEl>
                                          <p:spTgt spid="98"/>
                                        </p:tgtEl>
                                        <p:attrNameLst>
                                          <p:attrName>style.visibility</p:attrName>
                                        </p:attrNameLst>
                                      </p:cBhvr>
                                      <p:to>
                                        <p:strVal val="hidden"/>
                                      </p:to>
                                    </p:set>
                                  </p:childTnLst>
                                </p:cTn>
                              </p:par>
                              <p:par>
                                <p:cTn id="28" presetID="10" presetClass="exit" presetSubtype="0" fill="hold" nodeType="withEffect">
                                  <p:stCondLst>
                                    <p:cond delay="250"/>
                                  </p:stCondLst>
                                  <p:childTnLst>
                                    <p:animEffect transition="out" filter="fade">
                                      <p:cBhvr>
                                        <p:cTn id="29" dur="500"/>
                                        <p:tgtEl>
                                          <p:spTgt spid="105"/>
                                        </p:tgtEl>
                                      </p:cBhvr>
                                    </p:animEffect>
                                    <p:set>
                                      <p:cBhvr>
                                        <p:cTn id="30" dur="1" fill="hold">
                                          <p:stCondLst>
                                            <p:cond delay="499"/>
                                          </p:stCondLst>
                                        </p:cTn>
                                        <p:tgtEl>
                                          <p:spTgt spid="105"/>
                                        </p:tgtEl>
                                        <p:attrNameLst>
                                          <p:attrName>style.visibility</p:attrName>
                                        </p:attrNameLst>
                                      </p:cBhvr>
                                      <p:to>
                                        <p:strVal val="hidden"/>
                                      </p:to>
                                    </p:set>
                                  </p:childTnLst>
                                </p:cTn>
                              </p:par>
                            </p:childTnLst>
                          </p:cTn>
                        </p:par>
                        <p:par>
                          <p:cTn id="31" fill="hold">
                            <p:stCondLst>
                              <p:cond delay="750"/>
                            </p:stCondLst>
                            <p:childTnLst>
                              <p:par>
                                <p:cTn id="32" presetID="22" presetClass="exit" presetSubtype="2" fill="hold" nodeType="afterEffect">
                                  <p:stCondLst>
                                    <p:cond delay="0"/>
                                  </p:stCondLst>
                                  <p:childTnLst>
                                    <p:animEffect transition="out" filter="wipe(right)">
                                      <p:cBhvr>
                                        <p:cTn id="33" dur="500"/>
                                        <p:tgtEl>
                                          <p:spTgt spid="104"/>
                                        </p:tgtEl>
                                      </p:cBhvr>
                                    </p:animEffect>
                                    <p:set>
                                      <p:cBhvr>
                                        <p:cTn id="34" dur="1" fill="hold">
                                          <p:stCondLst>
                                            <p:cond delay="499"/>
                                          </p:stCondLst>
                                        </p:cTn>
                                        <p:tgtEl>
                                          <p:spTgt spid="104"/>
                                        </p:tgtEl>
                                        <p:attrNameLst>
                                          <p:attrName>style.visibility</p:attrName>
                                        </p:attrNameLst>
                                      </p:cBhvr>
                                      <p:to>
                                        <p:strVal val="hidden"/>
                                      </p:to>
                                    </p:set>
                                  </p:childTnLst>
                                </p:cTn>
                              </p:par>
                              <p:par>
                                <p:cTn id="35" presetID="22" presetClass="entr" presetSubtype="2" fill="hold" nodeType="withEffect">
                                  <p:stCondLst>
                                    <p:cond delay="0"/>
                                  </p:stCondLst>
                                  <p:childTnLst>
                                    <p:set>
                                      <p:cBhvr>
                                        <p:cTn id="36" dur="1" fill="hold">
                                          <p:stCondLst>
                                            <p:cond delay="0"/>
                                          </p:stCondLst>
                                        </p:cTn>
                                        <p:tgtEl>
                                          <p:spTgt spid="103"/>
                                        </p:tgtEl>
                                        <p:attrNameLst>
                                          <p:attrName>style.visibility</p:attrName>
                                        </p:attrNameLst>
                                      </p:cBhvr>
                                      <p:to>
                                        <p:strVal val="visible"/>
                                      </p:to>
                                    </p:set>
                                    <p:animEffect transition="in" filter="wipe(right)">
                                      <p:cBhvr>
                                        <p:cTn id="37" dur="500"/>
                                        <p:tgtEl>
                                          <p:spTgt spid="103"/>
                                        </p:tgtEl>
                                      </p:cBhvr>
                                    </p:animEffect>
                                  </p:childTnLst>
                                </p:cTn>
                              </p:par>
                              <p:par>
                                <p:cTn id="38" presetID="10" presetClass="entr" presetSubtype="0" fill="hold" nodeType="withEffect">
                                  <p:stCondLst>
                                    <p:cond delay="0"/>
                                  </p:stCondLst>
                                  <p:childTnLst>
                                    <p:set>
                                      <p:cBhvr>
                                        <p:cTn id="39" dur="1" fill="hold">
                                          <p:stCondLst>
                                            <p:cond delay="0"/>
                                          </p:stCondLst>
                                        </p:cTn>
                                        <p:tgtEl>
                                          <p:spTgt spid="79"/>
                                        </p:tgtEl>
                                        <p:attrNameLst>
                                          <p:attrName>style.visibility</p:attrName>
                                        </p:attrNameLst>
                                      </p:cBhvr>
                                      <p:to>
                                        <p:strVal val="visible"/>
                                      </p:to>
                                    </p:set>
                                    <p:animEffect transition="in" filter="fade">
                                      <p:cBhvr>
                                        <p:cTn id="40" dur="500"/>
                                        <p:tgtEl>
                                          <p:spTgt spid="79"/>
                                        </p:tgtEl>
                                      </p:cBhvr>
                                    </p:animEffect>
                                  </p:childTnLst>
                                </p:cTn>
                              </p:par>
                              <p:par>
                                <p:cTn id="41" presetID="10" presetClass="exit" presetSubtype="0" fill="hold" nodeType="withEffect">
                                  <p:stCondLst>
                                    <p:cond delay="0"/>
                                  </p:stCondLst>
                                  <p:childTnLst>
                                    <p:animEffect transition="out" filter="fade">
                                      <p:cBhvr>
                                        <p:cTn id="42" dur="500"/>
                                        <p:tgtEl>
                                          <p:spTgt spid="102"/>
                                        </p:tgtEl>
                                      </p:cBhvr>
                                    </p:animEffect>
                                    <p:set>
                                      <p:cBhvr>
                                        <p:cTn id="43" dur="1" fill="hold">
                                          <p:stCondLst>
                                            <p:cond delay="499"/>
                                          </p:stCondLst>
                                        </p:cTn>
                                        <p:tgtEl>
                                          <p:spTgt spid="102"/>
                                        </p:tgtEl>
                                        <p:attrNameLst>
                                          <p:attrName>style.visibility</p:attrName>
                                        </p:attrNameLst>
                                      </p:cBhvr>
                                      <p:to>
                                        <p:strVal val="hidden"/>
                                      </p:to>
                                    </p:se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grpId="0" nodeType="clickEffect">
                                  <p:stCondLst>
                                    <p:cond delay="0"/>
                                  </p:stCondLst>
                                  <p:childTnLst>
                                    <p:set>
                                      <p:cBhvr>
                                        <p:cTn id="47" dur="1" fill="hold">
                                          <p:stCondLst>
                                            <p:cond delay="0"/>
                                          </p:stCondLst>
                                        </p:cTn>
                                        <p:tgtEl>
                                          <p:spTgt spid="120">
                                            <p:graphicEl>
                                              <a:dgm id="{2EFB0852-C8C0-41EF-A670-4631E19D4666}"/>
                                            </p:graphicEl>
                                          </p:spTgt>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120">
                                            <p:graphicEl>
                                              <a:dgm id="{8DCDF152-3662-49F3-979F-AC2B108F8F75}"/>
                                            </p:graphicEl>
                                          </p:spTgt>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120">
                                            <p:graphicEl>
                                              <a:dgm id="{4FF0E93A-EE92-4877-BDD5-2C9A329F8D4C}"/>
                                            </p:graphicEl>
                                          </p:spTgt>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grpId="0" nodeType="clickEffect">
                                  <p:stCondLst>
                                    <p:cond delay="0"/>
                                  </p:stCondLst>
                                  <p:childTnLst>
                                    <p:set>
                                      <p:cBhvr>
                                        <p:cTn id="59" dur="1" fill="hold">
                                          <p:stCondLst>
                                            <p:cond delay="0"/>
                                          </p:stCondLst>
                                        </p:cTn>
                                        <p:tgtEl>
                                          <p:spTgt spid="120">
                                            <p:graphicEl>
                                              <a:dgm id="{45C8ECF9-B0D8-444C-AA2A-8938EBFE0562}"/>
                                            </p:graphicEl>
                                          </p:spTgt>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grpId="0" nodeType="clickEffect">
                                  <p:stCondLst>
                                    <p:cond delay="0"/>
                                  </p:stCondLst>
                                  <p:childTnLst>
                                    <p:set>
                                      <p:cBhvr>
                                        <p:cTn id="63" dur="1" fill="hold">
                                          <p:stCondLst>
                                            <p:cond delay="0"/>
                                          </p:stCondLst>
                                        </p:cTn>
                                        <p:tgtEl>
                                          <p:spTgt spid="120">
                                            <p:graphicEl>
                                              <a:dgm id="{249B9357-27B7-48FA-9693-A4E8A251272B}"/>
                                            </p:graphicEl>
                                          </p:spTgt>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grpId="0" nodeType="clickEffect">
                                  <p:stCondLst>
                                    <p:cond delay="0"/>
                                  </p:stCondLst>
                                  <p:childTnLst>
                                    <p:set>
                                      <p:cBhvr>
                                        <p:cTn id="67" dur="1" fill="hold">
                                          <p:stCondLst>
                                            <p:cond delay="0"/>
                                          </p:stCondLst>
                                        </p:cTn>
                                        <p:tgtEl>
                                          <p:spTgt spid="120">
                                            <p:graphicEl>
                                              <a:dgm id="{DF3F32AA-A900-43D6-B269-510E87493361}"/>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0" grpId="0">
        <p:bldSub>
          <a:bldDgm bld="one"/>
        </p:bldSub>
      </p:bldGraphic>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FC0B2-9A20-0742-AD60-AE4810D5C3EB}"/>
              </a:ext>
            </a:extLst>
          </p:cNvPr>
          <p:cNvSpPr>
            <a:spLocks noGrp="1"/>
          </p:cNvSpPr>
          <p:nvPr>
            <p:ph type="title"/>
          </p:nvPr>
        </p:nvSpPr>
        <p:spPr>
          <a:xfrm>
            <a:off x="588263" y="457200"/>
            <a:ext cx="11018520" cy="553998"/>
          </a:xfrm>
        </p:spPr>
        <p:txBody>
          <a:bodyPr/>
          <a:lstStyle/>
          <a:p>
            <a:r>
              <a:rPr lang="en-US" spc="-51">
                <a:solidFill>
                  <a:srgbClr val="000000"/>
                </a:solidFill>
              </a:rPr>
              <a:t>Active geo-replication vs auto-failover groups</a:t>
            </a:r>
            <a:endParaRPr lang="en-US"/>
          </a:p>
        </p:txBody>
      </p:sp>
      <p:graphicFrame>
        <p:nvGraphicFramePr>
          <p:cNvPr id="5" name="Table 6">
            <a:extLst>
              <a:ext uri="{FF2B5EF4-FFF2-40B4-BE49-F238E27FC236}">
                <a16:creationId xmlns:a16="http://schemas.microsoft.com/office/drawing/2014/main" id="{D99B9DEF-6CBD-4024-AC33-4B0DFE02775F}"/>
              </a:ext>
            </a:extLst>
          </p:cNvPr>
          <p:cNvGraphicFramePr>
            <a:graphicFrameLocks noGrp="1"/>
          </p:cNvGraphicFramePr>
          <p:nvPr>
            <p:extLst>
              <p:ext uri="{D42A27DB-BD31-4B8C-83A1-F6EECF244321}">
                <p14:modId xmlns:p14="http://schemas.microsoft.com/office/powerpoint/2010/main" val="2886326777"/>
              </p:ext>
            </p:extLst>
          </p:nvPr>
        </p:nvGraphicFramePr>
        <p:xfrm>
          <a:off x="1241136" y="1530002"/>
          <a:ext cx="9709727" cy="4226534"/>
        </p:xfrm>
        <a:graphic>
          <a:graphicData uri="http://schemas.openxmlformats.org/drawingml/2006/table">
            <a:tbl>
              <a:tblPr firstRow="1" bandRow="1">
                <a:tableStyleId>{9DCAF9ED-07DC-4A11-8D7F-57B35C25682E}</a:tableStyleId>
              </a:tblPr>
              <a:tblGrid>
                <a:gridCol w="4435764">
                  <a:extLst>
                    <a:ext uri="{9D8B030D-6E8A-4147-A177-3AD203B41FA5}">
                      <a16:colId xmlns:a16="http://schemas.microsoft.com/office/drawing/2014/main" val="922719815"/>
                    </a:ext>
                  </a:extLst>
                </a:gridCol>
                <a:gridCol w="2305050">
                  <a:extLst>
                    <a:ext uri="{9D8B030D-6E8A-4147-A177-3AD203B41FA5}">
                      <a16:colId xmlns:a16="http://schemas.microsoft.com/office/drawing/2014/main" val="2323727097"/>
                    </a:ext>
                  </a:extLst>
                </a:gridCol>
                <a:gridCol w="2968913">
                  <a:extLst>
                    <a:ext uri="{9D8B030D-6E8A-4147-A177-3AD203B41FA5}">
                      <a16:colId xmlns:a16="http://schemas.microsoft.com/office/drawing/2014/main" val="1599690250"/>
                    </a:ext>
                  </a:extLst>
                </a:gridCol>
              </a:tblGrid>
              <a:tr h="503642">
                <a:tc>
                  <a:txBody>
                    <a:bodyPr/>
                    <a:lstStyle/>
                    <a:p>
                      <a:endParaRPr lang="en-US" sz="2000" b="0" dirty="0">
                        <a:solidFill>
                          <a:schemeClr val="bg1"/>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b="0" dirty="0">
                          <a:solidFill>
                            <a:schemeClr val="bg1"/>
                          </a:solidFill>
                        </a:rPr>
                        <a:t>Geo-replication</a:t>
                      </a:r>
                    </a:p>
                    <a:p>
                      <a:pPr algn="ctr"/>
                      <a:r>
                        <a:rPr lang="en-US" sz="2000" b="0" dirty="0">
                          <a:solidFill>
                            <a:schemeClr val="bg1"/>
                          </a:solidFill>
                        </a:rPr>
                        <a:t>(Database)</a:t>
                      </a:r>
                      <a:endParaRPr lang="en-US" sz="2000" b="0" dirty="0">
                        <a:solidFill>
                          <a:schemeClr val="bg1"/>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b="0" dirty="0">
                          <a:solidFill>
                            <a:schemeClr val="bg1"/>
                          </a:solidFill>
                        </a:rPr>
                        <a:t>Auto-failover groups (Server)</a:t>
                      </a:r>
                      <a:endParaRPr lang="en-US" sz="2000" b="0" dirty="0">
                        <a:solidFill>
                          <a:schemeClr val="bg1"/>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7072008"/>
                  </a:ext>
                </a:extLst>
              </a:tr>
              <a:tr h="503642">
                <a:tc>
                  <a:txBody>
                    <a:bodyPr/>
                    <a:lstStyle/>
                    <a:p>
                      <a:r>
                        <a:rPr lang="en-US" sz="1600"/>
                        <a:t>Automatic failo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solidFill>
                            <a:schemeClr val="accent1"/>
                          </a:solidFill>
                        </a:rPr>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81232239"/>
                  </a:ext>
                </a:extLst>
              </a:tr>
              <a:tr h="503642">
                <a:tc>
                  <a:txBody>
                    <a:bodyPr/>
                    <a:lstStyle/>
                    <a:p>
                      <a:r>
                        <a:rPr lang="en-US" sz="1600"/>
                        <a:t>Fail over multiple databases simultaneous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solidFill>
                            <a:schemeClr val="accent1"/>
                          </a:solidFill>
                        </a:rPr>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21628128"/>
                  </a:ext>
                </a:extLst>
              </a:tr>
              <a:tr h="503642">
                <a:tc>
                  <a:txBody>
                    <a:bodyPr/>
                    <a:lstStyle/>
                    <a:p>
                      <a:r>
                        <a:rPr lang="en-US" sz="1600"/>
                        <a:t>Update connection string after failo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solidFill>
                            <a:schemeClr val="accent1"/>
                          </a:solidFill>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02745651"/>
                  </a:ext>
                </a:extLst>
              </a:tr>
              <a:tr h="503642">
                <a:tc>
                  <a:txBody>
                    <a:bodyPr/>
                    <a:lstStyle/>
                    <a:p>
                      <a:r>
                        <a:rPr lang="en-US" sz="1600"/>
                        <a:t>Managed instance suppor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solidFill>
                            <a:schemeClr val="accent1"/>
                          </a:solidFill>
                        </a:rPr>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77569258"/>
                  </a:ext>
                </a:extLst>
              </a:tr>
              <a:tr h="503642">
                <a:tc>
                  <a:txBody>
                    <a:bodyPr/>
                    <a:lstStyle/>
                    <a:p>
                      <a:r>
                        <a:rPr lang="en-US" sz="1600"/>
                        <a:t>Can be in same region as prima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solidFill>
                            <a:schemeClr val="accent1"/>
                          </a:solidFill>
                        </a:rPr>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21388472"/>
                  </a:ext>
                </a:extLst>
              </a:tr>
              <a:tr h="503642">
                <a:tc>
                  <a:txBody>
                    <a:bodyPr/>
                    <a:lstStyle/>
                    <a:p>
                      <a:r>
                        <a:rPr lang="en-US" sz="1600"/>
                        <a:t>Multiple replica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solidFill>
                            <a:schemeClr val="accent1"/>
                          </a:solidFill>
                        </a:rPr>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4118322"/>
                  </a:ext>
                </a:extLst>
              </a:tr>
              <a:tr h="503642">
                <a:tc>
                  <a:txBody>
                    <a:bodyPr/>
                    <a:lstStyle/>
                    <a:p>
                      <a:r>
                        <a:rPr lang="en-US" sz="1600"/>
                        <a:t>Supports read-sca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solidFill>
                            <a:schemeClr val="accent1"/>
                          </a:solidFill>
                        </a:rPr>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solidFill>
                            <a:schemeClr val="accent1"/>
                          </a:solidFill>
                        </a:rPr>
                        <a:t>Y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49103147"/>
                  </a:ext>
                </a:extLst>
              </a:tr>
            </a:tbl>
          </a:graphicData>
        </a:graphic>
      </p:graphicFrame>
    </p:spTree>
    <p:extLst>
      <p:ext uri="{BB962C8B-B14F-4D97-AF65-F5344CB8AC3E}">
        <p14:creationId xmlns:p14="http://schemas.microsoft.com/office/powerpoint/2010/main" val="9648599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8800" kern="0" dirty="0">
              <a:gradFill>
                <a:gsLst>
                  <a:gs pos="0">
                    <a:srgbClr val="FFFFFF"/>
                  </a:gs>
                  <a:gs pos="100000">
                    <a:srgbClr val="FFFFFF"/>
                  </a:gs>
                </a:gsLst>
                <a:lin ang="5400000" scaled="0"/>
              </a:gradFill>
              <a:ea typeface="Segoe UI" pitchFamily="34" charset="0"/>
              <a:cs typeface="Segoe UI" pitchFamily="34" charset="0"/>
            </a:endParaRPr>
          </a:p>
          <a:p>
            <a:pPr algn="ctr" defTabSz="969953" fontAlgn="base">
              <a:lnSpc>
                <a:spcPct val="90000"/>
              </a:lnSpc>
              <a:spcBef>
                <a:spcPct val="0"/>
              </a:spcBef>
              <a:spcAft>
                <a:spcPct val="0"/>
              </a:spcAft>
              <a:defRPr/>
            </a:pPr>
            <a:r>
              <a:rPr lang="en-US" sz="8800" kern="0" dirty="0">
                <a:solidFill>
                  <a:schemeClr val="accent4">
                    <a:lumMod val="75000"/>
                  </a:schemeClr>
                </a:solidFill>
                <a:ea typeface="Segoe UI" pitchFamily="34" charset="0"/>
                <a:cs typeface="Segoe UI" pitchFamily="34" charset="0"/>
              </a:rPr>
              <a:t>Demo Time</a:t>
            </a:r>
          </a:p>
        </p:txBody>
      </p:sp>
    </p:spTree>
    <p:extLst>
      <p:ext uri="{BB962C8B-B14F-4D97-AF65-F5344CB8AC3E}">
        <p14:creationId xmlns:p14="http://schemas.microsoft.com/office/powerpoint/2010/main" val="13009298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8800" kern="0" dirty="0">
              <a:gradFill>
                <a:gsLst>
                  <a:gs pos="0">
                    <a:srgbClr val="FFFFFF"/>
                  </a:gs>
                  <a:gs pos="100000">
                    <a:srgbClr val="FFFFFF"/>
                  </a:gs>
                </a:gsLst>
                <a:lin ang="5400000" scaled="0"/>
              </a:gradFill>
              <a:ea typeface="Segoe UI" pitchFamily="34" charset="0"/>
              <a:cs typeface="Segoe UI" pitchFamily="34" charset="0"/>
            </a:endParaRPr>
          </a:p>
          <a:p>
            <a:pPr algn="ctr" defTabSz="969953" fontAlgn="base">
              <a:lnSpc>
                <a:spcPct val="90000"/>
              </a:lnSpc>
              <a:spcBef>
                <a:spcPct val="0"/>
              </a:spcBef>
              <a:spcAft>
                <a:spcPct val="0"/>
              </a:spcAft>
              <a:defRPr/>
            </a:pPr>
            <a:r>
              <a:rPr lang="en-US" sz="8800" kern="0" dirty="0">
                <a:solidFill>
                  <a:schemeClr val="accent4">
                    <a:lumMod val="75000"/>
                  </a:schemeClr>
                </a:solidFill>
                <a:ea typeface="Segoe UI" pitchFamily="34" charset="0"/>
                <a:cs typeface="Segoe UI" pitchFamily="34" charset="0"/>
              </a:rPr>
              <a:t>Questions?</a:t>
            </a:r>
          </a:p>
        </p:txBody>
      </p:sp>
    </p:spTree>
    <p:extLst>
      <p:ext uri="{BB962C8B-B14F-4D97-AF65-F5344CB8AC3E}">
        <p14:creationId xmlns:p14="http://schemas.microsoft.com/office/powerpoint/2010/main" val="23732691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37B4494-DBBE-403A-BCB8-10BD3D001AE6}"/>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sz="4400" dirty="0">
                <a:solidFill>
                  <a:schemeClr val="tx1"/>
                </a:solidFill>
              </a:rPr>
              <a:t>What does this session cover?</a:t>
            </a:r>
          </a:p>
        </p:txBody>
      </p:sp>
      <p:graphicFrame>
        <p:nvGraphicFramePr>
          <p:cNvPr id="2" name="Diagram 1">
            <a:extLst>
              <a:ext uri="{FF2B5EF4-FFF2-40B4-BE49-F238E27FC236}">
                <a16:creationId xmlns:a16="http://schemas.microsoft.com/office/drawing/2014/main" id="{15845F8F-E666-4C81-8545-9803D889234C}"/>
              </a:ext>
            </a:extLst>
          </p:cNvPr>
          <p:cNvGraphicFramePr/>
          <p:nvPr>
            <p:extLst>
              <p:ext uri="{D42A27DB-BD31-4B8C-83A1-F6EECF244321}">
                <p14:modId xmlns:p14="http://schemas.microsoft.com/office/powerpoint/2010/main" val="1658260376"/>
              </p:ext>
            </p:extLst>
          </p:nvPr>
        </p:nvGraphicFramePr>
        <p:xfrm>
          <a:off x="531495" y="897255"/>
          <a:ext cx="10710291" cy="53263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6307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680640" y="2679724"/>
            <a:ext cx="4344412" cy="1329595"/>
          </a:xfrm>
        </p:spPr>
        <p:txBody>
          <a:bodyPr/>
          <a:lstStyle/>
          <a:p>
            <a:pPr algn="ctr"/>
            <a:r>
              <a:rPr lang="en-US" dirty="0"/>
              <a:t>What is </a:t>
            </a:r>
            <a:br>
              <a:rPr lang="en-US" dirty="0"/>
            </a:br>
            <a:r>
              <a:rPr lang="en-US" dirty="0"/>
              <a:t>Business Continuity in Azure SQL?</a:t>
            </a:r>
          </a:p>
        </p:txBody>
      </p:sp>
    </p:spTree>
    <p:extLst>
      <p:ext uri="{BB962C8B-B14F-4D97-AF65-F5344CB8AC3E}">
        <p14:creationId xmlns:p14="http://schemas.microsoft.com/office/powerpoint/2010/main" val="4278349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619610D-2CB2-78AC-6EEC-F3CC3B69DB0D}"/>
              </a:ext>
            </a:extLst>
          </p:cNvPr>
          <p:cNvSpPr/>
          <p:nvPr/>
        </p:nvSpPr>
        <p:spPr bwMode="auto">
          <a:xfrm>
            <a:off x="246538" y="721353"/>
            <a:ext cx="11245312" cy="4653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31640" rtl="0" eaLnBrk="1" fontAlgn="base" latinLnBrk="0" hangingPunct="1">
              <a:lnSpc>
                <a:spcPct val="100000"/>
              </a:lnSpc>
              <a:spcBef>
                <a:spcPct val="0"/>
              </a:spcBef>
              <a:spcAft>
                <a:spcPct val="0"/>
              </a:spcAft>
              <a:buClrTx/>
              <a:buSzTx/>
              <a:buFontTx/>
              <a:buNone/>
              <a:tabLst/>
              <a:defRPr/>
            </a:pPr>
            <a:r>
              <a:rPr kumimoji="0" lang="en-US" sz="1729" b="0" i="0" u="none" strike="noStrike" kern="1200" cap="none" spc="0" normalizeH="0" baseline="0" noProof="0" dirty="0">
                <a:ln>
                  <a:noFill/>
                </a:ln>
                <a:solidFill>
                  <a:srgbClr val="243A5E">
                    <a:lumMod val="50000"/>
                  </a:srgbClr>
                </a:solidFill>
                <a:effectLst/>
                <a:uLnTx/>
                <a:uFillTx/>
                <a:latin typeface="Segoe UI Semibold"/>
                <a:ea typeface="Segoe UI" pitchFamily="34" charset="0"/>
                <a:cs typeface="Segoe UI" pitchFamily="34" charset="0"/>
              </a:rPr>
              <a:t>Mechanisms, Policies and Procedures that enable a business to continue operating in face of disruption. </a:t>
            </a:r>
          </a:p>
        </p:txBody>
      </p:sp>
      <p:grpSp>
        <p:nvGrpSpPr>
          <p:cNvPr id="29" name="Group 28">
            <a:extLst>
              <a:ext uri="{FF2B5EF4-FFF2-40B4-BE49-F238E27FC236}">
                <a16:creationId xmlns:a16="http://schemas.microsoft.com/office/drawing/2014/main" id="{D40A4575-23CE-3943-1ECD-714B73B0E578}"/>
              </a:ext>
            </a:extLst>
          </p:cNvPr>
          <p:cNvGrpSpPr/>
          <p:nvPr/>
        </p:nvGrpSpPr>
        <p:grpSpPr>
          <a:xfrm>
            <a:off x="3344403" y="1729489"/>
            <a:ext cx="2438807" cy="3609296"/>
            <a:chOff x="3344403" y="1729489"/>
            <a:chExt cx="2438807" cy="3609296"/>
          </a:xfrm>
        </p:grpSpPr>
        <p:sp>
          <p:nvSpPr>
            <p:cNvPr id="11" name="Rectangle 10">
              <a:extLst>
                <a:ext uri="{FF2B5EF4-FFF2-40B4-BE49-F238E27FC236}">
                  <a16:creationId xmlns:a16="http://schemas.microsoft.com/office/drawing/2014/main" id="{D2FA1AE4-EECB-9348-781D-A2ACFE4B7C4D}"/>
                </a:ext>
              </a:extLst>
            </p:cNvPr>
            <p:cNvSpPr/>
            <p:nvPr/>
          </p:nvSpPr>
          <p:spPr bwMode="auto">
            <a:xfrm>
              <a:off x="3366099" y="1729489"/>
              <a:ext cx="2417111" cy="3609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460CC284-3938-8C46-BC89-1651FF8010BC}"/>
                </a:ext>
              </a:extLst>
            </p:cNvPr>
            <p:cNvSpPr/>
            <p:nvPr/>
          </p:nvSpPr>
          <p:spPr>
            <a:xfrm>
              <a:off x="3344403" y="1816217"/>
              <a:ext cx="2417111" cy="384721"/>
            </a:xfrm>
            <a:prstGeom prst="rect">
              <a:avLst/>
            </a:prstGeom>
          </p:spPr>
          <p:txBody>
            <a:bodyPr wrap="square" lIns="93247" anchor="t">
              <a:spAutoFit/>
            </a:bodyPr>
            <a:lstStyle/>
            <a:p>
              <a:pPr marL="0" marR="0" lvl="0" indent="0" algn="ctr" defTabSz="932068" rtl="0" eaLnBrk="1" fontAlgn="base" latinLnBrk="0" hangingPunct="1">
                <a:lnSpc>
                  <a:spcPct val="95000"/>
                </a:lnSpc>
                <a:spcBef>
                  <a:spcPct val="0"/>
                </a:spcBef>
                <a:spcAft>
                  <a:spcPct val="0"/>
                </a:spcAft>
                <a:buClrTx/>
                <a:buSzTx/>
                <a:buFontTx/>
                <a:buNone/>
                <a:tabLst/>
                <a:defRPr/>
              </a:pPr>
              <a:r>
                <a:rPr kumimoji="0" lang="en-US" sz="2000" b="1" i="0" u="none" strike="noStrike" kern="0" cap="none" spc="0" normalizeH="0" baseline="0" noProof="0">
                  <a:ln>
                    <a:noFill/>
                  </a:ln>
                  <a:solidFill>
                    <a:srgbClr val="000000"/>
                  </a:solidFill>
                  <a:effectLst/>
                  <a:uLnTx/>
                  <a:uFillTx/>
                  <a:latin typeface="Segoe UI Semibold"/>
                  <a:ea typeface="+mn-ea"/>
                  <a:cs typeface="Segoe UI Semibold"/>
                </a:rPr>
                <a:t>Equipment Failures</a:t>
              </a:r>
              <a:endParaRPr kumimoji="0" lang="en-US" sz="2800" b="0" i="0" u="none" strike="noStrike" kern="0" cap="none" spc="0" normalizeH="0" baseline="0" noProof="0">
                <a:ln>
                  <a:noFill/>
                </a:ln>
                <a:solidFill>
                  <a:srgbClr val="000000"/>
                </a:solidFill>
                <a:effectLst/>
                <a:uLnTx/>
                <a:uFillTx/>
                <a:latin typeface="Segoe UI Semibold"/>
                <a:ea typeface="+mn-ea"/>
                <a:cs typeface="Segoe UI Semibold"/>
              </a:endParaRPr>
            </a:p>
          </p:txBody>
        </p:sp>
        <p:sp>
          <p:nvSpPr>
            <p:cNvPr id="13" name="Rectangle 12">
              <a:extLst>
                <a:ext uri="{FF2B5EF4-FFF2-40B4-BE49-F238E27FC236}">
                  <a16:creationId xmlns:a16="http://schemas.microsoft.com/office/drawing/2014/main" id="{3176A8CE-5827-08C9-2EE6-02D2E089EAE8}"/>
                </a:ext>
              </a:extLst>
            </p:cNvPr>
            <p:cNvSpPr/>
            <p:nvPr/>
          </p:nvSpPr>
          <p:spPr>
            <a:xfrm>
              <a:off x="3488143" y="4482867"/>
              <a:ext cx="2044159" cy="637382"/>
            </a:xfrm>
            <a:prstGeom prst="rect">
              <a:avLst/>
            </a:prstGeom>
          </p:spPr>
          <p:txBody>
            <a:bodyPr wrap="square" lIns="93247" tIns="46623" rIns="93247" bIns="46623" anchor="t">
              <a:spAutoFit/>
            </a:bodyPr>
            <a:lstStyle/>
            <a:p>
              <a:pPr marL="0" marR="0" lvl="0" indent="0" algn="ctr" defTabSz="932371"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Calibri" panose="020F0502020204030204"/>
                  <a:cs typeface="Calibri" panose="020F0502020204030204"/>
                </a:rPr>
                <a:t>Hardware or other equipment failures</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95C58C4F-67C3-F156-C11A-D89235DBF93D}"/>
                </a:ext>
              </a:extLst>
            </p:cNvPr>
            <p:cNvPicPr>
              <a:picLocks noChangeAspect="1"/>
            </p:cNvPicPr>
            <p:nvPr/>
          </p:nvPicPr>
          <p:blipFill>
            <a:blip r:embed="rId3"/>
            <a:stretch>
              <a:fillRect/>
            </a:stretch>
          </p:blipFill>
          <p:spPr>
            <a:xfrm>
              <a:off x="3592668" y="2620378"/>
              <a:ext cx="1932038" cy="1534884"/>
            </a:xfrm>
            <a:prstGeom prst="rect">
              <a:avLst/>
            </a:prstGeom>
            <a:effectLst>
              <a:outerShdw blurRad="50800" dist="38100" dir="2700000" algn="tl" rotWithShape="0">
                <a:prstClr val="black">
                  <a:alpha val="40000"/>
                </a:prstClr>
              </a:outerShdw>
            </a:effectLst>
          </p:spPr>
        </p:pic>
      </p:grpSp>
      <p:grpSp>
        <p:nvGrpSpPr>
          <p:cNvPr id="19" name="Group 18">
            <a:extLst>
              <a:ext uri="{FF2B5EF4-FFF2-40B4-BE49-F238E27FC236}">
                <a16:creationId xmlns:a16="http://schemas.microsoft.com/office/drawing/2014/main" id="{CE2F42BB-7C1A-E27A-05FF-9F2B2EBEFADC}"/>
              </a:ext>
            </a:extLst>
          </p:cNvPr>
          <p:cNvGrpSpPr/>
          <p:nvPr/>
        </p:nvGrpSpPr>
        <p:grpSpPr>
          <a:xfrm>
            <a:off x="6167838" y="1732028"/>
            <a:ext cx="2421223" cy="3609296"/>
            <a:chOff x="6167838" y="1732028"/>
            <a:chExt cx="2421223" cy="3609296"/>
          </a:xfrm>
        </p:grpSpPr>
        <p:sp>
          <p:nvSpPr>
            <p:cNvPr id="21" name="Rectangle 20">
              <a:extLst>
                <a:ext uri="{FF2B5EF4-FFF2-40B4-BE49-F238E27FC236}">
                  <a16:creationId xmlns:a16="http://schemas.microsoft.com/office/drawing/2014/main" id="{5A193794-0AC6-01E9-6951-B20377C06AC7}"/>
                </a:ext>
              </a:extLst>
            </p:cNvPr>
            <p:cNvSpPr/>
            <p:nvPr/>
          </p:nvSpPr>
          <p:spPr bwMode="auto">
            <a:xfrm>
              <a:off x="6171950" y="1732028"/>
              <a:ext cx="2417111" cy="3609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BC58A2E6-76F7-5C28-23D1-7C7BB218A2E9}"/>
                </a:ext>
              </a:extLst>
            </p:cNvPr>
            <p:cNvSpPr/>
            <p:nvPr/>
          </p:nvSpPr>
          <p:spPr>
            <a:xfrm>
              <a:off x="6263464" y="1809818"/>
              <a:ext cx="2202148" cy="384721"/>
            </a:xfrm>
            <a:prstGeom prst="rect">
              <a:avLst/>
            </a:prstGeom>
          </p:spPr>
          <p:txBody>
            <a:bodyPr wrap="square" lIns="93247" anchor="t">
              <a:spAutoFit/>
            </a:bodyPr>
            <a:lstStyle/>
            <a:p>
              <a:pPr marL="0" marR="0" lvl="0" indent="0" algn="ctr" defTabSz="932068" rtl="0" eaLnBrk="1" fontAlgn="base" latinLnBrk="0" hangingPunct="1">
                <a:lnSpc>
                  <a:spcPct val="95000"/>
                </a:lnSpc>
                <a:spcBef>
                  <a:spcPct val="0"/>
                </a:spcBef>
                <a:spcAft>
                  <a:spcPct val="0"/>
                </a:spcAft>
                <a:buClrTx/>
                <a:buSzTx/>
                <a:buFontTx/>
                <a:buNone/>
                <a:tabLst/>
                <a:defRPr/>
              </a:pPr>
              <a:r>
                <a:rPr kumimoji="0" lang="en-US" sz="2000" b="1" i="0" u="none" strike="noStrike" kern="0" cap="none" spc="0" normalizeH="0" baseline="0" noProof="0">
                  <a:ln>
                    <a:noFill/>
                  </a:ln>
                  <a:solidFill>
                    <a:srgbClr val="000000"/>
                  </a:solidFill>
                  <a:effectLst/>
                  <a:uLnTx/>
                  <a:uFillTx/>
                  <a:latin typeface="Segoe UI Semibold"/>
                  <a:ea typeface="+mn-ea"/>
                  <a:cs typeface="Segoe UI Semibold"/>
                </a:rPr>
                <a:t>Natural Disasters</a:t>
              </a:r>
              <a:endParaRPr kumimoji="0" lang="en-US" sz="2800" b="0" i="0" u="none" strike="noStrike" kern="0" cap="none" spc="0" normalizeH="0" baseline="0" noProof="0">
                <a:ln>
                  <a:noFill/>
                </a:ln>
                <a:solidFill>
                  <a:srgbClr val="000000"/>
                </a:solidFill>
                <a:effectLst/>
                <a:uLnTx/>
                <a:uFillTx/>
                <a:latin typeface="Segoe UI Semibold"/>
                <a:ea typeface="+mn-ea"/>
                <a:cs typeface="Segoe UI Semibold"/>
              </a:endParaRPr>
            </a:p>
          </p:txBody>
        </p:sp>
        <p:sp>
          <p:nvSpPr>
            <p:cNvPr id="23" name="Rectangle 22">
              <a:extLst>
                <a:ext uri="{FF2B5EF4-FFF2-40B4-BE49-F238E27FC236}">
                  <a16:creationId xmlns:a16="http://schemas.microsoft.com/office/drawing/2014/main" id="{991B530E-8F90-A270-97A3-36EE16B5BC45}"/>
                </a:ext>
              </a:extLst>
            </p:cNvPr>
            <p:cNvSpPr/>
            <p:nvPr/>
          </p:nvSpPr>
          <p:spPr>
            <a:xfrm>
              <a:off x="6167838" y="4401666"/>
              <a:ext cx="2417111" cy="925153"/>
            </a:xfrm>
            <a:prstGeom prst="rect">
              <a:avLst/>
            </a:prstGeom>
          </p:spPr>
          <p:txBody>
            <a:bodyPr wrap="square" lIns="93247" tIns="46623" rIns="93247" bIns="46623" anchor="t">
              <a:spAutoFit/>
            </a:bodyPr>
            <a:lstStyle/>
            <a:p>
              <a:pPr marL="0" marR="0" lvl="0" indent="0" algn="ctr" defTabSz="932371"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Calibri" panose="020F0502020204030204"/>
                  <a:cs typeface="Calibri" panose="020F0502020204030204"/>
                </a:rPr>
                <a:t>Flood, Hurricanes, Tornadoes, Earthquakes</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4" name="Picture 23">
              <a:extLst>
                <a:ext uri="{FF2B5EF4-FFF2-40B4-BE49-F238E27FC236}">
                  <a16:creationId xmlns:a16="http://schemas.microsoft.com/office/drawing/2014/main" id="{AB4879DD-639D-33D8-4F42-0D0219B7ECD8}"/>
                </a:ext>
              </a:extLst>
            </p:cNvPr>
            <p:cNvPicPr>
              <a:picLocks noChangeAspect="1"/>
            </p:cNvPicPr>
            <p:nvPr/>
          </p:nvPicPr>
          <p:blipFill>
            <a:blip r:embed="rId4"/>
            <a:stretch>
              <a:fillRect/>
            </a:stretch>
          </p:blipFill>
          <p:spPr>
            <a:xfrm>
              <a:off x="6378435" y="2621446"/>
              <a:ext cx="2004141" cy="1532748"/>
            </a:xfrm>
            <a:prstGeom prst="rect">
              <a:avLst/>
            </a:prstGeom>
            <a:effectLst>
              <a:outerShdw blurRad="50800" dist="38100" dir="8100000" algn="tr" rotWithShape="0">
                <a:prstClr val="black">
                  <a:alpha val="40000"/>
                </a:prstClr>
              </a:outerShdw>
            </a:effectLst>
          </p:spPr>
        </p:pic>
      </p:grpSp>
      <p:grpSp>
        <p:nvGrpSpPr>
          <p:cNvPr id="9" name="Group 8">
            <a:extLst>
              <a:ext uri="{FF2B5EF4-FFF2-40B4-BE49-F238E27FC236}">
                <a16:creationId xmlns:a16="http://schemas.microsoft.com/office/drawing/2014/main" id="{7733900A-5CAC-9CC1-0336-B603A9CD4DC3}"/>
              </a:ext>
            </a:extLst>
          </p:cNvPr>
          <p:cNvGrpSpPr/>
          <p:nvPr/>
        </p:nvGrpSpPr>
        <p:grpSpPr>
          <a:xfrm>
            <a:off x="8964723" y="1718221"/>
            <a:ext cx="2455410" cy="3609296"/>
            <a:chOff x="8964723" y="1718221"/>
            <a:chExt cx="2455410" cy="3609296"/>
          </a:xfrm>
        </p:grpSpPr>
        <p:sp>
          <p:nvSpPr>
            <p:cNvPr id="26" name="Rectangle 25">
              <a:extLst>
                <a:ext uri="{FF2B5EF4-FFF2-40B4-BE49-F238E27FC236}">
                  <a16:creationId xmlns:a16="http://schemas.microsoft.com/office/drawing/2014/main" id="{48479795-7FD0-9F0D-E90E-4B1DD9ED9D8D}"/>
                </a:ext>
              </a:extLst>
            </p:cNvPr>
            <p:cNvSpPr/>
            <p:nvPr/>
          </p:nvSpPr>
          <p:spPr bwMode="auto">
            <a:xfrm>
              <a:off x="8973689" y="1718221"/>
              <a:ext cx="2417111" cy="3609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73A5B998-C786-BDC7-F389-4C7DAB9805F7}"/>
                </a:ext>
              </a:extLst>
            </p:cNvPr>
            <p:cNvSpPr/>
            <p:nvPr/>
          </p:nvSpPr>
          <p:spPr>
            <a:xfrm>
              <a:off x="8964723" y="1821273"/>
              <a:ext cx="2455410" cy="384721"/>
            </a:xfrm>
            <a:prstGeom prst="rect">
              <a:avLst/>
            </a:prstGeom>
          </p:spPr>
          <p:txBody>
            <a:bodyPr wrap="square" lIns="93247" anchor="t">
              <a:spAutoFit/>
            </a:bodyPr>
            <a:lstStyle/>
            <a:p>
              <a:pPr marL="0" marR="0" lvl="0" indent="0" algn="ctr" defTabSz="932068" rtl="0" eaLnBrk="1" fontAlgn="base" latinLnBrk="0" hangingPunct="1">
                <a:lnSpc>
                  <a:spcPct val="95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000000"/>
                  </a:solidFill>
                  <a:effectLst/>
                  <a:uLnTx/>
                  <a:uFillTx/>
                  <a:latin typeface="Segoe UI Semibold"/>
                  <a:ea typeface="+mn-ea"/>
                  <a:cs typeface="Segoe UI Semibold"/>
                </a:rPr>
                <a:t>Manmade Disasters</a:t>
              </a:r>
              <a:endParaRPr kumimoji="0" lang="en-US" sz="2800" b="0" i="0" u="none" strike="noStrike" kern="0" cap="none" spc="0" normalizeH="0" baseline="0" noProof="0" dirty="0">
                <a:ln>
                  <a:noFill/>
                </a:ln>
                <a:solidFill>
                  <a:srgbClr val="000000"/>
                </a:solidFill>
                <a:effectLst/>
                <a:uLnTx/>
                <a:uFillTx/>
                <a:latin typeface="Segoe UI Semibold"/>
                <a:ea typeface="+mn-ea"/>
                <a:cs typeface="Segoe UI Semibold"/>
              </a:endParaRPr>
            </a:p>
          </p:txBody>
        </p:sp>
        <p:sp>
          <p:nvSpPr>
            <p:cNvPr id="28" name="Rectangle 27">
              <a:extLst>
                <a:ext uri="{FF2B5EF4-FFF2-40B4-BE49-F238E27FC236}">
                  <a16:creationId xmlns:a16="http://schemas.microsoft.com/office/drawing/2014/main" id="{752EFAEA-4E2F-FCA8-0CE4-7D98633A55C5}"/>
                </a:ext>
              </a:extLst>
            </p:cNvPr>
            <p:cNvSpPr/>
            <p:nvPr/>
          </p:nvSpPr>
          <p:spPr>
            <a:xfrm>
              <a:off x="8977801" y="4491832"/>
              <a:ext cx="2417111" cy="648154"/>
            </a:xfrm>
            <a:prstGeom prst="rect">
              <a:avLst/>
            </a:prstGeom>
          </p:spPr>
          <p:txBody>
            <a:bodyPr wrap="square" lIns="93247" tIns="46623" rIns="93247" bIns="46623" anchor="t">
              <a:spAutoFit/>
            </a:bodyPr>
            <a:lstStyle/>
            <a:p>
              <a:pPr marL="0" marR="0" lvl="0" indent="0" algn="ctr" defTabSz="932371"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Calibri" panose="020F0502020204030204"/>
                  <a:cs typeface="Calibri" panose="020F0502020204030204"/>
                </a:rPr>
                <a:t>Wars or major ecological accidents</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F8D97976-3690-31F9-5137-423D93B54204}"/>
                </a:ext>
              </a:extLst>
            </p:cNvPr>
            <p:cNvPicPr>
              <a:picLocks noChangeAspect="1"/>
            </p:cNvPicPr>
            <p:nvPr/>
          </p:nvPicPr>
          <p:blipFill>
            <a:blip r:embed="rId5"/>
            <a:stretch>
              <a:fillRect/>
            </a:stretch>
          </p:blipFill>
          <p:spPr>
            <a:xfrm>
              <a:off x="9199323" y="2651955"/>
              <a:ext cx="2004140" cy="1471730"/>
            </a:xfrm>
            <a:prstGeom prst="rect">
              <a:avLst/>
            </a:prstGeom>
            <a:effectLst>
              <a:outerShdw blurRad="50800" dist="38100" dir="8100000" algn="tr" rotWithShape="0">
                <a:prstClr val="black">
                  <a:alpha val="40000"/>
                </a:prstClr>
              </a:outerShdw>
            </a:effectLst>
          </p:spPr>
        </p:pic>
      </p:grpSp>
      <p:grpSp>
        <p:nvGrpSpPr>
          <p:cNvPr id="30" name="Group 29">
            <a:extLst>
              <a:ext uri="{FF2B5EF4-FFF2-40B4-BE49-F238E27FC236}">
                <a16:creationId xmlns:a16="http://schemas.microsoft.com/office/drawing/2014/main" id="{DF170C64-EAF3-E906-E71A-1B0BE7B08F79}"/>
              </a:ext>
            </a:extLst>
          </p:cNvPr>
          <p:cNvGrpSpPr/>
          <p:nvPr/>
        </p:nvGrpSpPr>
        <p:grpSpPr>
          <a:xfrm>
            <a:off x="579588" y="1717325"/>
            <a:ext cx="2417112" cy="3609296"/>
            <a:chOff x="579588" y="1717325"/>
            <a:chExt cx="2417112" cy="3609296"/>
          </a:xfrm>
        </p:grpSpPr>
        <p:sp>
          <p:nvSpPr>
            <p:cNvPr id="16" name="Rectangle 15">
              <a:extLst>
                <a:ext uri="{FF2B5EF4-FFF2-40B4-BE49-F238E27FC236}">
                  <a16:creationId xmlns:a16="http://schemas.microsoft.com/office/drawing/2014/main" id="{908E3990-047B-23D1-ADF8-A9DC77476D6F}"/>
                </a:ext>
              </a:extLst>
            </p:cNvPr>
            <p:cNvSpPr/>
            <p:nvPr/>
          </p:nvSpPr>
          <p:spPr bwMode="auto">
            <a:xfrm>
              <a:off x="579589" y="1717325"/>
              <a:ext cx="2417111" cy="3609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C6C2EF54-7811-1F90-A1E1-2AE83E336DDC}"/>
                </a:ext>
              </a:extLst>
            </p:cNvPr>
            <p:cNvSpPr/>
            <p:nvPr/>
          </p:nvSpPr>
          <p:spPr>
            <a:xfrm>
              <a:off x="671103" y="1804584"/>
              <a:ext cx="2202148" cy="384721"/>
            </a:xfrm>
            <a:prstGeom prst="rect">
              <a:avLst/>
            </a:prstGeom>
          </p:spPr>
          <p:txBody>
            <a:bodyPr wrap="square" lIns="93247" anchor="t">
              <a:spAutoFit/>
            </a:bodyPr>
            <a:lstStyle/>
            <a:p>
              <a:pPr marL="0" marR="0" lvl="0" indent="0" algn="ctr" defTabSz="932068" rtl="0" eaLnBrk="1" fontAlgn="base" latinLnBrk="0" hangingPunct="1">
                <a:lnSpc>
                  <a:spcPct val="95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000000"/>
                  </a:solidFill>
                  <a:effectLst/>
                  <a:uLnTx/>
                  <a:uFillTx/>
                  <a:latin typeface="Segoe UI Semibold"/>
                  <a:ea typeface="+mn-ea"/>
                  <a:cs typeface="Segoe UI Semibold"/>
                </a:rPr>
                <a:t>Customer Error</a:t>
              </a:r>
              <a:endParaRPr kumimoji="0" lang="en-US" sz="2800" b="0" i="0" u="none" strike="noStrike" kern="0" cap="none" spc="0" normalizeH="0" baseline="0" noProof="0" dirty="0">
                <a:ln>
                  <a:noFill/>
                </a:ln>
                <a:solidFill>
                  <a:srgbClr val="000000"/>
                </a:solidFill>
                <a:effectLst/>
                <a:uLnTx/>
                <a:uFillTx/>
                <a:latin typeface="Segoe UI Semibold"/>
                <a:ea typeface="+mn-ea"/>
                <a:cs typeface="Segoe UI Semibold"/>
              </a:endParaRPr>
            </a:p>
          </p:txBody>
        </p:sp>
        <p:sp>
          <p:nvSpPr>
            <p:cNvPr id="18" name="Rectangle 17">
              <a:extLst>
                <a:ext uri="{FF2B5EF4-FFF2-40B4-BE49-F238E27FC236}">
                  <a16:creationId xmlns:a16="http://schemas.microsoft.com/office/drawing/2014/main" id="{7C76F51F-A9E4-0D92-4484-2E297A0DFEF3}"/>
                </a:ext>
              </a:extLst>
            </p:cNvPr>
            <p:cNvSpPr/>
            <p:nvPr/>
          </p:nvSpPr>
          <p:spPr>
            <a:xfrm>
              <a:off x="579588" y="4479668"/>
              <a:ext cx="2397771" cy="648154"/>
            </a:xfrm>
            <a:prstGeom prst="rect">
              <a:avLst/>
            </a:prstGeom>
          </p:spPr>
          <p:txBody>
            <a:bodyPr wrap="square" lIns="93247" tIns="46623" rIns="93247" bIns="46623" anchor="t">
              <a:spAutoFit/>
            </a:bodyPr>
            <a:lstStyle/>
            <a:p>
              <a:pPr marL="0" marR="0" lvl="0" indent="0" algn="ctr" defTabSz="932371"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Calibri" panose="020F0502020204030204"/>
                  <a:cs typeface="Calibri" panose="020F0502020204030204"/>
                </a:rPr>
                <a:t>Customer deleted their data by mistake. </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A07D01AB-148C-F3A8-B389-555A79EE50DB}"/>
                </a:ext>
              </a:extLst>
            </p:cNvPr>
            <p:cNvPicPr>
              <a:picLocks noChangeAspect="1"/>
            </p:cNvPicPr>
            <p:nvPr/>
          </p:nvPicPr>
          <p:blipFill>
            <a:blip r:embed="rId6"/>
            <a:stretch>
              <a:fillRect/>
            </a:stretch>
          </p:blipFill>
          <p:spPr>
            <a:xfrm>
              <a:off x="761784" y="2675233"/>
              <a:ext cx="2093537" cy="1425174"/>
            </a:xfrm>
            <a:prstGeom prst="rect">
              <a:avLst/>
            </a:prstGeom>
          </p:spPr>
        </p:pic>
      </p:grpSp>
      <p:sp>
        <p:nvSpPr>
          <p:cNvPr id="2" name="Title 4">
            <a:extLst>
              <a:ext uri="{FF2B5EF4-FFF2-40B4-BE49-F238E27FC236}">
                <a16:creationId xmlns:a16="http://schemas.microsoft.com/office/drawing/2014/main" id="{AA6C6DF8-C072-103F-69C8-7A0DDBF032BF}"/>
              </a:ext>
            </a:extLst>
          </p:cNvPr>
          <p:cNvSpPr>
            <a:spLocks noGrp="1"/>
          </p:cNvSpPr>
          <p:nvPr>
            <p:ph type="title"/>
          </p:nvPr>
        </p:nvSpPr>
        <p:spPr>
          <a:xfrm>
            <a:off x="655638" y="320040"/>
            <a:ext cx="10880725" cy="461665"/>
          </a:xfrm>
        </p:spPr>
        <p:txBody>
          <a:bodyPr>
            <a:normAutofit/>
          </a:bodyPr>
          <a:lstStyle/>
          <a:p>
            <a:r>
              <a:rPr lang="en-US" b="1" dirty="0"/>
              <a:t>Business Continuity Problem</a:t>
            </a:r>
          </a:p>
        </p:txBody>
      </p:sp>
      <p:sp>
        <p:nvSpPr>
          <p:cNvPr id="6" name="Rectangle 5">
            <a:extLst>
              <a:ext uri="{FF2B5EF4-FFF2-40B4-BE49-F238E27FC236}">
                <a16:creationId xmlns:a16="http://schemas.microsoft.com/office/drawing/2014/main" id="{4C14D3E4-6E59-631D-C0E7-2395157E04A8}"/>
              </a:ext>
            </a:extLst>
          </p:cNvPr>
          <p:cNvSpPr/>
          <p:nvPr/>
        </p:nvSpPr>
        <p:spPr>
          <a:xfrm>
            <a:off x="3022248" y="1835100"/>
            <a:ext cx="6147503" cy="3187800"/>
          </a:xfrm>
          <a:prstGeom prst="rect">
            <a:avLst/>
          </a:prstGeom>
          <a:noFill/>
          <a:ln>
            <a:noFill/>
          </a:ln>
          <a:effectLst/>
        </p:spPr>
        <p:txBody>
          <a:bodyPr/>
          <a:lstStyle/>
          <a:p>
            <a:endParaRPr lang="en-US"/>
          </a:p>
        </p:txBody>
      </p:sp>
    </p:spTree>
    <p:extLst>
      <p:ext uri="{BB962C8B-B14F-4D97-AF65-F5344CB8AC3E}">
        <p14:creationId xmlns:p14="http://schemas.microsoft.com/office/powerpoint/2010/main" val="23361988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AA6C6DF8-C072-103F-69C8-7A0DDBF032BF}"/>
              </a:ext>
            </a:extLst>
          </p:cNvPr>
          <p:cNvSpPr>
            <a:spLocks noGrp="1"/>
          </p:cNvSpPr>
          <p:nvPr>
            <p:ph type="title"/>
          </p:nvPr>
        </p:nvSpPr>
        <p:spPr>
          <a:xfrm>
            <a:off x="655638" y="320040"/>
            <a:ext cx="10880725" cy="461665"/>
          </a:xfrm>
        </p:spPr>
        <p:txBody>
          <a:bodyPr>
            <a:normAutofit/>
          </a:bodyPr>
          <a:lstStyle/>
          <a:p>
            <a:r>
              <a:rPr lang="en-US" b="1" dirty="0"/>
              <a:t>Availability vs High Availability vs Disaster Recovery</a:t>
            </a:r>
          </a:p>
        </p:txBody>
      </p:sp>
      <p:graphicFrame>
        <p:nvGraphicFramePr>
          <p:cNvPr id="10" name="Diagram 9">
            <a:extLst>
              <a:ext uri="{FF2B5EF4-FFF2-40B4-BE49-F238E27FC236}">
                <a16:creationId xmlns:a16="http://schemas.microsoft.com/office/drawing/2014/main" id="{B7B5E517-E2E0-FB23-BA07-462D5B92E89A}"/>
              </a:ext>
            </a:extLst>
          </p:cNvPr>
          <p:cNvGraphicFramePr/>
          <p:nvPr>
            <p:extLst>
              <p:ext uri="{D42A27DB-BD31-4B8C-83A1-F6EECF244321}">
                <p14:modId xmlns:p14="http://schemas.microsoft.com/office/powerpoint/2010/main" val="3913391942"/>
              </p:ext>
            </p:extLst>
          </p:nvPr>
        </p:nvGraphicFramePr>
        <p:xfrm>
          <a:off x="399809" y="1111343"/>
          <a:ext cx="11392381" cy="50859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4251878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680640" y="3122922"/>
            <a:ext cx="4344412" cy="886397"/>
          </a:xfrm>
        </p:spPr>
        <p:txBody>
          <a:bodyPr/>
          <a:lstStyle/>
          <a:p>
            <a:pPr algn="ctr"/>
            <a:r>
              <a:rPr lang="en-US" dirty="0"/>
              <a:t>Automated Backups in Azure SQL</a:t>
            </a:r>
          </a:p>
        </p:txBody>
      </p:sp>
    </p:spTree>
    <p:extLst>
      <p:ext uri="{BB962C8B-B14F-4D97-AF65-F5344CB8AC3E}">
        <p14:creationId xmlns:p14="http://schemas.microsoft.com/office/powerpoint/2010/main" val="686109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Freeform 182">
            <a:extLst>
              <a:ext uri="{FF2B5EF4-FFF2-40B4-BE49-F238E27FC236}">
                <a16:creationId xmlns:a16="http://schemas.microsoft.com/office/drawing/2014/main" id="{71A82E15-E179-D54C-9A14-C361C4569026}"/>
              </a:ext>
            </a:extLst>
          </p:cNvPr>
          <p:cNvSpPr/>
          <p:nvPr/>
        </p:nvSpPr>
        <p:spPr bwMode="auto">
          <a:xfrm>
            <a:off x="7402789" y="3872896"/>
            <a:ext cx="527991" cy="67717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74320" rIns="0" bIns="91440"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DB1</a:t>
            </a:r>
          </a:p>
        </p:txBody>
      </p:sp>
      <p:grpSp>
        <p:nvGrpSpPr>
          <p:cNvPr id="67" name="Group 66">
            <a:extLst>
              <a:ext uri="{FF2B5EF4-FFF2-40B4-BE49-F238E27FC236}">
                <a16:creationId xmlns:a16="http://schemas.microsoft.com/office/drawing/2014/main" id="{50BD8A4F-E612-7740-8CBA-539AE04AE9DC}"/>
              </a:ext>
            </a:extLst>
          </p:cNvPr>
          <p:cNvGrpSpPr/>
          <p:nvPr/>
        </p:nvGrpSpPr>
        <p:grpSpPr>
          <a:xfrm rot="16200000">
            <a:off x="7497367" y="2574370"/>
            <a:ext cx="415605" cy="527991"/>
            <a:chOff x="10698247" y="2486025"/>
            <a:chExt cx="452353" cy="574676"/>
          </a:xfrm>
        </p:grpSpPr>
        <p:sp>
          <p:nvSpPr>
            <p:cNvPr id="68" name="Freeform 149">
              <a:extLst>
                <a:ext uri="{FF2B5EF4-FFF2-40B4-BE49-F238E27FC236}">
                  <a16:creationId xmlns:a16="http://schemas.microsoft.com/office/drawing/2014/main" id="{0E29D59D-9E9A-A547-A4A8-DAB61E077714}"/>
                </a:ext>
              </a:extLst>
            </p:cNvPr>
            <p:cNvSpPr/>
            <p:nvPr/>
          </p:nvSpPr>
          <p:spPr bwMode="auto">
            <a:xfrm>
              <a:off x="10706100" y="2486025"/>
              <a:ext cx="444500" cy="495300"/>
            </a:xfrm>
            <a:custGeom>
              <a:avLst/>
              <a:gdLst>
                <a:gd name="connsiteX0" fmla="*/ 0 w 425450"/>
                <a:gd name="connsiteY0" fmla="*/ 0 h 495300"/>
                <a:gd name="connsiteX1" fmla="*/ 381000 w 425450"/>
                <a:gd name="connsiteY1" fmla="*/ 0 h 495300"/>
                <a:gd name="connsiteX2" fmla="*/ 381000 w 425450"/>
                <a:gd name="connsiteY2" fmla="*/ 231775 h 495300"/>
                <a:gd name="connsiteX3" fmla="*/ 422275 w 425450"/>
                <a:gd name="connsiteY3" fmla="*/ 266700 h 495300"/>
                <a:gd name="connsiteX4" fmla="*/ 425450 w 425450"/>
                <a:gd name="connsiteY4" fmla="*/ 419100 h 495300"/>
                <a:gd name="connsiteX5" fmla="*/ 377825 w 425450"/>
                <a:gd name="connsiteY5" fmla="*/ 450850 h 495300"/>
                <a:gd name="connsiteX6" fmla="*/ 377825 w 425450"/>
                <a:gd name="connsiteY6" fmla="*/ 495300 h 495300"/>
                <a:gd name="connsiteX7" fmla="*/ 285750 w 425450"/>
                <a:gd name="connsiteY7" fmla="*/ 495300 h 495300"/>
                <a:gd name="connsiteX0" fmla="*/ 0 w 444500"/>
                <a:gd name="connsiteY0" fmla="*/ 3175 h 495300"/>
                <a:gd name="connsiteX1" fmla="*/ 400050 w 444500"/>
                <a:gd name="connsiteY1" fmla="*/ 0 h 495300"/>
                <a:gd name="connsiteX2" fmla="*/ 400050 w 444500"/>
                <a:gd name="connsiteY2" fmla="*/ 231775 h 495300"/>
                <a:gd name="connsiteX3" fmla="*/ 441325 w 444500"/>
                <a:gd name="connsiteY3" fmla="*/ 266700 h 495300"/>
                <a:gd name="connsiteX4" fmla="*/ 444500 w 444500"/>
                <a:gd name="connsiteY4" fmla="*/ 419100 h 495300"/>
                <a:gd name="connsiteX5" fmla="*/ 396875 w 444500"/>
                <a:gd name="connsiteY5" fmla="*/ 450850 h 495300"/>
                <a:gd name="connsiteX6" fmla="*/ 396875 w 444500"/>
                <a:gd name="connsiteY6" fmla="*/ 495300 h 495300"/>
                <a:gd name="connsiteX7" fmla="*/ 304800 w 44450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500" h="495300">
                  <a:moveTo>
                    <a:pt x="0" y="3175"/>
                  </a:moveTo>
                  <a:lnTo>
                    <a:pt x="400050" y="0"/>
                  </a:lnTo>
                  <a:lnTo>
                    <a:pt x="400050" y="231775"/>
                  </a:lnTo>
                  <a:lnTo>
                    <a:pt x="441325" y="266700"/>
                  </a:lnTo>
                  <a:cubicBezTo>
                    <a:pt x="442383" y="317500"/>
                    <a:pt x="443442" y="368300"/>
                    <a:pt x="444500" y="419100"/>
                  </a:cubicBezTo>
                  <a:lnTo>
                    <a:pt x="396875" y="450850"/>
                  </a:lnTo>
                  <a:lnTo>
                    <a:pt x="396875" y="495300"/>
                  </a:lnTo>
                  <a:lnTo>
                    <a:pt x="304800" y="495300"/>
                  </a:lnTo>
                </a:path>
              </a:pathLst>
            </a:custGeom>
            <a:solidFill>
              <a:schemeClr val="tx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69" name="Rectangle 3">
              <a:extLst>
                <a:ext uri="{FF2B5EF4-FFF2-40B4-BE49-F238E27FC236}">
                  <a16:creationId xmlns:a16="http://schemas.microsoft.com/office/drawing/2014/main" id="{225AD86D-3FA9-1744-ADD2-F95F03770008}"/>
                </a:ext>
              </a:extLst>
            </p:cNvPr>
            <p:cNvSpPr/>
            <p:nvPr/>
          </p:nvSpPr>
          <p:spPr bwMode="auto">
            <a:xfrm>
              <a:off x="10698247" y="2486025"/>
              <a:ext cx="355436" cy="574676"/>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E7A43639-DE7C-4921-961B-F41105624850}"/>
              </a:ext>
            </a:extLst>
          </p:cNvPr>
          <p:cNvSpPr>
            <a:spLocks noGrp="1"/>
          </p:cNvSpPr>
          <p:nvPr>
            <p:ph type="title"/>
          </p:nvPr>
        </p:nvSpPr>
        <p:spPr>
          <a:xfrm>
            <a:off x="569091" y="203679"/>
            <a:ext cx="11018520" cy="553998"/>
          </a:xfrm>
        </p:spPr>
        <p:txBody>
          <a:bodyPr/>
          <a:lstStyle/>
          <a:p>
            <a:r>
              <a:rPr lang="en-US" dirty="0"/>
              <a:t>Backup and restore </a:t>
            </a:r>
          </a:p>
        </p:txBody>
      </p:sp>
      <p:graphicFrame>
        <p:nvGraphicFramePr>
          <p:cNvPr id="9" name="Diagram 8">
            <a:extLst>
              <a:ext uri="{FF2B5EF4-FFF2-40B4-BE49-F238E27FC236}">
                <a16:creationId xmlns:a16="http://schemas.microsoft.com/office/drawing/2014/main" id="{A21E0282-DECB-C0F3-B50A-8F090722D432}"/>
              </a:ext>
            </a:extLst>
          </p:cNvPr>
          <p:cNvGraphicFramePr/>
          <p:nvPr>
            <p:extLst>
              <p:ext uri="{D42A27DB-BD31-4B8C-83A1-F6EECF244321}">
                <p14:modId xmlns:p14="http://schemas.microsoft.com/office/powerpoint/2010/main" val="3771230214"/>
              </p:ext>
            </p:extLst>
          </p:nvPr>
        </p:nvGraphicFramePr>
        <p:xfrm>
          <a:off x="499119" y="1035586"/>
          <a:ext cx="6147503" cy="47868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0B9F64BD-E087-446F-BC82-6A380782D9BE}"/>
              </a:ext>
            </a:extLst>
          </p:cNvPr>
          <p:cNvSpPr txBox="1"/>
          <p:nvPr/>
        </p:nvSpPr>
        <p:spPr>
          <a:xfrm>
            <a:off x="10434817" y="3198392"/>
            <a:ext cx="1281729" cy="400110"/>
          </a:xfrm>
          <a:prstGeom prst="rect">
            <a:avLst/>
          </a:prstGeom>
          <a:noFill/>
        </p:spPr>
        <p:txBody>
          <a:bodyPr wrap="square" rtlCol="0">
            <a:spAutoFit/>
          </a:bodyPr>
          <a:lstStyle/>
          <a:p>
            <a:pPr marL="0" marR="0" lvl="0" indent="0" algn="l" defTabSz="91453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elf-service restore to a point in time</a:t>
            </a:r>
          </a:p>
        </p:txBody>
      </p:sp>
      <p:sp>
        <p:nvSpPr>
          <p:cNvPr id="5" name="TextBox 4">
            <a:extLst>
              <a:ext uri="{FF2B5EF4-FFF2-40B4-BE49-F238E27FC236}">
                <a16:creationId xmlns:a16="http://schemas.microsoft.com/office/drawing/2014/main" id="{918C83A3-2F6B-40CA-BE85-878F9642C84F}"/>
              </a:ext>
            </a:extLst>
          </p:cNvPr>
          <p:cNvSpPr txBox="1"/>
          <p:nvPr/>
        </p:nvSpPr>
        <p:spPr>
          <a:xfrm>
            <a:off x="6919109" y="1633678"/>
            <a:ext cx="4186223" cy="307777"/>
          </a:xfrm>
          <a:prstGeom prst="rect">
            <a:avLst/>
          </a:prstGeom>
          <a:noFill/>
        </p:spPr>
        <p:txBody>
          <a:bodyPr wrap="square" rtlCol="0">
            <a:spAutoFit/>
          </a:bodyPr>
          <a:lstStyle/>
          <a:p>
            <a:pPr marL="0" marR="0" lvl="0" indent="0" algn="ctr" defTabSz="914532"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Backups retained for 7/35 days</a:t>
            </a:r>
          </a:p>
        </p:txBody>
      </p:sp>
      <p:sp>
        <p:nvSpPr>
          <p:cNvPr id="6" name="Rectangle 5">
            <a:extLst>
              <a:ext uri="{FF2B5EF4-FFF2-40B4-BE49-F238E27FC236}">
                <a16:creationId xmlns:a16="http://schemas.microsoft.com/office/drawing/2014/main" id="{250AF5B0-EDB6-4B75-94CF-FD800219E93A}"/>
              </a:ext>
            </a:extLst>
          </p:cNvPr>
          <p:cNvSpPr/>
          <p:nvPr/>
        </p:nvSpPr>
        <p:spPr>
          <a:xfrm>
            <a:off x="6802157" y="2230028"/>
            <a:ext cx="484427" cy="246221"/>
          </a:xfrm>
          <a:prstGeom prst="rect">
            <a:avLst/>
          </a:prstGeom>
          <a:ln w="9525">
            <a:noFill/>
          </a:ln>
        </p:spPr>
        <p:txBody>
          <a:bodyPr wrap="none">
            <a:spAutoFit/>
          </a:bodyPr>
          <a:lstStyle/>
          <a:p>
            <a:pPr marL="0" marR="0" lvl="0" indent="0" algn="ctr" defTabSz="91453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Now </a:t>
            </a:r>
          </a:p>
        </p:txBody>
      </p:sp>
      <p:sp>
        <p:nvSpPr>
          <p:cNvPr id="7" name="Rectangle 6">
            <a:extLst>
              <a:ext uri="{FF2B5EF4-FFF2-40B4-BE49-F238E27FC236}">
                <a16:creationId xmlns:a16="http://schemas.microsoft.com/office/drawing/2014/main" id="{6BFF1DFF-E842-4B02-B855-71F16C410054}"/>
              </a:ext>
            </a:extLst>
          </p:cNvPr>
          <p:cNvSpPr/>
          <p:nvPr/>
        </p:nvSpPr>
        <p:spPr>
          <a:xfrm>
            <a:off x="10816292" y="2230028"/>
            <a:ext cx="598241" cy="246221"/>
          </a:xfrm>
          <a:prstGeom prst="rect">
            <a:avLst/>
          </a:prstGeom>
          <a:ln w="9525">
            <a:noFill/>
          </a:ln>
        </p:spPr>
        <p:txBody>
          <a:bodyPr wrap="none">
            <a:spAutoFit/>
          </a:bodyPr>
          <a:lstStyle/>
          <a:p>
            <a:pPr marL="0" marR="0" lvl="0" indent="0" algn="ctr" defTabSz="91453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7 days</a:t>
            </a:r>
          </a:p>
        </p:txBody>
      </p:sp>
      <p:sp>
        <p:nvSpPr>
          <p:cNvPr id="8" name="Right Arrow 18">
            <a:extLst>
              <a:ext uri="{FF2B5EF4-FFF2-40B4-BE49-F238E27FC236}">
                <a16:creationId xmlns:a16="http://schemas.microsoft.com/office/drawing/2014/main" id="{93E0C158-5A4C-44F2-8672-CCA5B9F92094}"/>
              </a:ext>
            </a:extLst>
          </p:cNvPr>
          <p:cNvSpPr/>
          <p:nvPr/>
        </p:nvSpPr>
        <p:spPr>
          <a:xfrm>
            <a:off x="8818843" y="2090095"/>
            <a:ext cx="460382" cy="246221"/>
          </a:xfrm>
          <a:prstGeom prst="rect">
            <a:avLst/>
          </a:prstGeom>
          <a:ln w="9525">
            <a:noFill/>
          </a:ln>
        </p:spPr>
        <p:txBody>
          <a:bodyPr wrap="none">
            <a:spAutoFit/>
          </a:bodyPr>
          <a:lstStyle/>
          <a:p>
            <a:pPr marL="0" marR="0" lvl="0" indent="0" algn="ctr" defTabSz="91453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Time</a:t>
            </a:r>
          </a:p>
        </p:txBody>
      </p:sp>
      <p:cxnSp>
        <p:nvCxnSpPr>
          <p:cNvPr id="25" name="Straight Arrow Connector 24">
            <a:extLst>
              <a:ext uri="{FF2B5EF4-FFF2-40B4-BE49-F238E27FC236}">
                <a16:creationId xmlns:a16="http://schemas.microsoft.com/office/drawing/2014/main" id="{A1540817-4A1B-4C8F-B1F1-18B9941A5AA9}"/>
              </a:ext>
            </a:extLst>
          </p:cNvPr>
          <p:cNvCxnSpPr/>
          <p:nvPr/>
        </p:nvCxnSpPr>
        <p:spPr>
          <a:xfrm>
            <a:off x="7301812" y="2360832"/>
            <a:ext cx="3494443" cy="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E9354178-902B-43CB-A7E8-FDFA773D4D0F}"/>
              </a:ext>
            </a:extLst>
          </p:cNvPr>
          <p:cNvGrpSpPr/>
          <p:nvPr/>
        </p:nvGrpSpPr>
        <p:grpSpPr>
          <a:xfrm rot="8100000">
            <a:off x="7601585" y="2788182"/>
            <a:ext cx="185795" cy="232956"/>
            <a:chOff x="13906501" y="3886200"/>
            <a:chExt cx="619125" cy="776287"/>
          </a:xfrm>
        </p:grpSpPr>
        <p:sp>
          <p:nvSpPr>
            <p:cNvPr id="27" name="Freeform 17">
              <a:extLst>
                <a:ext uri="{FF2B5EF4-FFF2-40B4-BE49-F238E27FC236}">
                  <a16:creationId xmlns:a16="http://schemas.microsoft.com/office/drawing/2014/main" id="{6C30B9D4-E232-4E54-BAB7-CFA225A35CA6}"/>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61"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28" name="Freeform 18">
              <a:extLst>
                <a:ext uri="{FF2B5EF4-FFF2-40B4-BE49-F238E27FC236}">
                  <a16:creationId xmlns:a16="http://schemas.microsoft.com/office/drawing/2014/main" id="{7ED906D3-EF1D-403C-8350-C64268693FC2}"/>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61"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29" name="Line 19">
              <a:extLst>
                <a:ext uri="{FF2B5EF4-FFF2-40B4-BE49-F238E27FC236}">
                  <a16:creationId xmlns:a16="http://schemas.microsoft.com/office/drawing/2014/main" id="{47CD4B37-FCE0-41E4-9620-756BF7859C67}"/>
                </a:ext>
              </a:extLst>
            </p:cNvPr>
            <p:cNvSpPr>
              <a:spLocks noChangeShapeType="1"/>
            </p:cNvSpPr>
            <p:nvPr/>
          </p:nvSpPr>
          <p:spPr bwMode="auto">
            <a:xfrm>
              <a:off x="14216063" y="4221163"/>
              <a:ext cx="0" cy="0"/>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61"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0" name="Freeform 20">
              <a:extLst>
                <a:ext uri="{FF2B5EF4-FFF2-40B4-BE49-F238E27FC236}">
                  <a16:creationId xmlns:a16="http://schemas.microsoft.com/office/drawing/2014/main" id="{08AF281E-F04B-40E4-9DF1-D8CB6943607C}"/>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61"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1" name="Line 21">
              <a:extLst>
                <a:ext uri="{FF2B5EF4-FFF2-40B4-BE49-F238E27FC236}">
                  <a16:creationId xmlns:a16="http://schemas.microsoft.com/office/drawing/2014/main" id="{E3BFBC7D-AC4F-46B2-82F5-14C338DF4F6A}"/>
                </a:ext>
              </a:extLst>
            </p:cNvPr>
            <p:cNvSpPr>
              <a:spLocks noChangeShapeType="1"/>
            </p:cNvSpPr>
            <p:nvPr/>
          </p:nvSpPr>
          <p:spPr bwMode="auto">
            <a:xfrm>
              <a:off x="14216063" y="3967163"/>
              <a:ext cx="38100" cy="0"/>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61"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2" name="Freeform 22">
              <a:extLst>
                <a:ext uri="{FF2B5EF4-FFF2-40B4-BE49-F238E27FC236}">
                  <a16:creationId xmlns:a16="http://schemas.microsoft.com/office/drawing/2014/main" id="{82E3A4F8-9C2A-489A-8ED3-8EDDFABF46DB}"/>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1661"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33" name="Line 23">
              <a:extLst>
                <a:ext uri="{FF2B5EF4-FFF2-40B4-BE49-F238E27FC236}">
                  <a16:creationId xmlns:a16="http://schemas.microsoft.com/office/drawing/2014/main" id="{D0EE54A0-67EC-447B-85BF-3CE2D2711699}"/>
                </a:ext>
              </a:extLst>
            </p:cNvPr>
            <p:cNvSpPr>
              <a:spLocks noChangeShapeType="1"/>
            </p:cNvSpPr>
            <p:nvPr/>
          </p:nvSpPr>
          <p:spPr bwMode="auto">
            <a:xfrm flipH="1">
              <a:off x="14177963" y="4581525"/>
              <a:ext cx="38100" cy="0"/>
            </a:xfrm>
            <a:prstGeom prst="line">
              <a:avLst/>
            </a:prstGeom>
            <a:noFill/>
            <a:ln w="1270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1661"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sp>
        <p:nvSpPr>
          <p:cNvPr id="36" name="Multiplication Sign 35">
            <a:extLst>
              <a:ext uri="{FF2B5EF4-FFF2-40B4-BE49-F238E27FC236}">
                <a16:creationId xmlns:a16="http://schemas.microsoft.com/office/drawing/2014/main" id="{6C5212DD-D549-46EA-88D4-9BB7C494A6BC}"/>
              </a:ext>
            </a:extLst>
          </p:cNvPr>
          <p:cNvSpPr/>
          <p:nvPr/>
        </p:nvSpPr>
        <p:spPr bwMode="auto">
          <a:xfrm>
            <a:off x="7091719" y="3613890"/>
            <a:ext cx="1155983" cy="1155983"/>
          </a:xfrm>
          <a:prstGeom prst="mathMultiply">
            <a:avLst>
              <a:gd name="adj1" fmla="val 2525"/>
            </a:avLst>
          </a:prstGeom>
          <a:solidFill>
            <a:srgbClr val="DC3C00"/>
          </a:solidFill>
          <a:ln w="12700">
            <a:solidFill>
              <a:schemeClr val="bg1">
                <a:lumMod val="9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37" name="Straight Arrow Connector 36">
            <a:extLst>
              <a:ext uri="{FF2B5EF4-FFF2-40B4-BE49-F238E27FC236}">
                <a16:creationId xmlns:a16="http://schemas.microsoft.com/office/drawing/2014/main" id="{F79A96B4-F2BA-4F90-801D-DE8C725D1A1A}"/>
              </a:ext>
            </a:extLst>
          </p:cNvPr>
          <p:cNvCxnSpPr/>
          <p:nvPr/>
        </p:nvCxnSpPr>
        <p:spPr>
          <a:xfrm flipV="1">
            <a:off x="7681655" y="3138781"/>
            <a:ext cx="0" cy="581891"/>
          </a:xfrm>
          <a:prstGeom prst="straightConnector1">
            <a:avLst/>
          </a:prstGeom>
          <a:ln w="12700">
            <a:solidFill>
              <a:srgbClr val="DC3C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D31707D1-2745-41B5-B285-8285ABA929D6}"/>
              </a:ext>
            </a:extLst>
          </p:cNvPr>
          <p:cNvCxnSpPr/>
          <p:nvPr/>
        </p:nvCxnSpPr>
        <p:spPr>
          <a:xfrm>
            <a:off x="10420283" y="3138781"/>
            <a:ext cx="0" cy="581891"/>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FB71622C-9790-F748-99DE-36FD44BEA4C2}"/>
              </a:ext>
            </a:extLst>
          </p:cNvPr>
          <p:cNvGrpSpPr/>
          <p:nvPr/>
        </p:nvGrpSpPr>
        <p:grpSpPr>
          <a:xfrm rot="16200000">
            <a:off x="8180627" y="2574370"/>
            <a:ext cx="415605" cy="527991"/>
            <a:chOff x="10698247" y="2486025"/>
            <a:chExt cx="452353" cy="574676"/>
          </a:xfrm>
        </p:grpSpPr>
        <p:sp>
          <p:nvSpPr>
            <p:cNvPr id="56" name="Freeform 149">
              <a:extLst>
                <a:ext uri="{FF2B5EF4-FFF2-40B4-BE49-F238E27FC236}">
                  <a16:creationId xmlns:a16="http://schemas.microsoft.com/office/drawing/2014/main" id="{236CCF08-839A-8A4E-AB98-85B352EB3791}"/>
                </a:ext>
              </a:extLst>
            </p:cNvPr>
            <p:cNvSpPr/>
            <p:nvPr/>
          </p:nvSpPr>
          <p:spPr bwMode="auto">
            <a:xfrm>
              <a:off x="10706100" y="2486025"/>
              <a:ext cx="444500" cy="495300"/>
            </a:xfrm>
            <a:custGeom>
              <a:avLst/>
              <a:gdLst>
                <a:gd name="connsiteX0" fmla="*/ 0 w 425450"/>
                <a:gd name="connsiteY0" fmla="*/ 0 h 495300"/>
                <a:gd name="connsiteX1" fmla="*/ 381000 w 425450"/>
                <a:gd name="connsiteY1" fmla="*/ 0 h 495300"/>
                <a:gd name="connsiteX2" fmla="*/ 381000 w 425450"/>
                <a:gd name="connsiteY2" fmla="*/ 231775 h 495300"/>
                <a:gd name="connsiteX3" fmla="*/ 422275 w 425450"/>
                <a:gd name="connsiteY3" fmla="*/ 266700 h 495300"/>
                <a:gd name="connsiteX4" fmla="*/ 425450 w 425450"/>
                <a:gd name="connsiteY4" fmla="*/ 419100 h 495300"/>
                <a:gd name="connsiteX5" fmla="*/ 377825 w 425450"/>
                <a:gd name="connsiteY5" fmla="*/ 450850 h 495300"/>
                <a:gd name="connsiteX6" fmla="*/ 377825 w 425450"/>
                <a:gd name="connsiteY6" fmla="*/ 495300 h 495300"/>
                <a:gd name="connsiteX7" fmla="*/ 285750 w 425450"/>
                <a:gd name="connsiteY7" fmla="*/ 495300 h 495300"/>
                <a:gd name="connsiteX0" fmla="*/ 0 w 444500"/>
                <a:gd name="connsiteY0" fmla="*/ 3175 h 495300"/>
                <a:gd name="connsiteX1" fmla="*/ 400050 w 444500"/>
                <a:gd name="connsiteY1" fmla="*/ 0 h 495300"/>
                <a:gd name="connsiteX2" fmla="*/ 400050 w 444500"/>
                <a:gd name="connsiteY2" fmla="*/ 231775 h 495300"/>
                <a:gd name="connsiteX3" fmla="*/ 441325 w 444500"/>
                <a:gd name="connsiteY3" fmla="*/ 266700 h 495300"/>
                <a:gd name="connsiteX4" fmla="*/ 444500 w 444500"/>
                <a:gd name="connsiteY4" fmla="*/ 419100 h 495300"/>
                <a:gd name="connsiteX5" fmla="*/ 396875 w 444500"/>
                <a:gd name="connsiteY5" fmla="*/ 450850 h 495300"/>
                <a:gd name="connsiteX6" fmla="*/ 396875 w 444500"/>
                <a:gd name="connsiteY6" fmla="*/ 495300 h 495300"/>
                <a:gd name="connsiteX7" fmla="*/ 304800 w 44450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500" h="495300">
                  <a:moveTo>
                    <a:pt x="0" y="3175"/>
                  </a:moveTo>
                  <a:lnTo>
                    <a:pt x="400050" y="0"/>
                  </a:lnTo>
                  <a:lnTo>
                    <a:pt x="400050" y="231775"/>
                  </a:lnTo>
                  <a:lnTo>
                    <a:pt x="441325" y="266700"/>
                  </a:lnTo>
                  <a:cubicBezTo>
                    <a:pt x="442383" y="317500"/>
                    <a:pt x="443442" y="368300"/>
                    <a:pt x="444500" y="419100"/>
                  </a:cubicBezTo>
                  <a:lnTo>
                    <a:pt x="396875" y="450850"/>
                  </a:lnTo>
                  <a:lnTo>
                    <a:pt x="396875" y="495300"/>
                  </a:lnTo>
                  <a:lnTo>
                    <a:pt x="304800" y="495300"/>
                  </a:lnTo>
                </a:path>
              </a:pathLst>
            </a:custGeom>
            <a:solidFill>
              <a:schemeClr val="tx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57" name="Rectangle 3">
              <a:extLst>
                <a:ext uri="{FF2B5EF4-FFF2-40B4-BE49-F238E27FC236}">
                  <a16:creationId xmlns:a16="http://schemas.microsoft.com/office/drawing/2014/main" id="{CC812F29-FD81-3641-AC8A-C85C2637B9AE}"/>
                </a:ext>
              </a:extLst>
            </p:cNvPr>
            <p:cNvSpPr/>
            <p:nvPr/>
          </p:nvSpPr>
          <p:spPr bwMode="auto">
            <a:xfrm>
              <a:off x="10698247" y="2486025"/>
              <a:ext cx="355436" cy="574676"/>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8" name="Group 57">
            <a:extLst>
              <a:ext uri="{FF2B5EF4-FFF2-40B4-BE49-F238E27FC236}">
                <a16:creationId xmlns:a16="http://schemas.microsoft.com/office/drawing/2014/main" id="{6D78F62F-760D-474A-AEC7-695681AC5EC8}"/>
              </a:ext>
            </a:extLst>
          </p:cNvPr>
          <p:cNvGrpSpPr/>
          <p:nvPr/>
        </p:nvGrpSpPr>
        <p:grpSpPr>
          <a:xfrm rot="16200000">
            <a:off x="8863887" y="2574370"/>
            <a:ext cx="415605" cy="527991"/>
            <a:chOff x="10698247" y="2486025"/>
            <a:chExt cx="452353" cy="574676"/>
          </a:xfrm>
        </p:grpSpPr>
        <p:sp>
          <p:nvSpPr>
            <p:cNvPr id="59" name="Freeform 149">
              <a:extLst>
                <a:ext uri="{FF2B5EF4-FFF2-40B4-BE49-F238E27FC236}">
                  <a16:creationId xmlns:a16="http://schemas.microsoft.com/office/drawing/2014/main" id="{755853A5-209D-AA44-A5E8-26EFAA2B1C37}"/>
                </a:ext>
              </a:extLst>
            </p:cNvPr>
            <p:cNvSpPr/>
            <p:nvPr/>
          </p:nvSpPr>
          <p:spPr bwMode="auto">
            <a:xfrm>
              <a:off x="10706100" y="2486025"/>
              <a:ext cx="444500" cy="495300"/>
            </a:xfrm>
            <a:custGeom>
              <a:avLst/>
              <a:gdLst>
                <a:gd name="connsiteX0" fmla="*/ 0 w 425450"/>
                <a:gd name="connsiteY0" fmla="*/ 0 h 495300"/>
                <a:gd name="connsiteX1" fmla="*/ 381000 w 425450"/>
                <a:gd name="connsiteY1" fmla="*/ 0 h 495300"/>
                <a:gd name="connsiteX2" fmla="*/ 381000 w 425450"/>
                <a:gd name="connsiteY2" fmla="*/ 231775 h 495300"/>
                <a:gd name="connsiteX3" fmla="*/ 422275 w 425450"/>
                <a:gd name="connsiteY3" fmla="*/ 266700 h 495300"/>
                <a:gd name="connsiteX4" fmla="*/ 425450 w 425450"/>
                <a:gd name="connsiteY4" fmla="*/ 419100 h 495300"/>
                <a:gd name="connsiteX5" fmla="*/ 377825 w 425450"/>
                <a:gd name="connsiteY5" fmla="*/ 450850 h 495300"/>
                <a:gd name="connsiteX6" fmla="*/ 377825 w 425450"/>
                <a:gd name="connsiteY6" fmla="*/ 495300 h 495300"/>
                <a:gd name="connsiteX7" fmla="*/ 285750 w 425450"/>
                <a:gd name="connsiteY7" fmla="*/ 495300 h 495300"/>
                <a:gd name="connsiteX0" fmla="*/ 0 w 444500"/>
                <a:gd name="connsiteY0" fmla="*/ 3175 h 495300"/>
                <a:gd name="connsiteX1" fmla="*/ 400050 w 444500"/>
                <a:gd name="connsiteY1" fmla="*/ 0 h 495300"/>
                <a:gd name="connsiteX2" fmla="*/ 400050 w 444500"/>
                <a:gd name="connsiteY2" fmla="*/ 231775 h 495300"/>
                <a:gd name="connsiteX3" fmla="*/ 441325 w 444500"/>
                <a:gd name="connsiteY3" fmla="*/ 266700 h 495300"/>
                <a:gd name="connsiteX4" fmla="*/ 444500 w 444500"/>
                <a:gd name="connsiteY4" fmla="*/ 419100 h 495300"/>
                <a:gd name="connsiteX5" fmla="*/ 396875 w 444500"/>
                <a:gd name="connsiteY5" fmla="*/ 450850 h 495300"/>
                <a:gd name="connsiteX6" fmla="*/ 396875 w 444500"/>
                <a:gd name="connsiteY6" fmla="*/ 495300 h 495300"/>
                <a:gd name="connsiteX7" fmla="*/ 304800 w 44450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500" h="495300">
                  <a:moveTo>
                    <a:pt x="0" y="3175"/>
                  </a:moveTo>
                  <a:lnTo>
                    <a:pt x="400050" y="0"/>
                  </a:lnTo>
                  <a:lnTo>
                    <a:pt x="400050" y="231775"/>
                  </a:lnTo>
                  <a:lnTo>
                    <a:pt x="441325" y="266700"/>
                  </a:lnTo>
                  <a:cubicBezTo>
                    <a:pt x="442383" y="317500"/>
                    <a:pt x="443442" y="368300"/>
                    <a:pt x="444500" y="419100"/>
                  </a:cubicBezTo>
                  <a:lnTo>
                    <a:pt x="396875" y="450850"/>
                  </a:lnTo>
                  <a:lnTo>
                    <a:pt x="396875" y="495300"/>
                  </a:lnTo>
                  <a:lnTo>
                    <a:pt x="304800" y="495300"/>
                  </a:lnTo>
                </a:path>
              </a:pathLst>
            </a:custGeom>
            <a:solidFill>
              <a:schemeClr val="tx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60" name="Rectangle 3">
              <a:extLst>
                <a:ext uri="{FF2B5EF4-FFF2-40B4-BE49-F238E27FC236}">
                  <a16:creationId xmlns:a16="http://schemas.microsoft.com/office/drawing/2014/main" id="{C9D04F5F-2CD3-F24B-BE27-45176EB121D8}"/>
                </a:ext>
              </a:extLst>
            </p:cNvPr>
            <p:cNvSpPr/>
            <p:nvPr/>
          </p:nvSpPr>
          <p:spPr bwMode="auto">
            <a:xfrm>
              <a:off x="10698247" y="2486025"/>
              <a:ext cx="355436" cy="574676"/>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1" name="Group 60">
            <a:extLst>
              <a:ext uri="{FF2B5EF4-FFF2-40B4-BE49-F238E27FC236}">
                <a16:creationId xmlns:a16="http://schemas.microsoft.com/office/drawing/2014/main" id="{8AA3CB28-1BC2-674D-82E1-E05A03D8632D}"/>
              </a:ext>
            </a:extLst>
          </p:cNvPr>
          <p:cNvGrpSpPr/>
          <p:nvPr/>
        </p:nvGrpSpPr>
        <p:grpSpPr>
          <a:xfrm rot="16200000">
            <a:off x="9547147" y="2574370"/>
            <a:ext cx="415605" cy="527991"/>
            <a:chOff x="10698247" y="2486025"/>
            <a:chExt cx="452353" cy="574676"/>
          </a:xfrm>
        </p:grpSpPr>
        <p:sp>
          <p:nvSpPr>
            <p:cNvPr id="62" name="Freeform 149">
              <a:extLst>
                <a:ext uri="{FF2B5EF4-FFF2-40B4-BE49-F238E27FC236}">
                  <a16:creationId xmlns:a16="http://schemas.microsoft.com/office/drawing/2014/main" id="{B6D333ED-2489-C24A-AD82-1ECD783823AE}"/>
                </a:ext>
              </a:extLst>
            </p:cNvPr>
            <p:cNvSpPr/>
            <p:nvPr/>
          </p:nvSpPr>
          <p:spPr bwMode="auto">
            <a:xfrm>
              <a:off x="10706100" y="2486025"/>
              <a:ext cx="444500" cy="495300"/>
            </a:xfrm>
            <a:custGeom>
              <a:avLst/>
              <a:gdLst>
                <a:gd name="connsiteX0" fmla="*/ 0 w 425450"/>
                <a:gd name="connsiteY0" fmla="*/ 0 h 495300"/>
                <a:gd name="connsiteX1" fmla="*/ 381000 w 425450"/>
                <a:gd name="connsiteY1" fmla="*/ 0 h 495300"/>
                <a:gd name="connsiteX2" fmla="*/ 381000 w 425450"/>
                <a:gd name="connsiteY2" fmla="*/ 231775 h 495300"/>
                <a:gd name="connsiteX3" fmla="*/ 422275 w 425450"/>
                <a:gd name="connsiteY3" fmla="*/ 266700 h 495300"/>
                <a:gd name="connsiteX4" fmla="*/ 425450 w 425450"/>
                <a:gd name="connsiteY4" fmla="*/ 419100 h 495300"/>
                <a:gd name="connsiteX5" fmla="*/ 377825 w 425450"/>
                <a:gd name="connsiteY5" fmla="*/ 450850 h 495300"/>
                <a:gd name="connsiteX6" fmla="*/ 377825 w 425450"/>
                <a:gd name="connsiteY6" fmla="*/ 495300 h 495300"/>
                <a:gd name="connsiteX7" fmla="*/ 285750 w 425450"/>
                <a:gd name="connsiteY7" fmla="*/ 495300 h 495300"/>
                <a:gd name="connsiteX0" fmla="*/ 0 w 444500"/>
                <a:gd name="connsiteY0" fmla="*/ 3175 h 495300"/>
                <a:gd name="connsiteX1" fmla="*/ 400050 w 444500"/>
                <a:gd name="connsiteY1" fmla="*/ 0 h 495300"/>
                <a:gd name="connsiteX2" fmla="*/ 400050 w 444500"/>
                <a:gd name="connsiteY2" fmla="*/ 231775 h 495300"/>
                <a:gd name="connsiteX3" fmla="*/ 441325 w 444500"/>
                <a:gd name="connsiteY3" fmla="*/ 266700 h 495300"/>
                <a:gd name="connsiteX4" fmla="*/ 444500 w 444500"/>
                <a:gd name="connsiteY4" fmla="*/ 419100 h 495300"/>
                <a:gd name="connsiteX5" fmla="*/ 396875 w 444500"/>
                <a:gd name="connsiteY5" fmla="*/ 450850 h 495300"/>
                <a:gd name="connsiteX6" fmla="*/ 396875 w 444500"/>
                <a:gd name="connsiteY6" fmla="*/ 495300 h 495300"/>
                <a:gd name="connsiteX7" fmla="*/ 304800 w 44450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500" h="495300">
                  <a:moveTo>
                    <a:pt x="0" y="3175"/>
                  </a:moveTo>
                  <a:lnTo>
                    <a:pt x="400050" y="0"/>
                  </a:lnTo>
                  <a:lnTo>
                    <a:pt x="400050" y="231775"/>
                  </a:lnTo>
                  <a:lnTo>
                    <a:pt x="441325" y="266700"/>
                  </a:lnTo>
                  <a:cubicBezTo>
                    <a:pt x="442383" y="317500"/>
                    <a:pt x="443442" y="368300"/>
                    <a:pt x="444500" y="419100"/>
                  </a:cubicBezTo>
                  <a:lnTo>
                    <a:pt x="396875" y="450850"/>
                  </a:lnTo>
                  <a:lnTo>
                    <a:pt x="396875" y="495300"/>
                  </a:lnTo>
                  <a:lnTo>
                    <a:pt x="304800" y="495300"/>
                  </a:lnTo>
                </a:path>
              </a:pathLst>
            </a:custGeom>
            <a:solidFill>
              <a:schemeClr val="tx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63" name="Rectangle 3">
              <a:extLst>
                <a:ext uri="{FF2B5EF4-FFF2-40B4-BE49-F238E27FC236}">
                  <a16:creationId xmlns:a16="http://schemas.microsoft.com/office/drawing/2014/main" id="{073777E4-C200-ED41-B561-56B8FD01312E}"/>
                </a:ext>
              </a:extLst>
            </p:cNvPr>
            <p:cNvSpPr/>
            <p:nvPr/>
          </p:nvSpPr>
          <p:spPr bwMode="auto">
            <a:xfrm>
              <a:off x="10698247" y="2486025"/>
              <a:ext cx="355436" cy="574676"/>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4" name="Group 63">
            <a:extLst>
              <a:ext uri="{FF2B5EF4-FFF2-40B4-BE49-F238E27FC236}">
                <a16:creationId xmlns:a16="http://schemas.microsoft.com/office/drawing/2014/main" id="{7F49672B-A059-1640-AEA8-482D200F133F}"/>
              </a:ext>
            </a:extLst>
          </p:cNvPr>
          <p:cNvGrpSpPr/>
          <p:nvPr/>
        </p:nvGrpSpPr>
        <p:grpSpPr>
          <a:xfrm rot="16200000">
            <a:off x="10230407" y="2574370"/>
            <a:ext cx="415605" cy="527991"/>
            <a:chOff x="10698247" y="2486025"/>
            <a:chExt cx="452353" cy="574676"/>
          </a:xfrm>
        </p:grpSpPr>
        <p:sp>
          <p:nvSpPr>
            <p:cNvPr id="65" name="Freeform 149">
              <a:extLst>
                <a:ext uri="{FF2B5EF4-FFF2-40B4-BE49-F238E27FC236}">
                  <a16:creationId xmlns:a16="http://schemas.microsoft.com/office/drawing/2014/main" id="{0FF173E0-3FD2-CF46-BE1D-3B0AAFFD72A0}"/>
                </a:ext>
              </a:extLst>
            </p:cNvPr>
            <p:cNvSpPr/>
            <p:nvPr/>
          </p:nvSpPr>
          <p:spPr bwMode="auto">
            <a:xfrm>
              <a:off x="10706100" y="2486025"/>
              <a:ext cx="444500" cy="495300"/>
            </a:xfrm>
            <a:custGeom>
              <a:avLst/>
              <a:gdLst>
                <a:gd name="connsiteX0" fmla="*/ 0 w 425450"/>
                <a:gd name="connsiteY0" fmla="*/ 0 h 495300"/>
                <a:gd name="connsiteX1" fmla="*/ 381000 w 425450"/>
                <a:gd name="connsiteY1" fmla="*/ 0 h 495300"/>
                <a:gd name="connsiteX2" fmla="*/ 381000 w 425450"/>
                <a:gd name="connsiteY2" fmla="*/ 231775 h 495300"/>
                <a:gd name="connsiteX3" fmla="*/ 422275 w 425450"/>
                <a:gd name="connsiteY3" fmla="*/ 266700 h 495300"/>
                <a:gd name="connsiteX4" fmla="*/ 425450 w 425450"/>
                <a:gd name="connsiteY4" fmla="*/ 419100 h 495300"/>
                <a:gd name="connsiteX5" fmla="*/ 377825 w 425450"/>
                <a:gd name="connsiteY5" fmla="*/ 450850 h 495300"/>
                <a:gd name="connsiteX6" fmla="*/ 377825 w 425450"/>
                <a:gd name="connsiteY6" fmla="*/ 495300 h 495300"/>
                <a:gd name="connsiteX7" fmla="*/ 285750 w 425450"/>
                <a:gd name="connsiteY7" fmla="*/ 495300 h 495300"/>
                <a:gd name="connsiteX0" fmla="*/ 0 w 444500"/>
                <a:gd name="connsiteY0" fmla="*/ 3175 h 495300"/>
                <a:gd name="connsiteX1" fmla="*/ 400050 w 444500"/>
                <a:gd name="connsiteY1" fmla="*/ 0 h 495300"/>
                <a:gd name="connsiteX2" fmla="*/ 400050 w 444500"/>
                <a:gd name="connsiteY2" fmla="*/ 231775 h 495300"/>
                <a:gd name="connsiteX3" fmla="*/ 441325 w 444500"/>
                <a:gd name="connsiteY3" fmla="*/ 266700 h 495300"/>
                <a:gd name="connsiteX4" fmla="*/ 444500 w 444500"/>
                <a:gd name="connsiteY4" fmla="*/ 419100 h 495300"/>
                <a:gd name="connsiteX5" fmla="*/ 396875 w 444500"/>
                <a:gd name="connsiteY5" fmla="*/ 450850 h 495300"/>
                <a:gd name="connsiteX6" fmla="*/ 396875 w 444500"/>
                <a:gd name="connsiteY6" fmla="*/ 495300 h 495300"/>
                <a:gd name="connsiteX7" fmla="*/ 304800 w 44450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500" h="495300">
                  <a:moveTo>
                    <a:pt x="0" y="3175"/>
                  </a:moveTo>
                  <a:lnTo>
                    <a:pt x="400050" y="0"/>
                  </a:lnTo>
                  <a:lnTo>
                    <a:pt x="400050" y="231775"/>
                  </a:lnTo>
                  <a:lnTo>
                    <a:pt x="441325" y="266700"/>
                  </a:lnTo>
                  <a:cubicBezTo>
                    <a:pt x="442383" y="317500"/>
                    <a:pt x="443442" y="368300"/>
                    <a:pt x="444500" y="419100"/>
                  </a:cubicBezTo>
                  <a:lnTo>
                    <a:pt x="396875" y="450850"/>
                  </a:lnTo>
                  <a:lnTo>
                    <a:pt x="396875" y="495300"/>
                  </a:lnTo>
                  <a:lnTo>
                    <a:pt x="304800" y="495300"/>
                  </a:lnTo>
                </a:path>
              </a:pathLst>
            </a:custGeom>
            <a:solidFill>
              <a:schemeClr val="tx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66" name="Rectangle 3">
              <a:extLst>
                <a:ext uri="{FF2B5EF4-FFF2-40B4-BE49-F238E27FC236}">
                  <a16:creationId xmlns:a16="http://schemas.microsoft.com/office/drawing/2014/main" id="{5FFC43E5-AAD9-3B43-A855-0C004167BFFE}"/>
                </a:ext>
              </a:extLst>
            </p:cNvPr>
            <p:cNvSpPr/>
            <p:nvPr/>
          </p:nvSpPr>
          <p:spPr bwMode="auto">
            <a:xfrm>
              <a:off x="10698247" y="2486025"/>
              <a:ext cx="355436" cy="574676"/>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0" name="Freeform 182">
            <a:extLst>
              <a:ext uri="{FF2B5EF4-FFF2-40B4-BE49-F238E27FC236}">
                <a16:creationId xmlns:a16="http://schemas.microsoft.com/office/drawing/2014/main" id="{66CB0BA5-4127-8B47-A9D8-911DB68C79D4}"/>
              </a:ext>
            </a:extLst>
          </p:cNvPr>
          <p:cNvSpPr/>
          <p:nvPr/>
        </p:nvSpPr>
        <p:spPr bwMode="auto">
          <a:xfrm>
            <a:off x="10162464" y="3872896"/>
            <a:ext cx="527991" cy="67717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74320" rIns="0" bIns="91440"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Segoe UI" pitchFamily="34" charset="0"/>
                <a:cs typeface="Segoe UI" pitchFamily="34" charset="0"/>
              </a:rPr>
              <a:t>DB1</a:t>
            </a:r>
          </a:p>
        </p:txBody>
      </p:sp>
    </p:spTree>
    <p:extLst>
      <p:ext uri="{BB962C8B-B14F-4D97-AF65-F5344CB8AC3E}">
        <p14:creationId xmlns:p14="http://schemas.microsoft.com/office/powerpoint/2010/main" val="122947633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Title 28">
            <a:extLst>
              <a:ext uri="{FF2B5EF4-FFF2-40B4-BE49-F238E27FC236}">
                <a16:creationId xmlns:a16="http://schemas.microsoft.com/office/drawing/2014/main" id="{3C637BED-4D01-4F11-96D8-342B60AD7F7F}"/>
              </a:ext>
            </a:extLst>
          </p:cNvPr>
          <p:cNvSpPr txBox="1">
            <a:spLocks noGrp="1"/>
          </p:cNvSpPr>
          <p:nvPr>
            <p:ph type="title"/>
          </p:nvPr>
        </p:nvSpPr>
        <p:spPr>
          <a:xfrm>
            <a:off x="655638" y="320040"/>
            <a:ext cx="10880725" cy="461665"/>
          </a:xfrm>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nSpc>
                <a:spcPts val="3620"/>
              </a:lnSpc>
              <a:defRPr/>
            </a:pPr>
            <a:r>
              <a:rPr lang="en-US" sz="3200" b="0" kern="1200" cap="none" spc="-50" baseline="0" dirty="0">
                <a:ln w="3175">
                  <a:noFill/>
                </a:ln>
                <a:effectLst/>
                <a:latin typeface="+mj-lt"/>
                <a:ea typeface="+mn-ea"/>
                <a:cs typeface="Segoe UI" pitchFamily="34" charset="0"/>
              </a:rPr>
              <a:t>Backup storage redundancy</a:t>
            </a:r>
            <a:endParaRPr kumimoji="0" lang="en-US" sz="3200" b="0" i="0" u="none" strike="noStrike" kern="1200" cap="none" spc="-50" normalizeH="0" baseline="0" dirty="0">
              <a:ln w="3175">
                <a:noFill/>
              </a:ln>
              <a:effectLst/>
              <a:uLnTx/>
              <a:uFillTx/>
              <a:latin typeface="+mj-lt"/>
              <a:ea typeface="+mn-ea"/>
              <a:cs typeface="Segoe UI" pitchFamily="34" charset="0"/>
            </a:endParaRPr>
          </a:p>
        </p:txBody>
      </p:sp>
      <p:sp>
        <p:nvSpPr>
          <p:cNvPr id="1031" name="Subtitle 2">
            <a:extLst>
              <a:ext uri="{FF2B5EF4-FFF2-40B4-BE49-F238E27FC236}">
                <a16:creationId xmlns:a16="http://schemas.microsoft.com/office/drawing/2014/main" id="{DAA6CDE8-C508-C299-D1BB-093AD4B3BC0A}"/>
              </a:ext>
            </a:extLst>
          </p:cNvPr>
          <p:cNvSpPr>
            <a:spLocks noGrp="1"/>
          </p:cNvSpPr>
          <p:nvPr>
            <p:ph type="subTitle" idx="1"/>
          </p:nvPr>
        </p:nvSpPr>
        <p:spPr>
          <a:xfrm>
            <a:off x="655637" y="786383"/>
            <a:ext cx="10880725" cy="461665"/>
          </a:xfrm>
        </p:spPr>
        <p:txBody>
          <a:bodyPr vert="horz" lIns="0" tIns="0" rIns="0" bIns="0" rtlCol="0">
            <a:normAutofit/>
          </a:bodyPr>
          <a:lstStyle/>
          <a:p>
            <a:r>
              <a:rPr lang="en-US" kern="1200" spc="0" baseline="0">
                <a:latin typeface="+mn-lt"/>
                <a:ea typeface="+mn-ea"/>
                <a:cs typeface="Segoe UI" panose="020B0502040204020203" pitchFamily="34" charset="0"/>
              </a:rPr>
              <a:t>To enable high durability of backups several ways of replication are offered on instance creation. </a:t>
            </a:r>
          </a:p>
          <a:p>
            <a:endParaRPr lang="en-US" kern="1200" spc="0" baseline="0">
              <a:latin typeface="+mn-lt"/>
              <a:ea typeface="+mn-ea"/>
              <a:cs typeface="Segoe UI" panose="020B0502040204020203" pitchFamily="34" charset="0"/>
            </a:endParaRPr>
          </a:p>
        </p:txBody>
      </p:sp>
      <p:pic>
        <p:nvPicPr>
          <p:cNvPr id="1026" name="Picture 2" descr="Image depicting high availability via asynchronous replication of applications and data across other Azure regions for disaster recovery protection.">
            <a:extLst>
              <a:ext uri="{FF2B5EF4-FFF2-40B4-BE49-F238E27FC236}">
                <a16:creationId xmlns:a16="http://schemas.microsoft.com/office/drawing/2014/main" id="{3769893C-37C3-8DF6-12E3-5AB3F5988855}"/>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val="0"/>
              </a:ext>
            </a:extLst>
          </a:blip>
          <a:stretch>
            <a:fillRect/>
          </a:stretch>
        </p:blipFill>
        <p:spPr bwMode="auto">
          <a:xfrm>
            <a:off x="502641" y="1676997"/>
            <a:ext cx="6145870" cy="3656792"/>
          </a:xfrm>
          <a:prstGeom prst="rect">
            <a:avLst/>
          </a:prstGeom>
          <a:solidFill>
            <a:srgbClr val="FFFFFF"/>
          </a:solidFill>
          <a:ln>
            <a:noFill/>
          </a:ln>
          <a:effectLst>
            <a:outerShdw blurRad="190500" algn="tl" rotWithShape="0">
              <a:srgbClr val="000000">
                <a:alpha val="70000"/>
              </a:srgbClr>
            </a:outerShdw>
          </a:effectLst>
        </p:spPr>
      </p:pic>
      <p:sp>
        <p:nvSpPr>
          <p:cNvPr id="5" name="Text Placeholder 1">
            <a:extLst>
              <a:ext uri="{FF2B5EF4-FFF2-40B4-BE49-F238E27FC236}">
                <a16:creationId xmlns:a16="http://schemas.microsoft.com/office/drawing/2014/main" id="{3E21C2FC-7F6F-1459-B6B9-6B59EDEB4699}"/>
              </a:ext>
            </a:extLst>
          </p:cNvPr>
          <p:cNvSpPr txBox="1">
            <a:spLocks/>
          </p:cNvSpPr>
          <p:nvPr/>
        </p:nvSpPr>
        <p:spPr>
          <a:xfrm>
            <a:off x="6881905" y="2664150"/>
            <a:ext cx="5201920" cy="2434271"/>
          </a:xfrm>
          <a:prstGeom prst="rect">
            <a:avLst/>
          </a:prstGeom>
        </p:spPr>
        <p:txBody>
          <a:bodyPr vert="horz" lIns="0" tIns="0" rIns="0" bIns="0" rtlCol="0">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88" rtl="0" eaLnBrk="1" fontAlgn="auto" latinLnBrk="0" hangingPunct="1">
              <a:lnSpc>
                <a:spcPct val="100000"/>
              </a:lnSpc>
              <a:spcBef>
                <a:spcPts val="0"/>
              </a:spcBef>
              <a:spcAft>
                <a:spcPts val="600"/>
              </a:spcAft>
              <a:buClr>
                <a:srgbClr val="000000"/>
              </a:buClr>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The backups can be all located within</a:t>
            </a:r>
          </a:p>
          <a:p>
            <a:pPr marL="342900" marR="0" lvl="0" indent="-342900" algn="l" defTabSz="932688" rtl="0" eaLnBrk="1" fontAlgn="auto" latinLnBrk="0" hangingPunct="1">
              <a:lnSpc>
                <a:spcPct val="100000"/>
              </a:lnSpc>
              <a:spcBef>
                <a:spcPts val="0"/>
              </a:spcBef>
              <a:spcAft>
                <a:spcPts val="600"/>
              </a:spcAft>
              <a:buClr>
                <a:srgbClr val="000000"/>
              </a:buClr>
              <a:buSzPct val="90000"/>
              <a:buFont typeface="Wingdings" panose="05000000000000000000" pitchFamily="2" charset="2"/>
              <a:buAutoNum type="arabicPeriod"/>
              <a:tabLst/>
              <a:defRPr/>
            </a:pPr>
            <a:r>
              <a:rPr kumimoji="0" lang="en-US" sz="2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LRS: The same building (Local)</a:t>
            </a:r>
          </a:p>
          <a:p>
            <a:pPr marL="342900" marR="0" lvl="0" indent="-342900" algn="l" defTabSz="932688" rtl="0" eaLnBrk="1" fontAlgn="auto" latinLnBrk="0" hangingPunct="1">
              <a:lnSpc>
                <a:spcPct val="100000"/>
              </a:lnSpc>
              <a:spcBef>
                <a:spcPts val="0"/>
              </a:spcBef>
              <a:spcAft>
                <a:spcPts val="600"/>
              </a:spcAft>
              <a:buClr>
                <a:srgbClr val="000000"/>
              </a:buClr>
              <a:buSzPct val="90000"/>
              <a:buFont typeface="Wingdings" panose="05000000000000000000" pitchFamily="2" charset="2"/>
              <a:buAutoNum type="arabicPeriod"/>
              <a:tabLst/>
              <a:defRPr/>
            </a:pPr>
            <a:r>
              <a:rPr kumimoji="0" lang="en-US" sz="2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ZRS: Same region, different buildings (Zone)</a:t>
            </a:r>
          </a:p>
          <a:p>
            <a:pPr marL="342900" marR="0" lvl="0" indent="-342900" algn="l" defTabSz="932688" rtl="0" eaLnBrk="1" fontAlgn="auto" latinLnBrk="0" hangingPunct="1">
              <a:lnSpc>
                <a:spcPct val="100000"/>
              </a:lnSpc>
              <a:spcBef>
                <a:spcPts val="0"/>
              </a:spcBef>
              <a:spcAft>
                <a:spcPts val="600"/>
              </a:spcAft>
              <a:buClr>
                <a:srgbClr val="000000"/>
              </a:buClr>
              <a:buSzPct val="90000"/>
              <a:buFont typeface="Wingdings" panose="05000000000000000000" pitchFamily="2" charset="2"/>
              <a:buAutoNum type="arabicPeriod"/>
              <a:tabLst/>
              <a:defRPr/>
            </a:pPr>
            <a:r>
              <a:rPr kumimoji="0" lang="en-US" sz="20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GRS: Across paired regions (Geo) </a:t>
            </a:r>
          </a:p>
        </p:txBody>
      </p:sp>
    </p:spTree>
    <p:extLst>
      <p:ext uri="{BB962C8B-B14F-4D97-AF65-F5344CB8AC3E}">
        <p14:creationId xmlns:p14="http://schemas.microsoft.com/office/powerpoint/2010/main" val="15735075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3.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4.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4585</Words>
  <Application>Microsoft Office PowerPoint</Application>
  <PresentationFormat>Widescreen</PresentationFormat>
  <Paragraphs>412</Paragraphs>
  <Slides>30</Slides>
  <Notes>16</Notes>
  <HiddenSlides>0</HiddenSlides>
  <MMClips>0</MMClips>
  <ScaleCrop>false</ScaleCrop>
  <HeadingPairs>
    <vt:vector size="6" baseType="variant">
      <vt:variant>
        <vt:lpstr>Fonts Used</vt:lpstr>
      </vt:variant>
      <vt:variant>
        <vt:i4>10</vt:i4>
      </vt:variant>
      <vt:variant>
        <vt:lpstr>Theme</vt:lpstr>
      </vt:variant>
      <vt:variant>
        <vt:i4>4</vt:i4>
      </vt:variant>
      <vt:variant>
        <vt:lpstr>Slide Titles</vt:lpstr>
      </vt:variant>
      <vt:variant>
        <vt:i4>30</vt:i4>
      </vt:variant>
    </vt:vector>
  </HeadingPairs>
  <TitlesOfParts>
    <vt:vector size="44" baseType="lpstr">
      <vt:lpstr>Arial</vt:lpstr>
      <vt:lpstr>Calibri</vt:lpstr>
      <vt:lpstr>Century Gothic</vt:lpstr>
      <vt:lpstr>Comic Sans MS</vt:lpstr>
      <vt:lpstr>Consolas</vt:lpstr>
      <vt:lpstr>Segoe UI</vt:lpstr>
      <vt:lpstr>Segoe UI Light</vt:lpstr>
      <vt:lpstr>Segoe UI Semibold</vt:lpstr>
      <vt:lpstr>Segoe UI Semilight</vt:lpstr>
      <vt:lpstr>Wingdings</vt:lpstr>
      <vt:lpstr>PASS 2013_SpeakerTemplate_Final</vt:lpstr>
      <vt:lpstr>Microsoft 365 PPT Template - 2018</vt:lpstr>
      <vt:lpstr>1_WHITE TEMPLATE</vt:lpstr>
      <vt:lpstr>Dark Blue</vt:lpstr>
      <vt:lpstr>Introduction to Business Continuity in Azure SQL  John Deardurff</vt:lpstr>
      <vt:lpstr>PowerPoint Presentation</vt:lpstr>
      <vt:lpstr>PowerPoint Presentation</vt:lpstr>
      <vt:lpstr>What is  Business Continuity in Azure SQL?</vt:lpstr>
      <vt:lpstr>Business Continuity Problem</vt:lpstr>
      <vt:lpstr>Availability vs High Availability vs Disaster Recovery</vt:lpstr>
      <vt:lpstr>Automated Backups in Azure SQL</vt:lpstr>
      <vt:lpstr>Backup and restore </vt:lpstr>
      <vt:lpstr>Backup storage redundancy</vt:lpstr>
      <vt:lpstr>Setting Backup Policies</vt:lpstr>
      <vt:lpstr>PowerPoint Presentation</vt:lpstr>
      <vt:lpstr>What are Service Tiers in Azure SQL?</vt:lpstr>
      <vt:lpstr>Overview of Service Tiers</vt:lpstr>
      <vt:lpstr>Changing Service Tiers</vt:lpstr>
      <vt:lpstr>High Availability in Azure SQL</vt:lpstr>
      <vt:lpstr>High Availability: General Purpose vs Business Critical</vt:lpstr>
      <vt:lpstr>High Availability - General Purpose </vt:lpstr>
      <vt:lpstr>High Availability - Business Critical</vt:lpstr>
      <vt:lpstr>Read Scale-Out </vt:lpstr>
      <vt:lpstr>Zone Redundancy in Azure SQL?</vt:lpstr>
      <vt:lpstr>Zone redundant configuration – General Purpose</vt:lpstr>
      <vt:lpstr>Zone redundant configuration – Premium and Business Critical</vt:lpstr>
      <vt:lpstr>PowerPoint Presentation</vt:lpstr>
      <vt:lpstr>Disaster Recovery in Azure SQL?</vt:lpstr>
      <vt:lpstr>Active Geo-replication </vt:lpstr>
      <vt:lpstr>Failover groups extend geo-replication</vt:lpstr>
      <vt:lpstr>Active geo-replication vs auto-failover group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11T16:55:49Z</dcterms:created>
  <dcterms:modified xsi:type="dcterms:W3CDTF">2024-08-15T13:00: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deardu@microsoft.com</vt:lpwstr>
  </property>
  <property fmtid="{D5CDD505-2E9C-101B-9397-08002B2CF9AE}" pid="5" name="MSIP_Label_f42aa342-8706-4288-bd11-ebb85995028c_SetDate">
    <vt:lpwstr>2020-02-11T16:56:45.521160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a931351b-bec9-4cd7-b8b6-a88d83d3126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